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5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6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84" r:id="rId3"/>
    <p:sldMasterId id="2147483698" r:id="rId4"/>
    <p:sldMasterId id="2147483737" r:id="rId5"/>
  </p:sldMasterIdLst>
  <p:notesMasterIdLst>
    <p:notesMasterId r:id="rId80"/>
  </p:notesMasterIdLst>
  <p:sldIdLst>
    <p:sldId id="257" r:id="rId6"/>
    <p:sldId id="426" r:id="rId7"/>
    <p:sldId id="783" r:id="rId8"/>
    <p:sldId id="793" r:id="rId9"/>
    <p:sldId id="792" r:id="rId10"/>
    <p:sldId id="794" r:id="rId11"/>
    <p:sldId id="785" r:id="rId12"/>
    <p:sldId id="795" r:id="rId13"/>
    <p:sldId id="789" r:id="rId14"/>
    <p:sldId id="790" r:id="rId15"/>
    <p:sldId id="819" r:id="rId16"/>
    <p:sldId id="820" r:id="rId17"/>
    <p:sldId id="796" r:id="rId18"/>
    <p:sldId id="797" r:id="rId19"/>
    <p:sldId id="627" r:id="rId20"/>
    <p:sldId id="434" r:id="rId21"/>
    <p:sldId id="435" r:id="rId22"/>
    <p:sldId id="436" r:id="rId23"/>
    <p:sldId id="832" r:id="rId24"/>
    <p:sldId id="821" r:id="rId25"/>
    <p:sldId id="833" r:id="rId26"/>
    <p:sldId id="440" r:id="rId27"/>
    <p:sldId id="544" r:id="rId28"/>
    <p:sldId id="445" r:id="rId29"/>
    <p:sldId id="548" r:id="rId30"/>
    <p:sldId id="296" r:id="rId31"/>
    <p:sldId id="579" r:id="rId32"/>
    <p:sldId id="799" r:id="rId33"/>
    <p:sldId id="798" r:id="rId34"/>
    <p:sldId id="823" r:id="rId35"/>
    <p:sldId id="824" r:id="rId36"/>
    <p:sldId id="581" r:id="rId37"/>
    <p:sldId id="805" r:id="rId38"/>
    <p:sldId id="802" r:id="rId39"/>
    <p:sldId id="332" r:id="rId40"/>
    <p:sldId id="818" r:id="rId41"/>
    <p:sldId id="582" r:id="rId42"/>
    <p:sldId id="834" r:id="rId43"/>
    <p:sldId id="835" r:id="rId44"/>
    <p:sldId id="817" r:id="rId45"/>
    <p:sldId id="813" r:id="rId46"/>
    <p:sldId id="340" r:id="rId47"/>
    <p:sldId id="836" r:id="rId48"/>
    <p:sldId id="586" r:id="rId49"/>
    <p:sldId id="587" r:id="rId50"/>
    <p:sldId id="588" r:id="rId51"/>
    <p:sldId id="815" r:id="rId52"/>
    <p:sldId id="830" r:id="rId53"/>
    <p:sldId id="592" r:id="rId54"/>
    <p:sldId id="709" r:id="rId55"/>
    <p:sldId id="710" r:id="rId56"/>
    <p:sldId id="816" r:id="rId57"/>
    <p:sldId id="711" r:id="rId58"/>
    <p:sldId id="264" r:id="rId59"/>
    <p:sldId id="826" r:id="rId60"/>
    <p:sldId id="595" r:id="rId61"/>
    <p:sldId id="380" r:id="rId62"/>
    <p:sldId id="837" r:id="rId63"/>
    <p:sldId id="838" r:id="rId64"/>
    <p:sldId id="382" r:id="rId65"/>
    <p:sldId id="383" r:id="rId66"/>
    <p:sldId id="829" r:id="rId67"/>
    <p:sldId id="532" r:id="rId68"/>
    <p:sldId id="679" r:id="rId69"/>
    <p:sldId id="831" r:id="rId70"/>
    <p:sldId id="839" r:id="rId71"/>
    <p:sldId id="555" r:id="rId72"/>
    <p:sldId id="732" r:id="rId73"/>
    <p:sldId id="731" r:id="rId74"/>
    <p:sldId id="674" r:id="rId75"/>
    <p:sldId id="780" r:id="rId76"/>
    <p:sldId id="678" r:id="rId77"/>
    <p:sldId id="840" r:id="rId78"/>
    <p:sldId id="388" r:id="rId79"/>
  </p:sldIdLst>
  <p:sldSz cx="12192000" cy="6858000"/>
  <p:notesSz cx="6858000" cy="9144000"/>
  <p:custDataLst>
    <p:tags r:id="rId8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ill Herrington" initials="WH" lastIdx="35" clrIdx="0">
    <p:extLst>
      <p:ext uri="{19B8F6BF-5375-455C-9EA6-DF929625EA0E}">
        <p15:presenceInfo xmlns:p15="http://schemas.microsoft.com/office/powerpoint/2012/main" userId="S-1-5-21-944046252-2799899743-1142484129-3040" providerId="AD"/>
      </p:ext>
    </p:extLst>
  </p:cmAuthor>
  <p:cmAuthor id="2" name="Richard Haynes" initials="RH" lastIdx="15" clrIdx="1">
    <p:extLst>
      <p:ext uri="{19B8F6BF-5375-455C-9EA6-DF929625EA0E}">
        <p15:presenceInfo xmlns:p15="http://schemas.microsoft.com/office/powerpoint/2012/main" userId="S-1-5-21-944046252-2799899743-1142484129-2963" providerId="AD"/>
      </p:ext>
    </p:extLst>
  </p:cmAuthor>
  <p:cmAuthor id="3" name="Kaitlin Mayne" initials="KM" lastIdx="11" clrIdx="2">
    <p:extLst>
      <p:ext uri="{19B8F6BF-5375-455C-9EA6-DF929625EA0E}">
        <p15:presenceInfo xmlns:p15="http://schemas.microsoft.com/office/powerpoint/2012/main" userId="S-1-5-21-944046252-2799899743-1142484129-1125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E08A8"/>
    <a:srgbClr val="E6E6E6"/>
    <a:srgbClr val="10253F"/>
    <a:srgbClr val="925E9F"/>
    <a:srgbClr val="42B540"/>
    <a:srgbClr val="ED0000"/>
    <a:srgbClr val="D436B8"/>
    <a:srgbClr val="08B2E3"/>
    <a:srgbClr val="FFFFF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36" autoAdjust="0"/>
    <p:restoredTop sz="87438" autoAdjust="0"/>
  </p:normalViewPr>
  <p:slideViewPr>
    <p:cSldViewPr snapToGrid="0">
      <p:cViewPr varScale="1">
        <p:scale>
          <a:sx n="102" d="100"/>
          <a:sy n="102" d="100"/>
        </p:scale>
        <p:origin x="754" y="82"/>
      </p:cViewPr>
      <p:guideLst/>
    </p:cSldViewPr>
  </p:slideViewPr>
  <p:outlineViewPr>
    <p:cViewPr>
      <p:scale>
        <a:sx n="33" d="100"/>
        <a:sy n="33" d="100"/>
      </p:scale>
      <p:origin x="0" y="-489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6"/>
    </p:cViewPr>
  </p:sorterViewPr>
  <p:notesViewPr>
    <p:cSldViewPr snapToGrid="0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viewProps" Target="viewProps.xml"/><Relationship Id="rId16" Type="http://schemas.openxmlformats.org/officeDocument/2006/relationships/slide" Target="slides/slide1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slide" Target="slides/slide72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notesMaster" Target="notesMasters/notesMaster1.xml"/><Relationship Id="rId85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tags" Target="tags/tag1.xml"/><Relationship Id="rId86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61" Type="http://schemas.openxmlformats.org/officeDocument/2006/relationships/slide" Target="slides/slide56.xml"/><Relationship Id="rId8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400" b="1" i="0" cap="all" baseline="0">
                <a:effectLst/>
              </a:rPr>
              <a:t>Randomizations w/c 15-MAR-2021</a:t>
            </a:r>
            <a:endParaRPr lang="en-GB" sz="1400">
              <a:effectLst/>
            </a:endParaRPr>
          </a:p>
          <a:p>
            <a:pPr>
              <a:defRPr sz="1400"/>
            </a:pPr>
            <a:r>
              <a:rPr lang="en-GB" sz="1400" b="1" i="0" cap="all" baseline="0">
                <a:effectLst/>
              </a:rPr>
              <a:t>(total=95)</a:t>
            </a:r>
            <a:endParaRPr lang="en-GB" sz="140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8!$B$2</c:f>
              <c:strCache>
                <c:ptCount val="1"/>
                <c:pt idx="0">
                  <c:v>Empagliflozin</c:v>
                </c:pt>
              </c:strCache>
            </c:strRef>
          </c:tx>
          <c:spPr>
            <a:solidFill>
              <a:srgbClr val="CE08A8"/>
            </a:solidFill>
            <a:ln>
              <a:noFill/>
            </a:ln>
            <a:effectLst/>
          </c:spPr>
          <c:invertIfNegative val="0"/>
          <c:cat>
            <c:strRef>
              <c:f>Sheet8!$A$3:$A$5</c:f>
              <c:strCache>
                <c:ptCount val="3"/>
                <c:pt idx="0">
                  <c:v>Low</c:v>
                </c:pt>
                <c:pt idx="1">
                  <c:v>Moderate</c:v>
                </c:pt>
                <c:pt idx="2">
                  <c:v>High</c:v>
                </c:pt>
              </c:strCache>
            </c:strRef>
          </c:cat>
          <c:val>
            <c:numRef>
              <c:f>Sheet8!$B$3:$B$5</c:f>
              <c:numCache>
                <c:formatCode>General</c:formatCode>
                <c:ptCount val="3"/>
                <c:pt idx="0">
                  <c:v>6.3157894736842106</c:v>
                </c:pt>
                <c:pt idx="1">
                  <c:v>7.2276159654800427</c:v>
                </c:pt>
                <c:pt idx="2">
                  <c:v>18.8668224299065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A4-4F62-A3BD-A32EDA7EB32E}"/>
            </c:ext>
          </c:extLst>
        </c:ser>
        <c:ser>
          <c:idx val="1"/>
          <c:order val="1"/>
          <c:tx>
            <c:strRef>
              <c:f>Sheet8!$C$2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Sheet8!$A$3:$A$5</c:f>
              <c:strCache>
                <c:ptCount val="3"/>
                <c:pt idx="0">
                  <c:v>Low</c:v>
                </c:pt>
                <c:pt idx="1">
                  <c:v>Moderate</c:v>
                </c:pt>
                <c:pt idx="2">
                  <c:v>High</c:v>
                </c:pt>
              </c:strCache>
            </c:strRef>
          </c:cat>
          <c:val>
            <c:numRef>
              <c:f>Sheet8!$C$3:$C$5</c:f>
              <c:numCache>
                <c:formatCode>General</c:formatCode>
                <c:ptCount val="3"/>
                <c:pt idx="0">
                  <c:v>6.3348416289592757</c:v>
                </c:pt>
                <c:pt idx="1">
                  <c:v>8.3244397011739597</c:v>
                </c:pt>
                <c:pt idx="2">
                  <c:v>25.6891495601173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A4-4F62-A3BD-A32EDA7EB3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21642864"/>
        <c:axId val="1921644944"/>
      </c:barChart>
      <c:catAx>
        <c:axId val="192164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ulish" pitchFamily="2" charset="0"/>
                <a:ea typeface="+mn-ea"/>
                <a:cs typeface="+mn-cs"/>
              </a:defRPr>
            </a:pPr>
            <a:endParaRPr lang="en-US"/>
          </a:p>
        </c:txPr>
        <c:crossAx val="1921644944"/>
        <c:crosses val="autoZero"/>
        <c:auto val="1"/>
        <c:lblAlgn val="ctr"/>
        <c:lblOffset val="100"/>
        <c:noMultiLvlLbl val="0"/>
      </c:catAx>
      <c:valAx>
        <c:axId val="19216449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Mulish" pitchFamily="2" charset="0"/>
                    <a:ea typeface="+mn-ea"/>
                    <a:cs typeface="+mn-cs"/>
                  </a:defRPr>
                </a:pPr>
                <a:r>
                  <a:rPr lang="en-GB" sz="1800" b="0" i="0" baseline="0" dirty="0" smtClean="0">
                    <a:effectLst/>
                  </a:rPr>
                  <a:t>Absolute risk (%)</a:t>
                </a:r>
                <a:endParaRPr lang="en-GB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ulish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ulish" pitchFamily="2" charset="0"/>
                <a:ea typeface="+mn-ea"/>
                <a:cs typeface="+mn-cs"/>
              </a:defRPr>
            </a:pPr>
            <a:endParaRPr lang="en-US"/>
          </a:p>
        </c:txPr>
        <c:crossAx val="192164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ulish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>
          <a:latin typeface="Mulish" pitchFamily="2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779-439A-950C-A010812B9353}"/>
              </c:ext>
            </c:extLst>
          </c:dPt>
          <c:dPt>
            <c:idx val="1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79-439A-950C-A010812B9353}"/>
              </c:ext>
            </c:extLst>
          </c:dPt>
          <c:cat>
            <c:strRef>
              <c:f>Sheet1!$A$4:$A$5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4:$B$5</c:f>
              <c:numCache>
                <c:formatCode>General</c:formatCode>
                <c:ptCount val="2"/>
                <c:pt idx="0">
                  <c:v>3040</c:v>
                </c:pt>
                <c:pt idx="1">
                  <c:v>35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779-439A-950C-A010812B93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1D3-41D1-A234-759958F3DD21}"/>
              </c:ext>
            </c:extLst>
          </c:dPt>
          <c:dPt>
            <c:idx val="1"/>
            <c:bubble3D val="0"/>
            <c:spPr>
              <a:solidFill>
                <a:schemeClr val="accent4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1D3-41D1-A234-759958F3DD21}"/>
              </c:ext>
            </c:extLst>
          </c:dPt>
          <c:dPt>
            <c:idx val="2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1D3-41D1-A234-759958F3DD21}"/>
              </c:ext>
            </c:extLst>
          </c:dPt>
          <c:cat>
            <c:strRef>
              <c:f>Sheet2!$A$4:$A$6</c:f>
              <c:strCache>
                <c:ptCount val="3"/>
                <c:pt idx="0">
                  <c:v>CKD stage 2-3A eGFR 45-90</c:v>
                </c:pt>
                <c:pt idx="1">
                  <c:v>CKD stage 3B eGFR 30-45</c:v>
                </c:pt>
                <c:pt idx="2">
                  <c:v>CKD stage 4 eGFR &lt;30</c:v>
                </c:pt>
              </c:strCache>
            </c:strRef>
          </c:cat>
          <c:val>
            <c:numRef>
              <c:f>Sheet2!$B$4:$B$6</c:f>
              <c:numCache>
                <c:formatCode>General</c:formatCode>
                <c:ptCount val="3"/>
                <c:pt idx="0">
                  <c:v>1399</c:v>
                </c:pt>
                <c:pt idx="1">
                  <c:v>2928</c:v>
                </c:pt>
                <c:pt idx="2">
                  <c:v>22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1D3-41D1-A234-759958F3DD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9C1-4E4B-9EC6-A34BF775A3C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9C1-4E4B-9EC6-A34BF775A3CB}"/>
              </c:ext>
            </c:extLst>
          </c:dPt>
          <c:dPt>
            <c:idx val="2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9C1-4E4B-9EC6-A34BF775A3CB}"/>
              </c:ext>
            </c:extLst>
          </c:dPt>
          <c:cat>
            <c:strRef>
              <c:f>Sheet3!$A$3:$A$5</c:f>
              <c:strCache>
                <c:ptCount val="3"/>
                <c:pt idx="0">
                  <c:v>Low</c:v>
                </c:pt>
                <c:pt idx="1">
                  <c:v>Moderate</c:v>
                </c:pt>
                <c:pt idx="2">
                  <c:v>High</c:v>
                </c:pt>
              </c:strCache>
            </c:strRef>
          </c:cat>
          <c:val>
            <c:numRef>
              <c:f>Sheet3!$B$3:$B$5</c:f>
              <c:numCache>
                <c:formatCode>General</c:formatCode>
                <c:ptCount val="3"/>
                <c:pt idx="0">
                  <c:v>1328</c:v>
                </c:pt>
                <c:pt idx="1">
                  <c:v>1864</c:v>
                </c:pt>
                <c:pt idx="2">
                  <c:v>34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9C1-4E4B-9EC6-A34BF775A3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53-4361-AE13-2B2AFA9218A1}"/>
              </c:ext>
            </c:extLst>
          </c:dPt>
          <c:dPt>
            <c:idx val="1"/>
            <c:bubble3D val="0"/>
            <c:spPr>
              <a:solidFill>
                <a:schemeClr val="accent5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853-4361-AE13-2B2AFA9218A1}"/>
              </c:ext>
            </c:extLst>
          </c:dPt>
          <c:cat>
            <c:strRef>
              <c:f>Sheet4!$A$3:$A$4</c:f>
              <c:strCache>
                <c:ptCount val="2"/>
                <c:pt idx="0">
                  <c:v>Female</c:v>
                </c:pt>
                <c:pt idx="1">
                  <c:v>Male</c:v>
                </c:pt>
              </c:strCache>
            </c:strRef>
          </c:cat>
          <c:val>
            <c:numRef>
              <c:f>Sheet4!$B$3:$B$4</c:f>
              <c:numCache>
                <c:formatCode>General</c:formatCode>
                <c:ptCount val="2"/>
                <c:pt idx="0">
                  <c:v>2192</c:v>
                </c:pt>
                <c:pt idx="1">
                  <c:v>44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53-4361-AE13-2B2AFA9218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35A-4FBF-A5BB-B894223287E1}"/>
              </c:ext>
            </c:extLst>
          </c:dPt>
          <c:dPt>
            <c:idx val="1"/>
            <c:bubble3D val="0"/>
            <c:spPr>
              <a:solidFill>
                <a:srgbClr val="CE08A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35A-4FBF-A5BB-B894223287E1}"/>
              </c:ext>
            </c:extLst>
          </c:dPt>
          <c:dPt>
            <c:idx val="2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35A-4FBF-A5BB-B894223287E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35A-4FBF-A5BB-B894223287E1}"/>
              </c:ext>
            </c:extLst>
          </c:dPt>
          <c:cat>
            <c:strRef>
              <c:f>Sheet5!$A$4:$A$7</c:f>
              <c:strCache>
                <c:ptCount val="4"/>
                <c:pt idx="0">
                  <c:v>White</c:v>
                </c:pt>
                <c:pt idx="1">
                  <c:v>Black</c:v>
                </c:pt>
                <c:pt idx="2">
                  <c:v>Asian</c:v>
                </c:pt>
                <c:pt idx="3">
                  <c:v>Other</c:v>
                </c:pt>
              </c:strCache>
            </c:strRef>
          </c:cat>
          <c:val>
            <c:numRef>
              <c:f>Sheet5!$B$4:$B$7</c:f>
              <c:numCache>
                <c:formatCode>General</c:formatCode>
                <c:ptCount val="4"/>
                <c:pt idx="0">
                  <c:v>3859</c:v>
                </c:pt>
                <c:pt idx="1">
                  <c:v>262</c:v>
                </c:pt>
                <c:pt idx="2">
                  <c:v>2393</c:v>
                </c:pt>
                <c:pt idx="3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35A-4FBF-A5BB-B894223287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ofPieChart>
        <c:ofPieType val="pie"/>
        <c:varyColors val="1"/>
        <c:ser>
          <c:idx val="0"/>
          <c:order val="0"/>
          <c:spPr>
            <a:ln w="9525"/>
          </c:spPr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446-47AE-BA61-A6FA460A3CDD}"/>
              </c:ext>
            </c:extLst>
          </c:dPt>
          <c:dPt>
            <c:idx val="1"/>
            <c:bubble3D val="0"/>
            <c:spPr>
              <a:solidFill>
                <a:srgbClr val="CC3399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446-47AE-BA61-A6FA460A3CDD}"/>
              </c:ext>
            </c:extLst>
          </c:dPt>
          <c:dPt>
            <c:idx val="2"/>
            <c:bubble3D val="0"/>
            <c:spPr>
              <a:solidFill>
                <a:srgbClr val="9999FF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446-47AE-BA61-A6FA460A3CDD}"/>
              </c:ext>
            </c:extLst>
          </c:dPt>
          <c:dPt>
            <c:idx val="3"/>
            <c:bubble3D val="0"/>
            <c:spPr>
              <a:solidFill>
                <a:schemeClr val="accent4">
                  <a:lumMod val="75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446-47AE-BA61-A6FA460A3CDD}"/>
              </c:ext>
            </c:extLst>
          </c:dPt>
          <c:dPt>
            <c:idx val="4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446-47AE-BA61-A6FA460A3CDD}"/>
              </c:ext>
            </c:extLst>
          </c:dPt>
          <c:dPt>
            <c:idx val="5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446-47AE-BA61-A6FA460A3CDD}"/>
              </c:ext>
            </c:extLst>
          </c:dPt>
          <c:dPt>
            <c:idx val="6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1446-47AE-BA61-A6FA460A3CDD}"/>
              </c:ext>
            </c:extLst>
          </c:dPt>
          <c:dPt>
            <c:idx val="7"/>
            <c:bubble3D val="0"/>
            <c:spPr>
              <a:solidFill>
                <a:schemeClr val="tx2">
                  <a:lumMod val="75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1446-47AE-BA61-A6FA460A3CDD}"/>
              </c:ext>
            </c:extLst>
          </c:dPt>
          <c:cat>
            <c:strRef>
              <c:f>Sheet1!$A$11:$A$17</c:f>
              <c:strCache>
                <c:ptCount val="7"/>
                <c:pt idx="0">
                  <c:v>Diabetic kidney disease</c:v>
                </c:pt>
                <c:pt idx="1">
                  <c:v>Hypertensive/renovascular</c:v>
                </c:pt>
                <c:pt idx="2">
                  <c:v>Other</c:v>
                </c:pt>
                <c:pt idx="3">
                  <c:v>Unknown</c:v>
                </c:pt>
                <c:pt idx="4">
                  <c:v>IgA nephropathy</c:v>
                </c:pt>
                <c:pt idx="5">
                  <c:v>Focal segmental glomerulosclerosis</c:v>
                </c:pt>
                <c:pt idx="6">
                  <c:v>Other glomerulonephritis</c:v>
                </c:pt>
              </c:strCache>
            </c:strRef>
          </c:cat>
          <c:val>
            <c:numRef>
              <c:f>Sheet1!$B$11:$B$17</c:f>
              <c:numCache>
                <c:formatCode>General</c:formatCode>
                <c:ptCount val="7"/>
                <c:pt idx="0">
                  <c:v>2057</c:v>
                </c:pt>
                <c:pt idx="1">
                  <c:v>1445</c:v>
                </c:pt>
                <c:pt idx="2">
                  <c:v>808</c:v>
                </c:pt>
                <c:pt idx="3">
                  <c:v>630</c:v>
                </c:pt>
                <c:pt idx="4">
                  <c:v>817</c:v>
                </c:pt>
                <c:pt idx="5">
                  <c:v>195</c:v>
                </c:pt>
                <c:pt idx="6">
                  <c:v>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1446-47AE-BA61-A6FA460A3C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gapWidth val="100"/>
        <c:splitType val="cust"/>
        <c:custSplit>
          <c:secondPiePt val="4"/>
          <c:secondPiePt val="5"/>
          <c:secondPiePt val="6"/>
        </c:custSplit>
        <c:secondPieSize val="75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6!$B$2</c:f>
              <c:strCache>
                <c:ptCount val="1"/>
                <c:pt idx="0">
                  <c:v>Empagliflozin</c:v>
                </c:pt>
              </c:strCache>
            </c:strRef>
          </c:tx>
          <c:spPr>
            <a:solidFill>
              <a:srgbClr val="CE08A8"/>
            </a:solidFill>
            <a:ln>
              <a:noFill/>
            </a:ln>
            <a:effectLst/>
          </c:spPr>
          <c:invertIfNegative val="0"/>
          <c:cat>
            <c:strRef>
              <c:f>Sheet6!$A$3:$A$4</c:f>
              <c:strCache>
                <c:ptCount val="2"/>
                <c:pt idx="0">
                  <c:v>Diabetes</c:v>
                </c:pt>
                <c:pt idx="1">
                  <c:v>No diabetes</c:v>
                </c:pt>
              </c:strCache>
            </c:strRef>
          </c:cat>
          <c:val>
            <c:numRef>
              <c:f>Sheet6!$B$3:$B$4</c:f>
              <c:numCache>
                <c:formatCode>General</c:formatCode>
                <c:ptCount val="2"/>
                <c:pt idx="0">
                  <c:v>14.295081967213113</c:v>
                </c:pt>
                <c:pt idx="1">
                  <c:v>12.029229904440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E6-4B0A-9F19-ACBDA1C3EF31}"/>
            </c:ext>
          </c:extLst>
        </c:ser>
        <c:ser>
          <c:idx val="1"/>
          <c:order val="1"/>
          <c:tx>
            <c:strRef>
              <c:f>Sheet6!$C$2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Sheet6!$A$3:$A$4</c:f>
              <c:strCache>
                <c:ptCount val="2"/>
                <c:pt idx="0">
                  <c:v>Diabetes</c:v>
                </c:pt>
                <c:pt idx="1">
                  <c:v>No diabetes</c:v>
                </c:pt>
              </c:strCache>
            </c:strRef>
          </c:cat>
          <c:val>
            <c:numRef>
              <c:f>Sheet6!$C$3:$C$4</c:f>
              <c:numCache>
                <c:formatCode>General</c:formatCode>
                <c:ptCount val="2"/>
                <c:pt idx="0">
                  <c:v>20.198019801980198</c:v>
                </c:pt>
                <c:pt idx="1">
                  <c:v>14.0782122905027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E6-4B0A-9F19-ACBDA1C3EF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58152224"/>
        <c:axId val="1558150560"/>
      </c:barChart>
      <c:catAx>
        <c:axId val="1558152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ulish" pitchFamily="2" charset="0"/>
                <a:ea typeface="+mn-ea"/>
                <a:cs typeface="+mn-cs"/>
              </a:defRPr>
            </a:pPr>
            <a:endParaRPr lang="en-US"/>
          </a:p>
        </c:txPr>
        <c:crossAx val="1558150560"/>
        <c:crosses val="autoZero"/>
        <c:auto val="1"/>
        <c:lblAlgn val="ctr"/>
        <c:lblOffset val="100"/>
        <c:noMultiLvlLbl val="0"/>
      </c:catAx>
      <c:valAx>
        <c:axId val="1558150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Mulish" pitchFamily="2" charset="0"/>
                    <a:ea typeface="+mn-ea"/>
                    <a:cs typeface="+mn-cs"/>
                  </a:defRPr>
                </a:pPr>
                <a:r>
                  <a:rPr lang="en-GB" sz="1800" dirty="0" smtClean="0">
                    <a:latin typeface="Mulish" pitchFamily="2" charset="0"/>
                  </a:rPr>
                  <a:t>Absolute risk (%)</a:t>
                </a:r>
                <a:endParaRPr lang="en-GB" sz="1800" dirty="0">
                  <a:latin typeface="Mulish" pitchFamily="2" charset="0"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ulish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ulish" pitchFamily="2" charset="0"/>
                <a:ea typeface="+mn-ea"/>
                <a:cs typeface="+mn-cs"/>
              </a:defRPr>
            </a:pPr>
            <a:endParaRPr lang="en-US"/>
          </a:p>
        </c:txPr>
        <c:crossAx val="1558152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ulish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7!$B$2</c:f>
              <c:strCache>
                <c:ptCount val="1"/>
                <c:pt idx="0">
                  <c:v>Empagliflozin</c:v>
                </c:pt>
              </c:strCache>
            </c:strRef>
          </c:tx>
          <c:spPr>
            <a:solidFill>
              <a:srgbClr val="CE08A8"/>
            </a:solidFill>
            <a:ln>
              <a:noFill/>
            </a:ln>
            <a:effectLst/>
          </c:spPr>
          <c:invertIfNegative val="0"/>
          <c:cat>
            <c:strRef>
              <c:f>Sheet7!$A$3:$A$5</c:f>
              <c:strCache>
                <c:ptCount val="3"/>
                <c:pt idx="0">
                  <c:v>eGFR &lt;30</c:v>
                </c:pt>
                <c:pt idx="1">
                  <c:v>eGFR 30-44</c:v>
                </c:pt>
                <c:pt idx="2">
                  <c:v>eGFR 45-90</c:v>
                </c:pt>
              </c:strCache>
            </c:strRef>
          </c:cat>
          <c:val>
            <c:numRef>
              <c:f>Sheet7!$B$3:$B$5</c:f>
              <c:numCache>
                <c:formatCode>General</c:formatCode>
                <c:ptCount val="3"/>
                <c:pt idx="0">
                  <c:v>21.839080459770116</c:v>
                </c:pt>
                <c:pt idx="1">
                  <c:v>9.5432856169052496</c:v>
                </c:pt>
                <c:pt idx="2">
                  <c:v>6.3739376770538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05-45DF-B64D-A7D9571F0AB4}"/>
            </c:ext>
          </c:extLst>
        </c:ser>
        <c:ser>
          <c:idx val="1"/>
          <c:order val="1"/>
          <c:tx>
            <c:strRef>
              <c:f>Sheet7!$C$2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Sheet7!$A$3:$A$5</c:f>
              <c:strCache>
                <c:ptCount val="3"/>
                <c:pt idx="0">
                  <c:v>eGFR &lt;30</c:v>
                </c:pt>
                <c:pt idx="1">
                  <c:v>eGFR 30-44</c:v>
                </c:pt>
                <c:pt idx="2">
                  <c:v>eGFR 45-90</c:v>
                </c:pt>
              </c:strCache>
            </c:strRef>
          </c:cat>
          <c:val>
            <c:numRef>
              <c:f>Sheet7!$C$3:$C$5</c:f>
              <c:numCache>
                <c:formatCode>General</c:formatCode>
                <c:ptCount val="3"/>
                <c:pt idx="0">
                  <c:v>27.541268462206776</c:v>
                </c:pt>
                <c:pt idx="1">
                  <c:v>11.978097193702943</c:v>
                </c:pt>
                <c:pt idx="2">
                  <c:v>9.5238095238095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05-45DF-B64D-A7D9571F0A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69957968"/>
        <c:axId val="1769958384"/>
      </c:barChart>
      <c:catAx>
        <c:axId val="1769957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ulish" pitchFamily="2" charset="0"/>
                <a:ea typeface="+mn-ea"/>
                <a:cs typeface="+mn-cs"/>
              </a:defRPr>
            </a:pPr>
            <a:endParaRPr lang="en-US"/>
          </a:p>
        </c:txPr>
        <c:crossAx val="1769958384"/>
        <c:crosses val="autoZero"/>
        <c:auto val="1"/>
        <c:lblAlgn val="ctr"/>
        <c:lblOffset val="100"/>
        <c:noMultiLvlLbl val="0"/>
      </c:catAx>
      <c:valAx>
        <c:axId val="1769958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Mulish" pitchFamily="2" charset="0"/>
                    <a:ea typeface="+mn-ea"/>
                    <a:cs typeface="+mn-cs"/>
                  </a:defRPr>
                </a:pPr>
                <a:r>
                  <a:rPr lang="en-GB" sz="1800" b="0" i="0" baseline="0" dirty="0" smtClean="0">
                    <a:effectLst/>
                  </a:rPr>
                  <a:t>Absolute risk (%)</a:t>
                </a:r>
                <a:endParaRPr lang="en-GB" dirty="0">
                  <a:effectLst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ulish" pitchFamily="2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ulish" pitchFamily="2" charset="0"/>
                <a:ea typeface="+mn-ea"/>
                <a:cs typeface="+mn-cs"/>
              </a:defRPr>
            </a:pPr>
            <a:endParaRPr lang="en-US"/>
          </a:p>
        </c:txPr>
        <c:crossAx val="17699579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ulish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>
          <a:latin typeface="Mulish" pitchFamily="2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3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50000"/>
            <a:lumOff val="50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4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D0C4A1-78AE-42B9-961A-B2CCE7F26E9A}" type="datetimeFigureOut">
              <a:rPr lang="en-GB" smtClean="0"/>
              <a:t>27/01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1510A4-ABD8-4407-86C1-D56D67D88B1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54155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8829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94962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4081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5044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96749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3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05678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3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21187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3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75742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4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67076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4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15530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4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71815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156262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4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749817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4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455594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4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635910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5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088076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5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502368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aseline="0" dirty="0" smtClean="0"/>
              <a:t>Read slid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6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185897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aseline="0" dirty="0" smtClean="0"/>
              <a:t>Read slid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6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34150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aseline="0" dirty="0" smtClean="0"/>
              <a:t>Read slid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6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331814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028924-9432-400B-954F-A9C16B5F5765}" type="slidenum">
              <a:rPr lang="en-GB" smtClean="0"/>
              <a:t>6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898134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028924-9432-400B-954F-A9C16B5F5765}" type="slidenum">
              <a:rPr lang="en-GB" smtClean="0"/>
              <a:t>6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79829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58017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7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615419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And our deep thanks and gratitude</a:t>
            </a:r>
            <a:r>
              <a:rPr lang="en-GB" baseline="0" dirty="0" smtClean="0"/>
              <a:t> go to the participants and all our collaborators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7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27968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3663" y="746125"/>
            <a:ext cx="6610350" cy="3719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700C-0E14-47AE-B5C0-287DFF49F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42714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64716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97973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i="0" baseline="0" dirty="0" smtClean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25987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96224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510A4-ABD8-4407-86C1-D56D67D88B1F}" type="slidenum">
              <a:rPr lang="en-GB" smtClean="0"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75195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42F5C-D9E7-4094-AF0E-5AD77F9FA0DA}" type="datetime1">
              <a:rPr lang="en-GB" smtClean="0"/>
              <a:t>27/0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B68473-D26B-4957-BC80-9687FEA8288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00478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E2E48-7059-4D53-8538-1527BAC82039}" type="datetime1">
              <a:rPr lang="en-GB" smtClean="0"/>
              <a:t>27/0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B68473-D26B-4957-BC80-9687FEA8288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09759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99A9F-F928-4E64-A518-C6458EE9644F}" type="datetime1">
              <a:rPr lang="en-GB" smtClean="0"/>
              <a:t>27/0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B68473-D26B-4957-BC80-9687FEA8288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22487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1"/>
            <a:ext cx="103632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112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E24CFF-EFC4-455C-B45F-503F302C0B23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7/01/202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CF2C65-B50D-4F7F-8164-566FA705FCE4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23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 b="1">
                <a:solidFill>
                  <a:schemeClr val="tx2">
                    <a:lumMod val="50000"/>
                  </a:schemeClr>
                </a:solidFill>
                <a:latin typeface="Mulish ExtraBold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ulish Light" pitchFamily="2" charset="0"/>
                <a:cs typeface="Arial" panose="020B0604020202020204" pitchFamily="34" charset="0"/>
              </a:defRPr>
            </a:lvl1pPr>
            <a:lvl2pPr>
              <a:defRPr>
                <a:latin typeface="Mulish Light" pitchFamily="2" charset="0"/>
                <a:cs typeface="Arial" panose="020B0604020202020204" pitchFamily="34" charset="0"/>
              </a:defRPr>
            </a:lvl2pPr>
            <a:lvl3pPr>
              <a:defRPr>
                <a:latin typeface="Mulish Light" pitchFamily="2" charset="0"/>
                <a:cs typeface="Arial" panose="020B0604020202020204" pitchFamily="34" charset="0"/>
              </a:defRPr>
            </a:lvl3pPr>
            <a:lvl4pPr>
              <a:defRPr>
                <a:latin typeface="Mulish Light" pitchFamily="2" charset="0"/>
                <a:cs typeface="Arial" panose="020B0604020202020204" pitchFamily="34" charset="0"/>
              </a:defRPr>
            </a:lvl4pPr>
            <a:lvl5pPr>
              <a:defRPr>
                <a:latin typeface="Mulish Light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AC2F2-DF54-497A-98AF-8EAB6E7F9031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7/01/202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CF2C65-B50D-4F7F-8164-566FA705FCE4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01236" y="1431323"/>
            <a:ext cx="10989528" cy="0"/>
          </a:xfrm>
          <a:prstGeom prst="line">
            <a:avLst/>
          </a:prstGeom>
          <a:ln w="28575">
            <a:solidFill>
              <a:srgbClr val="001C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44189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6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1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68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2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9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0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13BD7-4258-4FA0-B232-96E5F7A9516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7/01/202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CF2C65-B50D-4F7F-8164-566FA705FCE4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7130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F30A55-4B35-421D-9806-31F81CBAFB4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7/01/202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CF2C65-B50D-4F7F-8164-566FA705FCE4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601236" y="1431323"/>
            <a:ext cx="10989528" cy="0"/>
          </a:xfrm>
          <a:prstGeom prst="line">
            <a:avLst/>
          </a:prstGeom>
          <a:ln w="28575">
            <a:solidFill>
              <a:srgbClr val="001C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/>
          <p:cNvGrpSpPr/>
          <p:nvPr userDrawn="1"/>
        </p:nvGrpSpPr>
        <p:grpSpPr>
          <a:xfrm>
            <a:off x="1619515" y="6237313"/>
            <a:ext cx="9095159" cy="525749"/>
            <a:chOff x="1214636" y="6237312"/>
            <a:chExt cx="6821369" cy="525749"/>
          </a:xfrm>
        </p:grpSpPr>
        <p:sp>
          <p:nvSpPr>
            <p:cNvPr id="21" name="TextBox 20"/>
            <p:cNvSpPr txBox="1"/>
            <p:nvPr userDrawn="1"/>
          </p:nvSpPr>
          <p:spPr>
            <a:xfrm>
              <a:off x="3882629" y="6237313"/>
              <a:ext cx="2489571" cy="523198"/>
            </a:xfrm>
            <a:prstGeom prst="rect">
              <a:avLst/>
            </a:prstGeom>
            <a:noFill/>
          </p:spPr>
          <p:txBody>
            <a:bodyPr wrap="square" lIns="91418" tIns="45709" rIns="91418" bIns="45709" rtlCol="0">
              <a:spAutoFit/>
            </a:bodyPr>
            <a:lstStyle/>
            <a:p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Clinical Trial Service Unit &amp;</a:t>
              </a:r>
            </a:p>
            <a:p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Epidemiological Studies Unit</a:t>
              </a:r>
            </a:p>
          </p:txBody>
        </p:sp>
        <p:cxnSp>
          <p:nvCxnSpPr>
            <p:cNvPr id="22" name="Straight Connector 21"/>
            <p:cNvCxnSpPr/>
            <p:nvPr userDrawn="1"/>
          </p:nvCxnSpPr>
          <p:spPr>
            <a:xfrm>
              <a:off x="3793473" y="6238532"/>
              <a:ext cx="0" cy="522000"/>
            </a:xfrm>
            <a:prstGeom prst="line">
              <a:avLst/>
            </a:prstGeom>
            <a:ln w="28575">
              <a:solidFill>
                <a:srgbClr val="001C54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 userDrawn="1"/>
          </p:nvSpPr>
          <p:spPr>
            <a:xfrm>
              <a:off x="1619673" y="6239863"/>
              <a:ext cx="2052752" cy="523198"/>
            </a:xfrm>
            <a:prstGeom prst="rect">
              <a:avLst/>
            </a:prstGeom>
            <a:noFill/>
          </p:spPr>
          <p:txBody>
            <a:bodyPr wrap="square" lIns="91418" tIns="45709" rIns="91418" bIns="45709" rtlCol="0">
              <a:spAutoFit/>
            </a:bodyPr>
            <a:lstStyle/>
            <a:p>
              <a:pPr algn="r"/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Nuffield Department of</a:t>
              </a:r>
            </a:p>
            <a:p>
              <a:pPr algn="r"/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Population Health</a:t>
              </a:r>
            </a:p>
          </p:txBody>
        </p:sp>
        <p:pic>
          <p:nvPicPr>
            <p:cNvPr id="24" name="Picture 2" descr="J:\External Training Courses provided by NDPH\ox_brand_cmyk_pos.jp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4636" y="6237312"/>
              <a:ext cx="522000" cy="52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3" descr="J:\External Training Courses provided by NDPH\MRC Hub logo.jpg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9756" y="6239863"/>
              <a:ext cx="1726249" cy="5194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955346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37" indent="0">
              <a:buNone/>
              <a:defRPr sz="2000" b="1"/>
            </a:lvl2pPr>
            <a:lvl3pPr marL="914274" indent="0">
              <a:buNone/>
              <a:defRPr sz="1800" b="1"/>
            </a:lvl3pPr>
            <a:lvl4pPr marL="1371411" indent="0">
              <a:buNone/>
              <a:defRPr sz="1600" b="1"/>
            </a:lvl4pPr>
            <a:lvl5pPr marL="1828548" indent="0">
              <a:buNone/>
              <a:defRPr sz="1600" b="1"/>
            </a:lvl5pPr>
            <a:lvl6pPr marL="2285685" indent="0">
              <a:buNone/>
              <a:defRPr sz="1600" b="1"/>
            </a:lvl6pPr>
            <a:lvl7pPr marL="2742821" indent="0">
              <a:buNone/>
              <a:defRPr sz="1600" b="1"/>
            </a:lvl7pPr>
            <a:lvl8pPr marL="3199958" indent="0">
              <a:buNone/>
              <a:defRPr sz="1600" b="1"/>
            </a:lvl8pPr>
            <a:lvl9pPr marL="365709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37" indent="0">
              <a:buNone/>
              <a:defRPr sz="2000" b="1"/>
            </a:lvl2pPr>
            <a:lvl3pPr marL="914274" indent="0">
              <a:buNone/>
              <a:defRPr sz="1800" b="1"/>
            </a:lvl3pPr>
            <a:lvl4pPr marL="1371411" indent="0">
              <a:buNone/>
              <a:defRPr sz="1600" b="1"/>
            </a:lvl4pPr>
            <a:lvl5pPr marL="1828548" indent="0">
              <a:buNone/>
              <a:defRPr sz="1600" b="1"/>
            </a:lvl5pPr>
            <a:lvl6pPr marL="2285685" indent="0">
              <a:buNone/>
              <a:defRPr sz="1600" b="1"/>
            </a:lvl6pPr>
            <a:lvl7pPr marL="2742821" indent="0">
              <a:buNone/>
              <a:defRPr sz="1600" b="1"/>
            </a:lvl7pPr>
            <a:lvl8pPr marL="3199958" indent="0">
              <a:buNone/>
              <a:defRPr sz="1600" b="1"/>
            </a:lvl8pPr>
            <a:lvl9pPr marL="365709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BF0B14-CE1E-492C-B267-66309EE1E780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7/01/202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CF2C65-B50D-4F7F-8164-566FA705FCE4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01236" y="1431323"/>
            <a:ext cx="10989528" cy="0"/>
          </a:xfrm>
          <a:prstGeom prst="line">
            <a:avLst/>
          </a:prstGeom>
          <a:ln w="28575">
            <a:solidFill>
              <a:srgbClr val="001C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/>
          <p:cNvGrpSpPr/>
          <p:nvPr userDrawn="1"/>
        </p:nvGrpSpPr>
        <p:grpSpPr>
          <a:xfrm>
            <a:off x="1619515" y="6237313"/>
            <a:ext cx="9095159" cy="525749"/>
            <a:chOff x="1214636" y="6237312"/>
            <a:chExt cx="6821369" cy="525749"/>
          </a:xfrm>
        </p:grpSpPr>
        <p:sp>
          <p:nvSpPr>
            <p:cNvPr id="23" name="TextBox 22"/>
            <p:cNvSpPr txBox="1"/>
            <p:nvPr userDrawn="1"/>
          </p:nvSpPr>
          <p:spPr>
            <a:xfrm>
              <a:off x="3882629" y="6237313"/>
              <a:ext cx="2489571" cy="523198"/>
            </a:xfrm>
            <a:prstGeom prst="rect">
              <a:avLst/>
            </a:prstGeom>
            <a:noFill/>
          </p:spPr>
          <p:txBody>
            <a:bodyPr wrap="square" lIns="91418" tIns="45709" rIns="91418" bIns="45709" rtlCol="0">
              <a:spAutoFit/>
            </a:bodyPr>
            <a:lstStyle/>
            <a:p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Clinical Trial Service Unit &amp;</a:t>
              </a:r>
            </a:p>
            <a:p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Epidemiological Studies Unit</a:t>
              </a:r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>
              <a:off x="3793473" y="6238532"/>
              <a:ext cx="0" cy="522000"/>
            </a:xfrm>
            <a:prstGeom prst="line">
              <a:avLst/>
            </a:prstGeom>
            <a:ln w="28575">
              <a:solidFill>
                <a:srgbClr val="001C54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 userDrawn="1"/>
          </p:nvSpPr>
          <p:spPr>
            <a:xfrm>
              <a:off x="1619673" y="6239863"/>
              <a:ext cx="2052752" cy="523198"/>
            </a:xfrm>
            <a:prstGeom prst="rect">
              <a:avLst/>
            </a:prstGeom>
            <a:noFill/>
          </p:spPr>
          <p:txBody>
            <a:bodyPr wrap="square" lIns="91418" tIns="45709" rIns="91418" bIns="45709" rtlCol="0">
              <a:spAutoFit/>
            </a:bodyPr>
            <a:lstStyle/>
            <a:p>
              <a:pPr algn="r"/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Nuffield Department of</a:t>
              </a:r>
            </a:p>
            <a:p>
              <a:pPr algn="r"/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Population Health</a:t>
              </a:r>
            </a:p>
          </p:txBody>
        </p:sp>
        <p:pic>
          <p:nvPicPr>
            <p:cNvPr id="26" name="Picture 2" descr="J:\External Training Courses provided by NDPH\ox_brand_cmyk_pos.jp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4636" y="6237312"/>
              <a:ext cx="522000" cy="52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3" descr="J:\External Training Courses provided by NDPH\MRC Hub logo.jpg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9756" y="6239863"/>
              <a:ext cx="1726249" cy="5194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757233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-99392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9EE019-BED9-4EEE-BBBB-BE1167B14BF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7/01/202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CF2C65-B50D-4F7F-8164-566FA705FCE4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01236" y="1052736"/>
            <a:ext cx="10989528" cy="0"/>
          </a:xfrm>
          <a:prstGeom prst="line">
            <a:avLst/>
          </a:prstGeom>
          <a:ln w="28575">
            <a:solidFill>
              <a:srgbClr val="001C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92236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E5663-58E2-40B9-8CFF-1FA1AB5A9A7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7/01/202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CF2C65-B50D-4F7F-8164-566FA705FCE4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369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6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37" indent="0">
              <a:buNone/>
              <a:defRPr sz="1200"/>
            </a:lvl2pPr>
            <a:lvl3pPr marL="914274" indent="0">
              <a:buNone/>
              <a:defRPr sz="1000"/>
            </a:lvl3pPr>
            <a:lvl4pPr marL="1371411" indent="0">
              <a:buNone/>
              <a:defRPr sz="900"/>
            </a:lvl4pPr>
            <a:lvl5pPr marL="1828548" indent="0">
              <a:buNone/>
              <a:defRPr sz="900"/>
            </a:lvl5pPr>
            <a:lvl6pPr marL="2285685" indent="0">
              <a:buNone/>
              <a:defRPr sz="900"/>
            </a:lvl6pPr>
            <a:lvl7pPr marL="2742821" indent="0">
              <a:buNone/>
              <a:defRPr sz="900"/>
            </a:lvl7pPr>
            <a:lvl8pPr marL="3199958" indent="0">
              <a:buNone/>
              <a:defRPr sz="900"/>
            </a:lvl8pPr>
            <a:lvl9pPr marL="365709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C29D1-DD99-42B1-B518-E2EB9FB2C95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7/01/202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CF2C65-B50D-4F7F-8164-566FA705FCE4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9785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4CC6FE-1D85-4E55-B75B-8E93F3C98C41}" type="datetime1">
              <a:rPr lang="en-GB" smtClean="0"/>
              <a:t>27/0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B68473-D26B-4957-BC80-9687FEA8288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78993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6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37" indent="0">
              <a:buNone/>
              <a:defRPr sz="2800"/>
            </a:lvl2pPr>
            <a:lvl3pPr marL="914274" indent="0">
              <a:buNone/>
              <a:defRPr sz="2400"/>
            </a:lvl3pPr>
            <a:lvl4pPr marL="1371411" indent="0">
              <a:buNone/>
              <a:defRPr sz="2000"/>
            </a:lvl4pPr>
            <a:lvl5pPr marL="1828548" indent="0">
              <a:buNone/>
              <a:defRPr sz="2000"/>
            </a:lvl5pPr>
            <a:lvl6pPr marL="2285685" indent="0">
              <a:buNone/>
              <a:defRPr sz="2000"/>
            </a:lvl6pPr>
            <a:lvl7pPr marL="2742821" indent="0">
              <a:buNone/>
              <a:defRPr sz="2000"/>
            </a:lvl7pPr>
            <a:lvl8pPr marL="3199958" indent="0">
              <a:buNone/>
              <a:defRPr sz="2000"/>
            </a:lvl8pPr>
            <a:lvl9pPr marL="3657095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37" indent="0">
              <a:buNone/>
              <a:defRPr sz="1200"/>
            </a:lvl2pPr>
            <a:lvl3pPr marL="914274" indent="0">
              <a:buNone/>
              <a:defRPr sz="1000"/>
            </a:lvl3pPr>
            <a:lvl4pPr marL="1371411" indent="0">
              <a:buNone/>
              <a:defRPr sz="900"/>
            </a:lvl4pPr>
            <a:lvl5pPr marL="1828548" indent="0">
              <a:buNone/>
              <a:defRPr sz="900"/>
            </a:lvl5pPr>
            <a:lvl6pPr marL="2285685" indent="0">
              <a:buNone/>
              <a:defRPr sz="900"/>
            </a:lvl6pPr>
            <a:lvl7pPr marL="2742821" indent="0">
              <a:buNone/>
              <a:defRPr sz="900"/>
            </a:lvl7pPr>
            <a:lvl8pPr marL="3199958" indent="0">
              <a:buNone/>
              <a:defRPr sz="900"/>
            </a:lvl8pPr>
            <a:lvl9pPr marL="365709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79E3E-2BC0-46C2-A3B3-D60CD448B36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7/01/202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CF2C65-B50D-4F7F-8164-566FA705FCE4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899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70CD49-30FD-40B2-AF48-3831954C6FA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7/01/202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CF2C65-B50D-4F7F-8164-566FA705FCE4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23392" y="1431323"/>
            <a:ext cx="10945216" cy="0"/>
          </a:xfrm>
          <a:prstGeom prst="line">
            <a:avLst/>
          </a:prstGeom>
          <a:ln w="28575">
            <a:solidFill>
              <a:srgbClr val="001C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70518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26839B-D8B8-47A9-9F76-7BC2DA7C9E4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7/01/202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CF2C65-B50D-4F7F-8164-566FA705FCE4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2743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446C3C-DDC9-4A4B-A6BB-18D5C6BD47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F745177-E4A6-6847-B9A4-54832D672A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12E712-E13F-6F4B-B3AC-3F073D437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84DC6-3664-43B2-8F09-DB7118614A66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9A777E-15FA-7249-8F7D-ACD48508C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93ABEE-43FB-4947-BA77-B6D089609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13998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FBAA7-71CF-0A4B-888B-EAAB8B61F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BDEB6A-5768-B54E-8C8A-8842028C2F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979E66-8393-6C4F-A6F5-ADD0F7C7D8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0E10E0-0ADD-4828-8D1F-4B18A3E84C44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44911A-F50F-9643-BF68-AC5E7E955F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32CD92-1042-184F-893E-F87801FD13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50432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70C03-FD22-CC47-BCA2-C982075CF9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58C265-62BB-2B41-BABC-2E245F4CE8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A5DABD-4A21-9649-A2AE-0116373388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BA1864-D9D3-46E9-826F-65B7D923883A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1A2C7A-2542-A845-85A5-3B9DAC4EF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3CCF62-4AF2-7642-BD7E-C8D4C8DF77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1144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6E5C6-AEDB-B54A-A0AE-D017F7E71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AEC126-1AD8-8947-9D15-E96D0A2A8D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288C1C-0E34-644F-907B-860A7D67F0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D615AC-484C-434E-91DE-EB2DFC2CD0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EE848-8644-41F4-83BB-B0DB95C79C5B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04A790-B4B0-F342-A4F0-3CA4130BB5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3460EB-C18A-7747-8ACE-56CD62D3CA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5055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2DC39C-9799-ED49-9336-C33A3DE22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F27545-9981-1B4C-AFBE-99523E6D4E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5CCF20-1F9A-BB41-8285-F6DFB72E71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A90C94-85BE-6042-A8B2-ADBA61B3CF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A4B3636-3829-9D47-819D-684A895757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A3D827-C621-DE40-AF6A-5B6D8D22EC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F4E8F-81FA-4E03-B650-61C6827E43C7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28D8CC2-BD94-564B-BC44-1A258FAC3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8EA54A5-CF5D-564B-9EA9-3B02D5E5C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19393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5C60E-D9EC-3B40-B2D2-987CF9E6A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2E07F8-B56C-3645-8BDF-67B94309A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65ABB-1050-403E-A5EC-2EFCEB5185A6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30A028-8E37-214C-A0A0-1C365F5F2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62C252-6B6D-3349-B87C-3B6F34691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4203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BE6966-90D6-6A43-ABFA-6424E42872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B101DF-4F45-4E16-AC3F-0FC8DA8F781A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8E345-9948-D342-8ED6-1C82F89008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CF44B-DE2A-B449-9687-26F17BCB9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384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2E0B3-F4F6-4B38-9CFD-2596C2F84541}" type="datetime1">
              <a:rPr lang="en-GB" smtClean="0"/>
              <a:t>27/0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B68473-D26B-4957-BC80-9687FEA8288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81480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6668F-DFC2-1A42-9DEF-4904ED2FB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8421E7-F6F8-D147-839C-3CD6CEEE82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3CD195-D8BB-4B4F-A309-91989CB290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D22563-01E7-A14D-832B-6747D22DB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CE342F-1D42-4C49-8C1A-CBB48F8F0F80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DB5BBC-CB9B-114B-A8FD-BBE6E96BA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0E0E48-FAB1-0E4D-9C00-18E68A6BC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4972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F2E6F0-3C18-7B40-B729-99AD39363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09D51F-EB34-CF46-88FB-595409295F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5849B8-4D56-5B40-9FC3-713CDF945F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6B854D-C3C4-494B-9B9A-0683846442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26823B-F248-49E2-9047-A12078402705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01E7D9-230B-F34D-924D-5923FD99A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8C96AD-7989-6044-8953-C11DE023F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8546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4CC2EE-F821-4C43-AA2F-042957757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EC890E6-3242-504F-B5BF-8EFADD79BF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A36C2F-02E3-004E-A61B-C112B4DD1F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0B596-152D-417A-9D12-C952903CA698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F945FA-5E02-C348-8B73-79D8FF1BE4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F1CF8E-806F-684A-BA15-000958565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9218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267FF98-93B9-614A-956D-616315C9299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A47278-13CF-044A-B803-ABF47169AE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E4B06C-A89B-6145-99D0-AF10A69C1A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59A5-51D1-4536-B220-732DAA7A7AE2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C64436-FE79-A64C-B05F-B9D9DCB00F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A632B0-22AA-5E47-B0B8-4420B812D3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9771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62072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47352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446C3C-DDC9-4A4B-A6BB-18D5C6BD47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F745177-E4A6-6847-B9A4-54832D672A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12E712-E13F-6F4B-B3AC-3F073D437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67D63-DC0E-4D43-8676-F2221E47ECB1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9A777E-15FA-7249-8F7D-ACD48508C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93ABEE-43FB-4947-BA77-B6D089609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696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FBAA7-71CF-0A4B-888B-EAAB8B61F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BDEB6A-5768-B54E-8C8A-8842028C2F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979E66-8393-6C4F-A6F5-ADD0F7C7D8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4F98E-311C-4E3A-849D-F33B49DCFDEC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44911A-F50F-9643-BF68-AC5E7E955F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32CD92-1042-184F-893E-F87801FD13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677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70C03-FD22-CC47-BCA2-C982075CF9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58C265-62BB-2B41-BABC-2E245F4CE8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A5DABD-4A21-9649-A2AE-0116373388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838B2-F072-4263-B02A-5D6D02AE4F6C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1A2C7A-2542-A845-85A5-3B9DAC4EF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3CCF62-4AF2-7642-BD7E-C8D4C8DF77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20523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6E5C6-AEDB-B54A-A0AE-D017F7E71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AEC126-1AD8-8947-9D15-E96D0A2A8D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288C1C-0E34-644F-907B-860A7D67F0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D615AC-484C-434E-91DE-EB2DFC2CD0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01EA16-D45A-48DB-BBFE-E2C36EAB59D9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04A790-B4B0-F342-A4F0-3CA4130BB5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3460EB-C18A-7747-8ACE-56CD62D3CA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32992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32ED4-7A47-47A8-A0E1-E03BBC6A7460}" type="datetime1">
              <a:rPr lang="en-GB" smtClean="0"/>
              <a:t>27/01/2023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B68473-D26B-4957-BC80-9687FEA8288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816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2DC39C-9799-ED49-9336-C33A3DE22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F27545-9981-1B4C-AFBE-99523E6D4E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5CCF20-1F9A-BB41-8285-F6DFB72E71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A90C94-85BE-6042-A8B2-ADBA61B3CF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A4B3636-3829-9D47-819D-684A895757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A3D827-C621-DE40-AF6A-5B6D8D22EC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E8D16E-552F-4C1B-9B84-F2EAFACB9937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28D8CC2-BD94-564B-BC44-1A258FAC3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8EA54A5-CF5D-564B-9EA9-3B02D5E5C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9352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5C60E-D9EC-3B40-B2D2-987CF9E6A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2E07F8-B56C-3645-8BDF-67B94309A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63C37-D46A-4FDE-B9E6-284B7080024A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30A028-8E37-214C-A0A0-1C365F5F2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62C252-6B6D-3349-B87C-3B6F34691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249854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BE6966-90D6-6A43-ABFA-6424E42872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3FEAF-CB68-4F3F-9984-23BE876907D8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8E345-9948-D342-8ED6-1C82F89008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CF44B-DE2A-B449-9687-26F17BCB9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41154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6668F-DFC2-1A42-9DEF-4904ED2FB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8421E7-F6F8-D147-839C-3CD6CEEE82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3CD195-D8BB-4B4F-A309-91989CB290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D22563-01E7-A14D-832B-6747D22DB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A474B-956D-43F2-ABBC-A81EF0BE0B05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DB5BBC-CB9B-114B-A8FD-BBE6E96BA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0E0E48-FAB1-0E4D-9C00-18E68A6BC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0155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F2E6F0-3C18-7B40-B729-99AD39363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09D51F-EB34-CF46-88FB-595409295F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5849B8-4D56-5B40-9FC3-713CDF945F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6B854D-C3C4-494B-9B9A-0683846442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00B6A7-DD18-4BFD-916F-9221B1326448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01E7D9-230B-F34D-924D-5923FD99A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8C96AD-7989-6044-8953-C11DE023F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3322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4CC2EE-F821-4C43-AA2F-042957757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EC890E6-3242-504F-B5BF-8EFADD79BF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A36C2F-02E3-004E-A61B-C112B4DD1F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66D08-E1D8-4F95-8329-3017ABAA7684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F945FA-5E02-C348-8B73-79D8FF1BE4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F1CF8E-806F-684A-BA15-000958565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57444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267FF98-93B9-614A-956D-616315C9299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A47278-13CF-044A-B803-ABF47169AE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E4B06C-A89B-6145-99D0-AF10A69C1A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357AA-C079-4A89-A3DA-043C09A840BF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C64436-FE79-A64C-B05F-B9D9DCB00F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A632B0-22AA-5E47-B0B8-4420B812D3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0684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27626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446C3C-DDC9-4A4B-A6BB-18D5C6BD47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F745177-E4A6-6847-B9A4-54832D672A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12E712-E13F-6F4B-B3AC-3F073D437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AD911-BA2A-4C60-B772-62398ED13CD5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9A777E-15FA-7249-8F7D-ACD48508C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93ABEE-43FB-4947-BA77-B6D089609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93297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2FBAA7-71CF-0A4B-888B-EAAB8B61F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BDEB6A-5768-B54E-8C8A-8842028C2F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979E66-8393-6C4F-A6F5-ADD0F7C7D8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01764-947C-4EF4-BB75-4B9BE0841639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44911A-F50F-9643-BF68-AC5E7E955F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32CD92-1042-184F-893E-F87801FD13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0354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F20204-9DE9-4C2A-86E7-DBF0611E88AF}" type="datetime1">
              <a:rPr lang="en-GB" smtClean="0"/>
              <a:t>27/01/2023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B68473-D26B-4957-BC80-9687FEA8288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29763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770C03-FD22-CC47-BCA2-C982075CF9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58C265-62BB-2B41-BABC-2E245F4CE8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A5DABD-4A21-9649-A2AE-0116373388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5C6C68-F7DF-48A6-BE0F-CC76A50B2294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1A2C7A-2542-A845-85A5-3B9DAC4EF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3CCF62-4AF2-7642-BD7E-C8D4C8DF77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91660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6E5C6-AEDB-B54A-A0AE-D017F7E71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AEC126-1AD8-8947-9D15-E96D0A2A8D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288C1C-0E34-644F-907B-860A7D67F0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D615AC-484C-434E-91DE-EB2DFC2CD0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FB721B-708D-4408-ABF3-2D85BF25D256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04A790-B4B0-F342-A4F0-3CA4130BB5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3460EB-C18A-7747-8ACE-56CD62D3CA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3476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2DC39C-9799-ED49-9336-C33A3DE22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F27545-9981-1B4C-AFBE-99523E6D4E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5CCF20-1F9A-BB41-8285-F6DFB72E71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A90C94-85BE-6042-A8B2-ADBA61B3CF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A4B3636-3829-9D47-819D-684A895757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A3D827-C621-DE40-AF6A-5B6D8D22EC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17B750-6F1F-48EF-BF23-248559FAD5DC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28D8CC2-BD94-564B-BC44-1A258FAC3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8EA54A5-CF5D-564B-9EA9-3B02D5E5C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27836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5C60E-D9EC-3B40-B2D2-987CF9E6A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2E07F8-B56C-3645-8BDF-67B94309A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E80EDA-DB38-4797-90CE-2D4510970438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30A028-8E37-214C-A0A0-1C365F5F2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62C252-6B6D-3349-B87C-3B6F34691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28997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BE6966-90D6-6A43-ABFA-6424E42872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080717-E7CD-4E5A-A117-0358A7E81B82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8E345-9948-D342-8ED6-1C82F89008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7CF44B-DE2A-B449-9687-26F17BCB9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936634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06668F-DFC2-1A42-9DEF-4904ED2FB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8421E7-F6F8-D147-839C-3CD6CEEE82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3CD195-D8BB-4B4F-A309-91989CB290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D22563-01E7-A14D-832B-6747D22DB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10C62-F330-4143-85AB-A2E317A494F2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DB5BBC-CB9B-114B-A8FD-BBE6E96BA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0E0E48-FAB1-0E4D-9C00-18E68A6BC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5033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F2E6F0-3C18-7B40-B729-99AD39363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09D51F-EB34-CF46-88FB-595409295F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5849B8-4D56-5B40-9FC3-713CDF945F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6B854D-C3C4-494B-9B9A-0683846442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39F4D-5A18-4655-91FA-3858DBD4122A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01E7D9-230B-F34D-924D-5923FD99A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8C96AD-7989-6044-8953-C11DE023F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3996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4CC2EE-F821-4C43-AA2F-042957757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EC890E6-3242-504F-B5BF-8EFADD79BF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A36C2F-02E3-004E-A61B-C112B4DD1F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D8854-778E-4D53-BD9D-877BDF9EAAF8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F945FA-5E02-C348-8B73-79D8FF1BE4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F1CF8E-806F-684A-BA15-000958565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92844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267FF98-93B9-614A-956D-616315C9299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A47278-13CF-044A-B803-ABF47169AE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E4B06C-A89B-6145-99D0-AF10A69C1A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22079-8794-4F2E-9786-D81152A6854D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C64436-FE79-A64C-B05F-B9D9DCB00F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A632B0-22AA-5E47-B0B8-4420B812D3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4616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48015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FD60-D7EA-40F5-B9DC-AD4EAA542031}" type="datetime1">
              <a:rPr lang="en-GB" smtClean="0"/>
              <a:t>27/0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B68473-D26B-4957-BC80-9687FEA8288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74347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62765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B7CB4-E663-4340-A872-70E072431C1A}" type="datetime1">
              <a:rPr lang="en-GB" smtClean="0"/>
              <a:t>27/01/2023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B68473-D26B-4957-BC80-9687FEA8288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8328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E37B7-2751-4F6E-8968-C049F37812D9}" type="datetime1">
              <a:rPr lang="en-GB" smtClean="0"/>
              <a:t>27/01/2023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B68473-D26B-4957-BC80-9687FEA8288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4489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D3812-283F-4FE2-98A9-3AC0EE24AB72}" type="datetime1">
              <a:rPr lang="en-GB" smtClean="0"/>
              <a:t>27/01/2023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B68473-D26B-4957-BC80-9687FEA8288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56476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image" Target="../media/image5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E37C36-7815-4118-9EDA-6A37A45B826B}" type="datetime1">
              <a:rPr lang="en-GB" smtClean="0"/>
              <a:t>27/0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B68473-D26B-4957-BC80-9687FEA8288C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Picture 7"/>
          <p:cNvPicPr/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2822" y="6287452"/>
            <a:ext cx="2529840" cy="50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91526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28" tIns="45713" rIns="91428" bIns="45713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28" tIns="45713" rIns="91428" bIns="4571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6"/>
            <a:ext cx="2844800" cy="365125"/>
          </a:xfrm>
          <a:prstGeom prst="rect">
            <a:avLst/>
          </a:prstGeom>
        </p:spPr>
        <p:txBody>
          <a:bodyPr vert="horz" lIns="91428" tIns="45713" rIns="91428" bIns="45713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9FE42D-8E8E-4818-A46B-4E536DB4E47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7/01/202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6"/>
            <a:ext cx="3860800" cy="365125"/>
          </a:xfrm>
          <a:prstGeom prst="rect">
            <a:avLst/>
          </a:prstGeom>
        </p:spPr>
        <p:txBody>
          <a:bodyPr vert="horz" lIns="91428" tIns="45713" rIns="91428" bIns="45713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454400" y="6492876"/>
            <a:ext cx="2844800" cy="365125"/>
          </a:xfrm>
          <a:prstGeom prst="rect">
            <a:avLst/>
          </a:prstGeom>
        </p:spPr>
        <p:txBody>
          <a:bodyPr vert="horz" lIns="91428" tIns="45713" rIns="91428" bIns="45713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CF2C65-B50D-4F7F-8164-566FA705FCE4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1" descr="C:\Users\willh\AppData\Local\Microsoft\Windows\Temporary Internet Files\Content.Word\EMPA_KIDNEY_NoTagline.jp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8" t="21439" r="6516" b="23715"/>
          <a:stretch>
            <a:fillRect/>
          </a:stretch>
        </p:blipFill>
        <p:spPr bwMode="auto">
          <a:xfrm>
            <a:off x="1" y="6400258"/>
            <a:ext cx="1727199" cy="457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/>
          <p:cNvPicPr/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4392" y="6287458"/>
            <a:ext cx="2529840" cy="50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84167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sldNum="0" hdr="0" ftr="0" dt="0"/>
  <p:txStyles>
    <p:titleStyle>
      <a:lvl1pPr algn="ctr" defTabSz="91427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Mulish ExtraBold" pitchFamily="2" charset="0"/>
          <a:ea typeface="+mj-ea"/>
          <a:cs typeface="Arial" panose="020B0604020202020204" pitchFamily="34" charset="0"/>
        </a:defRPr>
      </a:lvl1pPr>
    </p:titleStyle>
    <p:bodyStyle>
      <a:lvl1pPr marL="342852" indent="-342852" algn="l" defTabSz="914274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Mulish Light" pitchFamily="2" charset="0"/>
          <a:ea typeface="+mn-ea"/>
          <a:cs typeface="Arial" panose="020B0604020202020204" pitchFamily="34" charset="0"/>
        </a:defRPr>
      </a:lvl1pPr>
      <a:lvl2pPr marL="742847" indent="-285710" algn="l" defTabSz="914274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Mulish Light" pitchFamily="2" charset="0"/>
          <a:ea typeface="+mn-ea"/>
          <a:cs typeface="Arial" panose="020B0604020202020204" pitchFamily="34" charset="0"/>
        </a:defRPr>
      </a:lvl2pPr>
      <a:lvl3pPr marL="1142842" indent="-228568" algn="l" defTabSz="914274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ulish Light" pitchFamily="2" charset="0"/>
          <a:ea typeface="+mn-ea"/>
          <a:cs typeface="Arial" panose="020B0604020202020204" pitchFamily="34" charset="0"/>
        </a:defRPr>
      </a:lvl3pPr>
      <a:lvl4pPr marL="1599979" indent="-228568" algn="l" defTabSz="914274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Mulish Light" pitchFamily="2" charset="0"/>
          <a:ea typeface="+mn-ea"/>
          <a:cs typeface="Arial" panose="020B0604020202020204" pitchFamily="34" charset="0"/>
        </a:defRPr>
      </a:lvl4pPr>
      <a:lvl5pPr marL="2057116" indent="-228568" algn="l" defTabSz="914274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Mulish Light" pitchFamily="2" charset="0"/>
          <a:ea typeface="+mn-ea"/>
          <a:cs typeface="Arial" panose="020B0604020202020204" pitchFamily="34" charset="0"/>
        </a:defRPr>
      </a:lvl5pPr>
      <a:lvl6pPr marL="2514253" indent="-228568" algn="l" defTabSz="91427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90" indent="-228568" algn="l" defTabSz="91427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27" indent="-228568" algn="l" defTabSz="91427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64" indent="-228568" algn="l" defTabSz="91427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7" algn="l" defTabSz="914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4" algn="l" defTabSz="914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11" algn="l" defTabSz="914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8" algn="l" defTabSz="914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85" algn="l" defTabSz="914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21" algn="l" defTabSz="914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58" algn="l" defTabSz="914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95" algn="l" defTabSz="914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A4FFC9-16DA-5E42-9B85-705D6D51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99F4B1-CF42-9B4B-837B-C2676B4B44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7979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2243E0-BA09-764B-8600-3C90107C17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1D45ED-6C3A-456C-B6AA-F277914CADBA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0A2BF0-F387-BB44-9E05-DF9EA5203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AE5DEC-72DD-4449-AB88-D903B1A365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6B22D74-C16F-E447-9A70-B381DBCC80F7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7824192" y="233661"/>
            <a:ext cx="4084042" cy="78958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283766" y="230188"/>
            <a:ext cx="3940572" cy="779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269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1"/>
        </a:buClr>
        <a:buFont typeface="Wingdings" pitchFamily="2" charset="2"/>
        <a:buChar char="§"/>
        <a:defRPr sz="280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Wingdings" pitchFamily="2" charset="2"/>
        <a:buChar char="§"/>
        <a:defRPr sz="240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Wingdings" pitchFamily="2" charset="2"/>
        <a:buChar char="§"/>
        <a:defRPr sz="200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Wingdings" pitchFamily="2" charset="2"/>
        <a:buChar char="§"/>
        <a:defRPr sz="180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Wingdings" pitchFamily="2" charset="2"/>
        <a:buChar char="§"/>
        <a:defRPr sz="180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640">
          <p15:clr>
            <a:srgbClr val="F26B43"/>
          </p15:clr>
        </p15:guide>
        <p15:guide id="2" pos="266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A4FFC9-16DA-5E42-9B85-705D6D51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99F4B1-CF42-9B4B-837B-C2676B4B44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7979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2243E0-BA09-764B-8600-3C90107C17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5F403E-C56E-428C-8443-48DCD5AC2A9A}" type="datetime1">
              <a:rPr lang="en-GB" smtClean="0"/>
              <a:t>27/0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0A2BF0-F387-BB44-9E05-DF9EA5203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AE5DEC-72DD-4449-AB88-D903B1A365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532E6D9-F55B-0341-AC53-25CEE4DCAF59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9590400" y="6300000"/>
            <a:ext cx="2234482" cy="432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360000" y="6336000"/>
            <a:ext cx="181978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257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1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1"/>
        </a:buClr>
        <a:buFont typeface="Wingdings" pitchFamily="2" charset="2"/>
        <a:buChar char="§"/>
        <a:defRPr sz="280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Wingdings" pitchFamily="2" charset="2"/>
        <a:buChar char="§"/>
        <a:defRPr sz="240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Wingdings" pitchFamily="2" charset="2"/>
        <a:buChar char="§"/>
        <a:defRPr sz="200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Wingdings" pitchFamily="2" charset="2"/>
        <a:buChar char="§"/>
        <a:defRPr sz="180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Wingdings" pitchFamily="2" charset="2"/>
        <a:buChar char="§"/>
        <a:defRPr sz="180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1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A4FFC9-16DA-5E42-9B85-705D6D513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99F4B1-CF42-9B4B-837B-C2676B4B44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7979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2243E0-BA09-764B-8600-3C90107C17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6712BD-42D3-46E9-A406-BEFC834553FF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0A2BF0-F387-BB44-9E05-DF9EA5203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AE5DEC-72DD-4449-AB88-D903B1A365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3B6C04-F5E1-3947-BDE4-85543675AD0D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532E6D9-F55B-0341-AC53-25CEE4DCAF59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590400" y="6300000"/>
            <a:ext cx="2234482" cy="432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360000" y="6336000"/>
            <a:ext cx="181978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275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1"/>
        </a:buClr>
        <a:buFont typeface="Wingdings" pitchFamily="2" charset="2"/>
        <a:buChar char="§"/>
        <a:defRPr sz="280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Wingdings" pitchFamily="2" charset="2"/>
        <a:buChar char="§"/>
        <a:defRPr sz="240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Wingdings" pitchFamily="2" charset="2"/>
        <a:buChar char="§"/>
        <a:defRPr sz="200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Wingdings" pitchFamily="2" charset="2"/>
        <a:buChar char="§"/>
        <a:defRPr sz="180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Wingdings" pitchFamily="2" charset="2"/>
        <a:buChar char="§"/>
        <a:defRPr sz="180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1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.xml"/></Relationships>
</file>

<file path=ppt/slides/_rels/slide18.xml.rels><?xml version="1.0" encoding="UTF-8" standalone="yes"?>
<Relationships xmlns="http://schemas.openxmlformats.org/package/2006/relationships"><Relationship Id="rId117" Type="http://schemas.openxmlformats.org/officeDocument/2006/relationships/tags" Target="../tags/tag118.xml"/><Relationship Id="rId299" Type="http://schemas.openxmlformats.org/officeDocument/2006/relationships/tags" Target="../tags/tag300.xml"/><Relationship Id="rId21" Type="http://schemas.openxmlformats.org/officeDocument/2006/relationships/tags" Target="../tags/tag22.xml"/><Relationship Id="rId63" Type="http://schemas.openxmlformats.org/officeDocument/2006/relationships/tags" Target="../tags/tag64.xml"/><Relationship Id="rId159" Type="http://schemas.openxmlformats.org/officeDocument/2006/relationships/tags" Target="../tags/tag160.xml"/><Relationship Id="rId324" Type="http://schemas.openxmlformats.org/officeDocument/2006/relationships/tags" Target="../tags/tag325.xml"/><Relationship Id="rId366" Type="http://schemas.openxmlformats.org/officeDocument/2006/relationships/tags" Target="../tags/tag367.xml"/><Relationship Id="rId170" Type="http://schemas.openxmlformats.org/officeDocument/2006/relationships/tags" Target="../tags/tag171.xml"/><Relationship Id="rId226" Type="http://schemas.openxmlformats.org/officeDocument/2006/relationships/tags" Target="../tags/tag227.xml"/><Relationship Id="rId268" Type="http://schemas.openxmlformats.org/officeDocument/2006/relationships/tags" Target="../tags/tag269.xml"/><Relationship Id="rId32" Type="http://schemas.openxmlformats.org/officeDocument/2006/relationships/tags" Target="../tags/tag33.xml"/><Relationship Id="rId74" Type="http://schemas.openxmlformats.org/officeDocument/2006/relationships/tags" Target="../tags/tag75.xml"/><Relationship Id="rId128" Type="http://schemas.openxmlformats.org/officeDocument/2006/relationships/tags" Target="../tags/tag129.xml"/><Relationship Id="rId335" Type="http://schemas.openxmlformats.org/officeDocument/2006/relationships/tags" Target="../tags/tag336.xml"/><Relationship Id="rId377" Type="http://schemas.openxmlformats.org/officeDocument/2006/relationships/tags" Target="../tags/tag378.xml"/><Relationship Id="rId5" Type="http://schemas.openxmlformats.org/officeDocument/2006/relationships/tags" Target="../tags/tag6.xml"/><Relationship Id="rId181" Type="http://schemas.openxmlformats.org/officeDocument/2006/relationships/tags" Target="../tags/tag182.xml"/><Relationship Id="rId237" Type="http://schemas.openxmlformats.org/officeDocument/2006/relationships/tags" Target="../tags/tag238.xml"/><Relationship Id="rId279" Type="http://schemas.openxmlformats.org/officeDocument/2006/relationships/tags" Target="../tags/tag280.xml"/><Relationship Id="rId43" Type="http://schemas.openxmlformats.org/officeDocument/2006/relationships/tags" Target="../tags/tag44.xml"/><Relationship Id="rId139" Type="http://schemas.openxmlformats.org/officeDocument/2006/relationships/tags" Target="../tags/tag140.xml"/><Relationship Id="rId290" Type="http://schemas.openxmlformats.org/officeDocument/2006/relationships/tags" Target="../tags/tag291.xml"/><Relationship Id="rId304" Type="http://schemas.openxmlformats.org/officeDocument/2006/relationships/tags" Target="../tags/tag305.xml"/><Relationship Id="rId346" Type="http://schemas.openxmlformats.org/officeDocument/2006/relationships/tags" Target="../tags/tag347.xml"/><Relationship Id="rId85" Type="http://schemas.openxmlformats.org/officeDocument/2006/relationships/tags" Target="../tags/tag86.xml"/><Relationship Id="rId150" Type="http://schemas.openxmlformats.org/officeDocument/2006/relationships/tags" Target="../tags/tag151.xml"/><Relationship Id="rId192" Type="http://schemas.openxmlformats.org/officeDocument/2006/relationships/tags" Target="../tags/tag193.xml"/><Relationship Id="rId206" Type="http://schemas.openxmlformats.org/officeDocument/2006/relationships/tags" Target="../tags/tag207.xml"/><Relationship Id="rId248" Type="http://schemas.openxmlformats.org/officeDocument/2006/relationships/tags" Target="../tags/tag249.xml"/><Relationship Id="rId12" Type="http://schemas.openxmlformats.org/officeDocument/2006/relationships/tags" Target="../tags/tag13.xml"/><Relationship Id="rId108" Type="http://schemas.openxmlformats.org/officeDocument/2006/relationships/tags" Target="../tags/tag109.xml"/><Relationship Id="rId315" Type="http://schemas.openxmlformats.org/officeDocument/2006/relationships/tags" Target="../tags/tag316.xml"/><Relationship Id="rId357" Type="http://schemas.openxmlformats.org/officeDocument/2006/relationships/tags" Target="../tags/tag358.xml"/><Relationship Id="rId54" Type="http://schemas.openxmlformats.org/officeDocument/2006/relationships/tags" Target="../tags/tag55.xml"/><Relationship Id="rId96" Type="http://schemas.openxmlformats.org/officeDocument/2006/relationships/tags" Target="../tags/tag97.xml"/><Relationship Id="rId161" Type="http://schemas.openxmlformats.org/officeDocument/2006/relationships/tags" Target="../tags/tag162.xml"/><Relationship Id="rId217" Type="http://schemas.openxmlformats.org/officeDocument/2006/relationships/tags" Target="../tags/tag218.xml"/><Relationship Id="rId259" Type="http://schemas.openxmlformats.org/officeDocument/2006/relationships/tags" Target="../tags/tag260.xml"/><Relationship Id="rId23" Type="http://schemas.openxmlformats.org/officeDocument/2006/relationships/tags" Target="../tags/tag24.xml"/><Relationship Id="rId119" Type="http://schemas.openxmlformats.org/officeDocument/2006/relationships/tags" Target="../tags/tag120.xml"/><Relationship Id="rId270" Type="http://schemas.openxmlformats.org/officeDocument/2006/relationships/tags" Target="../tags/tag271.xml"/><Relationship Id="rId326" Type="http://schemas.openxmlformats.org/officeDocument/2006/relationships/tags" Target="../tags/tag327.xml"/><Relationship Id="rId65" Type="http://schemas.openxmlformats.org/officeDocument/2006/relationships/tags" Target="../tags/tag66.xml"/><Relationship Id="rId130" Type="http://schemas.openxmlformats.org/officeDocument/2006/relationships/tags" Target="../tags/tag131.xml"/><Relationship Id="rId368" Type="http://schemas.openxmlformats.org/officeDocument/2006/relationships/tags" Target="../tags/tag369.xml"/><Relationship Id="rId172" Type="http://schemas.openxmlformats.org/officeDocument/2006/relationships/tags" Target="../tags/tag173.xml"/><Relationship Id="rId228" Type="http://schemas.openxmlformats.org/officeDocument/2006/relationships/tags" Target="../tags/tag229.xml"/><Relationship Id="rId281" Type="http://schemas.openxmlformats.org/officeDocument/2006/relationships/tags" Target="../tags/tag282.xml"/><Relationship Id="rId337" Type="http://schemas.openxmlformats.org/officeDocument/2006/relationships/tags" Target="../tags/tag338.xml"/><Relationship Id="rId34" Type="http://schemas.openxmlformats.org/officeDocument/2006/relationships/tags" Target="../tags/tag35.xml"/><Relationship Id="rId76" Type="http://schemas.openxmlformats.org/officeDocument/2006/relationships/tags" Target="../tags/tag77.xml"/><Relationship Id="rId141" Type="http://schemas.openxmlformats.org/officeDocument/2006/relationships/tags" Target="../tags/tag142.xml"/><Relationship Id="rId379" Type="http://schemas.openxmlformats.org/officeDocument/2006/relationships/tags" Target="../tags/tag380.xml"/><Relationship Id="rId7" Type="http://schemas.openxmlformats.org/officeDocument/2006/relationships/tags" Target="../tags/tag8.xml"/><Relationship Id="rId183" Type="http://schemas.openxmlformats.org/officeDocument/2006/relationships/tags" Target="../tags/tag184.xml"/><Relationship Id="rId239" Type="http://schemas.openxmlformats.org/officeDocument/2006/relationships/tags" Target="../tags/tag240.xml"/><Relationship Id="rId250" Type="http://schemas.openxmlformats.org/officeDocument/2006/relationships/tags" Target="../tags/tag251.xml"/><Relationship Id="rId292" Type="http://schemas.openxmlformats.org/officeDocument/2006/relationships/tags" Target="../tags/tag293.xml"/><Relationship Id="rId306" Type="http://schemas.openxmlformats.org/officeDocument/2006/relationships/tags" Target="../tags/tag307.xml"/><Relationship Id="rId45" Type="http://schemas.openxmlformats.org/officeDocument/2006/relationships/tags" Target="../tags/tag46.xml"/><Relationship Id="rId87" Type="http://schemas.openxmlformats.org/officeDocument/2006/relationships/tags" Target="../tags/tag88.xml"/><Relationship Id="rId110" Type="http://schemas.openxmlformats.org/officeDocument/2006/relationships/tags" Target="../tags/tag111.xml"/><Relationship Id="rId348" Type="http://schemas.openxmlformats.org/officeDocument/2006/relationships/tags" Target="../tags/tag349.xml"/><Relationship Id="rId152" Type="http://schemas.openxmlformats.org/officeDocument/2006/relationships/tags" Target="../tags/tag153.xml"/><Relationship Id="rId194" Type="http://schemas.openxmlformats.org/officeDocument/2006/relationships/tags" Target="../tags/tag195.xml"/><Relationship Id="rId208" Type="http://schemas.openxmlformats.org/officeDocument/2006/relationships/tags" Target="../tags/tag209.xml"/><Relationship Id="rId261" Type="http://schemas.openxmlformats.org/officeDocument/2006/relationships/tags" Target="../tags/tag262.xml"/><Relationship Id="rId14" Type="http://schemas.openxmlformats.org/officeDocument/2006/relationships/tags" Target="../tags/tag15.xml"/><Relationship Id="rId56" Type="http://schemas.openxmlformats.org/officeDocument/2006/relationships/tags" Target="../tags/tag57.xml"/><Relationship Id="rId317" Type="http://schemas.openxmlformats.org/officeDocument/2006/relationships/tags" Target="../tags/tag318.xml"/><Relationship Id="rId359" Type="http://schemas.openxmlformats.org/officeDocument/2006/relationships/tags" Target="../tags/tag360.xml"/><Relationship Id="rId98" Type="http://schemas.openxmlformats.org/officeDocument/2006/relationships/tags" Target="../tags/tag99.xml"/><Relationship Id="rId121" Type="http://schemas.openxmlformats.org/officeDocument/2006/relationships/tags" Target="../tags/tag122.xml"/><Relationship Id="rId163" Type="http://schemas.openxmlformats.org/officeDocument/2006/relationships/tags" Target="../tags/tag164.xml"/><Relationship Id="rId219" Type="http://schemas.openxmlformats.org/officeDocument/2006/relationships/tags" Target="../tags/tag220.xml"/><Relationship Id="rId370" Type="http://schemas.openxmlformats.org/officeDocument/2006/relationships/tags" Target="../tags/tag371.xml"/><Relationship Id="rId230" Type="http://schemas.openxmlformats.org/officeDocument/2006/relationships/tags" Target="../tags/tag231.xml"/><Relationship Id="rId25" Type="http://schemas.openxmlformats.org/officeDocument/2006/relationships/tags" Target="../tags/tag26.xml"/><Relationship Id="rId67" Type="http://schemas.openxmlformats.org/officeDocument/2006/relationships/tags" Target="../tags/tag68.xml"/><Relationship Id="rId272" Type="http://schemas.openxmlformats.org/officeDocument/2006/relationships/tags" Target="../tags/tag273.xml"/><Relationship Id="rId328" Type="http://schemas.openxmlformats.org/officeDocument/2006/relationships/tags" Target="../tags/tag329.xml"/><Relationship Id="rId132" Type="http://schemas.openxmlformats.org/officeDocument/2006/relationships/tags" Target="../tags/tag133.xml"/><Relationship Id="rId174" Type="http://schemas.openxmlformats.org/officeDocument/2006/relationships/tags" Target="../tags/tag175.xml"/><Relationship Id="rId381" Type="http://schemas.openxmlformats.org/officeDocument/2006/relationships/tags" Target="../tags/tag382.xml"/><Relationship Id="rId241" Type="http://schemas.openxmlformats.org/officeDocument/2006/relationships/tags" Target="../tags/tag242.xml"/><Relationship Id="rId36" Type="http://schemas.openxmlformats.org/officeDocument/2006/relationships/tags" Target="../tags/tag37.xml"/><Relationship Id="rId283" Type="http://schemas.openxmlformats.org/officeDocument/2006/relationships/tags" Target="../tags/tag284.xml"/><Relationship Id="rId339" Type="http://schemas.openxmlformats.org/officeDocument/2006/relationships/tags" Target="../tags/tag340.xml"/><Relationship Id="rId78" Type="http://schemas.openxmlformats.org/officeDocument/2006/relationships/tags" Target="../tags/tag79.xml"/><Relationship Id="rId101" Type="http://schemas.openxmlformats.org/officeDocument/2006/relationships/tags" Target="../tags/tag102.xml"/><Relationship Id="rId143" Type="http://schemas.openxmlformats.org/officeDocument/2006/relationships/tags" Target="../tags/tag144.xml"/><Relationship Id="rId185" Type="http://schemas.openxmlformats.org/officeDocument/2006/relationships/tags" Target="../tags/tag186.xml"/><Relationship Id="rId350" Type="http://schemas.openxmlformats.org/officeDocument/2006/relationships/tags" Target="../tags/tag351.xml"/><Relationship Id="rId9" Type="http://schemas.openxmlformats.org/officeDocument/2006/relationships/tags" Target="../tags/tag10.xml"/><Relationship Id="rId210" Type="http://schemas.openxmlformats.org/officeDocument/2006/relationships/tags" Target="../tags/tag211.xml"/><Relationship Id="rId26" Type="http://schemas.openxmlformats.org/officeDocument/2006/relationships/tags" Target="../tags/tag27.xml"/><Relationship Id="rId231" Type="http://schemas.openxmlformats.org/officeDocument/2006/relationships/tags" Target="../tags/tag232.xml"/><Relationship Id="rId252" Type="http://schemas.openxmlformats.org/officeDocument/2006/relationships/tags" Target="../tags/tag253.xml"/><Relationship Id="rId273" Type="http://schemas.openxmlformats.org/officeDocument/2006/relationships/tags" Target="../tags/tag274.xml"/><Relationship Id="rId294" Type="http://schemas.openxmlformats.org/officeDocument/2006/relationships/tags" Target="../tags/tag295.xml"/><Relationship Id="rId308" Type="http://schemas.openxmlformats.org/officeDocument/2006/relationships/tags" Target="../tags/tag309.xml"/><Relationship Id="rId329" Type="http://schemas.openxmlformats.org/officeDocument/2006/relationships/tags" Target="../tags/tag330.xml"/><Relationship Id="rId47" Type="http://schemas.openxmlformats.org/officeDocument/2006/relationships/tags" Target="../tags/tag48.xml"/><Relationship Id="rId68" Type="http://schemas.openxmlformats.org/officeDocument/2006/relationships/tags" Target="../tags/tag69.xml"/><Relationship Id="rId89" Type="http://schemas.openxmlformats.org/officeDocument/2006/relationships/tags" Target="../tags/tag90.xml"/><Relationship Id="rId112" Type="http://schemas.openxmlformats.org/officeDocument/2006/relationships/tags" Target="../tags/tag113.xml"/><Relationship Id="rId133" Type="http://schemas.openxmlformats.org/officeDocument/2006/relationships/tags" Target="../tags/tag134.xml"/><Relationship Id="rId154" Type="http://schemas.openxmlformats.org/officeDocument/2006/relationships/tags" Target="../tags/tag155.xml"/><Relationship Id="rId175" Type="http://schemas.openxmlformats.org/officeDocument/2006/relationships/tags" Target="../tags/tag176.xml"/><Relationship Id="rId340" Type="http://schemas.openxmlformats.org/officeDocument/2006/relationships/tags" Target="../tags/tag341.xml"/><Relationship Id="rId361" Type="http://schemas.openxmlformats.org/officeDocument/2006/relationships/tags" Target="../tags/tag362.xml"/><Relationship Id="rId196" Type="http://schemas.openxmlformats.org/officeDocument/2006/relationships/tags" Target="../tags/tag197.xml"/><Relationship Id="rId200" Type="http://schemas.openxmlformats.org/officeDocument/2006/relationships/tags" Target="../tags/tag201.xml"/><Relationship Id="rId382" Type="http://schemas.openxmlformats.org/officeDocument/2006/relationships/slideLayout" Target="../slideLayouts/slideLayout13.xml"/><Relationship Id="rId16" Type="http://schemas.openxmlformats.org/officeDocument/2006/relationships/tags" Target="../tags/tag17.xml"/><Relationship Id="rId221" Type="http://schemas.openxmlformats.org/officeDocument/2006/relationships/tags" Target="../tags/tag222.xml"/><Relationship Id="rId242" Type="http://schemas.openxmlformats.org/officeDocument/2006/relationships/tags" Target="../tags/tag243.xml"/><Relationship Id="rId263" Type="http://schemas.openxmlformats.org/officeDocument/2006/relationships/tags" Target="../tags/tag264.xml"/><Relationship Id="rId284" Type="http://schemas.openxmlformats.org/officeDocument/2006/relationships/tags" Target="../tags/tag285.xml"/><Relationship Id="rId319" Type="http://schemas.openxmlformats.org/officeDocument/2006/relationships/tags" Target="../tags/tag320.xml"/><Relationship Id="rId37" Type="http://schemas.openxmlformats.org/officeDocument/2006/relationships/tags" Target="../tags/tag38.xml"/><Relationship Id="rId58" Type="http://schemas.openxmlformats.org/officeDocument/2006/relationships/tags" Target="../tags/tag59.xml"/><Relationship Id="rId79" Type="http://schemas.openxmlformats.org/officeDocument/2006/relationships/tags" Target="../tags/tag80.xml"/><Relationship Id="rId102" Type="http://schemas.openxmlformats.org/officeDocument/2006/relationships/tags" Target="../tags/tag103.xml"/><Relationship Id="rId123" Type="http://schemas.openxmlformats.org/officeDocument/2006/relationships/tags" Target="../tags/tag124.xml"/><Relationship Id="rId144" Type="http://schemas.openxmlformats.org/officeDocument/2006/relationships/tags" Target="../tags/tag145.xml"/><Relationship Id="rId330" Type="http://schemas.openxmlformats.org/officeDocument/2006/relationships/tags" Target="../tags/tag331.xml"/><Relationship Id="rId90" Type="http://schemas.openxmlformats.org/officeDocument/2006/relationships/tags" Target="../tags/tag91.xml"/><Relationship Id="rId165" Type="http://schemas.openxmlformats.org/officeDocument/2006/relationships/tags" Target="../tags/tag166.xml"/><Relationship Id="rId186" Type="http://schemas.openxmlformats.org/officeDocument/2006/relationships/tags" Target="../tags/tag187.xml"/><Relationship Id="rId351" Type="http://schemas.openxmlformats.org/officeDocument/2006/relationships/tags" Target="../tags/tag352.xml"/><Relationship Id="rId372" Type="http://schemas.openxmlformats.org/officeDocument/2006/relationships/tags" Target="../tags/tag373.xml"/><Relationship Id="rId211" Type="http://schemas.openxmlformats.org/officeDocument/2006/relationships/tags" Target="../tags/tag212.xml"/><Relationship Id="rId232" Type="http://schemas.openxmlformats.org/officeDocument/2006/relationships/tags" Target="../tags/tag233.xml"/><Relationship Id="rId253" Type="http://schemas.openxmlformats.org/officeDocument/2006/relationships/tags" Target="../tags/tag254.xml"/><Relationship Id="rId274" Type="http://schemas.openxmlformats.org/officeDocument/2006/relationships/tags" Target="../tags/tag275.xml"/><Relationship Id="rId295" Type="http://schemas.openxmlformats.org/officeDocument/2006/relationships/tags" Target="../tags/tag296.xml"/><Relationship Id="rId309" Type="http://schemas.openxmlformats.org/officeDocument/2006/relationships/tags" Target="../tags/tag310.xml"/><Relationship Id="rId27" Type="http://schemas.openxmlformats.org/officeDocument/2006/relationships/tags" Target="../tags/tag28.xml"/><Relationship Id="rId48" Type="http://schemas.openxmlformats.org/officeDocument/2006/relationships/tags" Target="../tags/tag49.xml"/><Relationship Id="rId69" Type="http://schemas.openxmlformats.org/officeDocument/2006/relationships/tags" Target="../tags/tag70.xml"/><Relationship Id="rId113" Type="http://schemas.openxmlformats.org/officeDocument/2006/relationships/tags" Target="../tags/tag114.xml"/><Relationship Id="rId134" Type="http://schemas.openxmlformats.org/officeDocument/2006/relationships/tags" Target="../tags/tag135.xml"/><Relationship Id="rId320" Type="http://schemas.openxmlformats.org/officeDocument/2006/relationships/tags" Target="../tags/tag321.xml"/><Relationship Id="rId80" Type="http://schemas.openxmlformats.org/officeDocument/2006/relationships/tags" Target="../tags/tag81.xml"/><Relationship Id="rId155" Type="http://schemas.openxmlformats.org/officeDocument/2006/relationships/tags" Target="../tags/tag156.xml"/><Relationship Id="rId176" Type="http://schemas.openxmlformats.org/officeDocument/2006/relationships/tags" Target="../tags/tag177.xml"/><Relationship Id="rId197" Type="http://schemas.openxmlformats.org/officeDocument/2006/relationships/tags" Target="../tags/tag198.xml"/><Relationship Id="rId341" Type="http://schemas.openxmlformats.org/officeDocument/2006/relationships/tags" Target="../tags/tag342.xml"/><Relationship Id="rId362" Type="http://schemas.openxmlformats.org/officeDocument/2006/relationships/tags" Target="../tags/tag363.xml"/><Relationship Id="rId201" Type="http://schemas.openxmlformats.org/officeDocument/2006/relationships/tags" Target="../tags/tag202.xml"/><Relationship Id="rId222" Type="http://schemas.openxmlformats.org/officeDocument/2006/relationships/tags" Target="../tags/tag223.xml"/><Relationship Id="rId243" Type="http://schemas.openxmlformats.org/officeDocument/2006/relationships/tags" Target="../tags/tag244.xml"/><Relationship Id="rId264" Type="http://schemas.openxmlformats.org/officeDocument/2006/relationships/tags" Target="../tags/tag265.xml"/><Relationship Id="rId285" Type="http://schemas.openxmlformats.org/officeDocument/2006/relationships/tags" Target="../tags/tag286.xml"/><Relationship Id="rId17" Type="http://schemas.openxmlformats.org/officeDocument/2006/relationships/tags" Target="../tags/tag18.xml"/><Relationship Id="rId38" Type="http://schemas.openxmlformats.org/officeDocument/2006/relationships/tags" Target="../tags/tag39.xml"/><Relationship Id="rId59" Type="http://schemas.openxmlformats.org/officeDocument/2006/relationships/tags" Target="../tags/tag60.xml"/><Relationship Id="rId103" Type="http://schemas.openxmlformats.org/officeDocument/2006/relationships/tags" Target="../tags/tag104.xml"/><Relationship Id="rId124" Type="http://schemas.openxmlformats.org/officeDocument/2006/relationships/tags" Target="../tags/tag125.xml"/><Relationship Id="rId310" Type="http://schemas.openxmlformats.org/officeDocument/2006/relationships/tags" Target="../tags/tag311.xml"/><Relationship Id="rId70" Type="http://schemas.openxmlformats.org/officeDocument/2006/relationships/tags" Target="../tags/tag71.xml"/><Relationship Id="rId91" Type="http://schemas.openxmlformats.org/officeDocument/2006/relationships/tags" Target="../tags/tag92.xml"/><Relationship Id="rId145" Type="http://schemas.openxmlformats.org/officeDocument/2006/relationships/tags" Target="../tags/tag146.xml"/><Relationship Id="rId166" Type="http://schemas.openxmlformats.org/officeDocument/2006/relationships/tags" Target="../tags/tag167.xml"/><Relationship Id="rId187" Type="http://schemas.openxmlformats.org/officeDocument/2006/relationships/tags" Target="../tags/tag188.xml"/><Relationship Id="rId331" Type="http://schemas.openxmlformats.org/officeDocument/2006/relationships/tags" Target="../tags/tag332.xml"/><Relationship Id="rId352" Type="http://schemas.openxmlformats.org/officeDocument/2006/relationships/tags" Target="../tags/tag353.xml"/><Relationship Id="rId373" Type="http://schemas.openxmlformats.org/officeDocument/2006/relationships/tags" Target="../tags/tag374.xml"/><Relationship Id="rId1" Type="http://schemas.openxmlformats.org/officeDocument/2006/relationships/tags" Target="../tags/tag2.xml"/><Relationship Id="rId212" Type="http://schemas.openxmlformats.org/officeDocument/2006/relationships/tags" Target="../tags/tag213.xml"/><Relationship Id="rId233" Type="http://schemas.openxmlformats.org/officeDocument/2006/relationships/tags" Target="../tags/tag234.xml"/><Relationship Id="rId254" Type="http://schemas.openxmlformats.org/officeDocument/2006/relationships/tags" Target="../tags/tag255.xml"/><Relationship Id="rId28" Type="http://schemas.openxmlformats.org/officeDocument/2006/relationships/tags" Target="../tags/tag29.xml"/><Relationship Id="rId49" Type="http://schemas.openxmlformats.org/officeDocument/2006/relationships/tags" Target="../tags/tag50.xml"/><Relationship Id="rId114" Type="http://schemas.openxmlformats.org/officeDocument/2006/relationships/tags" Target="../tags/tag115.xml"/><Relationship Id="rId275" Type="http://schemas.openxmlformats.org/officeDocument/2006/relationships/tags" Target="../tags/tag276.xml"/><Relationship Id="rId296" Type="http://schemas.openxmlformats.org/officeDocument/2006/relationships/tags" Target="../tags/tag297.xml"/><Relationship Id="rId300" Type="http://schemas.openxmlformats.org/officeDocument/2006/relationships/tags" Target="../tags/tag301.xml"/><Relationship Id="rId60" Type="http://schemas.openxmlformats.org/officeDocument/2006/relationships/tags" Target="../tags/tag61.xml"/><Relationship Id="rId81" Type="http://schemas.openxmlformats.org/officeDocument/2006/relationships/tags" Target="../tags/tag82.xml"/><Relationship Id="rId135" Type="http://schemas.openxmlformats.org/officeDocument/2006/relationships/tags" Target="../tags/tag136.xml"/><Relationship Id="rId156" Type="http://schemas.openxmlformats.org/officeDocument/2006/relationships/tags" Target="../tags/tag157.xml"/><Relationship Id="rId177" Type="http://schemas.openxmlformats.org/officeDocument/2006/relationships/tags" Target="../tags/tag178.xml"/><Relationship Id="rId198" Type="http://schemas.openxmlformats.org/officeDocument/2006/relationships/tags" Target="../tags/tag199.xml"/><Relationship Id="rId321" Type="http://schemas.openxmlformats.org/officeDocument/2006/relationships/tags" Target="../tags/tag322.xml"/><Relationship Id="rId342" Type="http://schemas.openxmlformats.org/officeDocument/2006/relationships/tags" Target="../tags/tag343.xml"/><Relationship Id="rId363" Type="http://schemas.openxmlformats.org/officeDocument/2006/relationships/tags" Target="../tags/tag364.xml"/><Relationship Id="rId202" Type="http://schemas.openxmlformats.org/officeDocument/2006/relationships/tags" Target="../tags/tag203.xml"/><Relationship Id="rId223" Type="http://schemas.openxmlformats.org/officeDocument/2006/relationships/tags" Target="../tags/tag224.xml"/><Relationship Id="rId244" Type="http://schemas.openxmlformats.org/officeDocument/2006/relationships/tags" Target="../tags/tag245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265" Type="http://schemas.openxmlformats.org/officeDocument/2006/relationships/tags" Target="../tags/tag266.xml"/><Relationship Id="rId286" Type="http://schemas.openxmlformats.org/officeDocument/2006/relationships/tags" Target="../tags/tag287.xml"/><Relationship Id="rId50" Type="http://schemas.openxmlformats.org/officeDocument/2006/relationships/tags" Target="../tags/tag51.xml"/><Relationship Id="rId104" Type="http://schemas.openxmlformats.org/officeDocument/2006/relationships/tags" Target="../tags/tag105.xml"/><Relationship Id="rId125" Type="http://schemas.openxmlformats.org/officeDocument/2006/relationships/tags" Target="../tags/tag126.xml"/><Relationship Id="rId146" Type="http://schemas.openxmlformats.org/officeDocument/2006/relationships/tags" Target="../tags/tag147.xml"/><Relationship Id="rId167" Type="http://schemas.openxmlformats.org/officeDocument/2006/relationships/tags" Target="../tags/tag168.xml"/><Relationship Id="rId188" Type="http://schemas.openxmlformats.org/officeDocument/2006/relationships/tags" Target="../tags/tag189.xml"/><Relationship Id="rId311" Type="http://schemas.openxmlformats.org/officeDocument/2006/relationships/tags" Target="../tags/tag312.xml"/><Relationship Id="rId332" Type="http://schemas.openxmlformats.org/officeDocument/2006/relationships/tags" Target="../tags/tag333.xml"/><Relationship Id="rId353" Type="http://schemas.openxmlformats.org/officeDocument/2006/relationships/tags" Target="../tags/tag354.xml"/><Relationship Id="rId374" Type="http://schemas.openxmlformats.org/officeDocument/2006/relationships/tags" Target="../tags/tag375.xml"/><Relationship Id="rId71" Type="http://schemas.openxmlformats.org/officeDocument/2006/relationships/tags" Target="../tags/tag72.xml"/><Relationship Id="rId92" Type="http://schemas.openxmlformats.org/officeDocument/2006/relationships/tags" Target="../tags/tag93.xml"/><Relationship Id="rId213" Type="http://schemas.openxmlformats.org/officeDocument/2006/relationships/tags" Target="../tags/tag214.xml"/><Relationship Id="rId234" Type="http://schemas.openxmlformats.org/officeDocument/2006/relationships/tags" Target="../tags/tag235.xml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55" Type="http://schemas.openxmlformats.org/officeDocument/2006/relationships/tags" Target="../tags/tag256.xml"/><Relationship Id="rId276" Type="http://schemas.openxmlformats.org/officeDocument/2006/relationships/tags" Target="../tags/tag277.xml"/><Relationship Id="rId297" Type="http://schemas.openxmlformats.org/officeDocument/2006/relationships/tags" Target="../tags/tag298.xml"/><Relationship Id="rId40" Type="http://schemas.openxmlformats.org/officeDocument/2006/relationships/tags" Target="../tags/tag41.xml"/><Relationship Id="rId115" Type="http://schemas.openxmlformats.org/officeDocument/2006/relationships/tags" Target="../tags/tag116.xml"/><Relationship Id="rId136" Type="http://schemas.openxmlformats.org/officeDocument/2006/relationships/tags" Target="../tags/tag137.xml"/><Relationship Id="rId157" Type="http://schemas.openxmlformats.org/officeDocument/2006/relationships/tags" Target="../tags/tag158.xml"/><Relationship Id="rId178" Type="http://schemas.openxmlformats.org/officeDocument/2006/relationships/tags" Target="../tags/tag179.xml"/><Relationship Id="rId301" Type="http://schemas.openxmlformats.org/officeDocument/2006/relationships/tags" Target="../tags/tag302.xml"/><Relationship Id="rId322" Type="http://schemas.openxmlformats.org/officeDocument/2006/relationships/tags" Target="../tags/tag323.xml"/><Relationship Id="rId343" Type="http://schemas.openxmlformats.org/officeDocument/2006/relationships/tags" Target="../tags/tag344.xml"/><Relationship Id="rId364" Type="http://schemas.openxmlformats.org/officeDocument/2006/relationships/tags" Target="../tags/tag365.xml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99" Type="http://schemas.openxmlformats.org/officeDocument/2006/relationships/tags" Target="../tags/tag200.xml"/><Relationship Id="rId203" Type="http://schemas.openxmlformats.org/officeDocument/2006/relationships/tags" Target="../tags/tag204.xml"/><Relationship Id="rId19" Type="http://schemas.openxmlformats.org/officeDocument/2006/relationships/tags" Target="../tags/tag20.xml"/><Relationship Id="rId224" Type="http://schemas.openxmlformats.org/officeDocument/2006/relationships/tags" Target="../tags/tag225.xml"/><Relationship Id="rId245" Type="http://schemas.openxmlformats.org/officeDocument/2006/relationships/tags" Target="../tags/tag246.xml"/><Relationship Id="rId266" Type="http://schemas.openxmlformats.org/officeDocument/2006/relationships/tags" Target="../tags/tag267.xml"/><Relationship Id="rId287" Type="http://schemas.openxmlformats.org/officeDocument/2006/relationships/tags" Target="../tags/tag288.xml"/><Relationship Id="rId30" Type="http://schemas.openxmlformats.org/officeDocument/2006/relationships/tags" Target="../tags/tag31.xml"/><Relationship Id="rId105" Type="http://schemas.openxmlformats.org/officeDocument/2006/relationships/tags" Target="../tags/tag106.xml"/><Relationship Id="rId126" Type="http://schemas.openxmlformats.org/officeDocument/2006/relationships/tags" Target="../tags/tag127.xml"/><Relationship Id="rId147" Type="http://schemas.openxmlformats.org/officeDocument/2006/relationships/tags" Target="../tags/tag148.xml"/><Relationship Id="rId168" Type="http://schemas.openxmlformats.org/officeDocument/2006/relationships/tags" Target="../tags/tag169.xml"/><Relationship Id="rId312" Type="http://schemas.openxmlformats.org/officeDocument/2006/relationships/tags" Target="../tags/tag313.xml"/><Relationship Id="rId333" Type="http://schemas.openxmlformats.org/officeDocument/2006/relationships/tags" Target="../tags/tag334.xml"/><Relationship Id="rId354" Type="http://schemas.openxmlformats.org/officeDocument/2006/relationships/tags" Target="../tags/tag355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tags" Target="../tags/tag94.xml"/><Relationship Id="rId189" Type="http://schemas.openxmlformats.org/officeDocument/2006/relationships/tags" Target="../tags/tag190.xml"/><Relationship Id="rId375" Type="http://schemas.openxmlformats.org/officeDocument/2006/relationships/tags" Target="../tags/tag376.xml"/><Relationship Id="rId3" Type="http://schemas.openxmlformats.org/officeDocument/2006/relationships/tags" Target="../tags/tag4.xml"/><Relationship Id="rId214" Type="http://schemas.openxmlformats.org/officeDocument/2006/relationships/tags" Target="../tags/tag215.xml"/><Relationship Id="rId235" Type="http://schemas.openxmlformats.org/officeDocument/2006/relationships/tags" Target="../tags/tag236.xml"/><Relationship Id="rId256" Type="http://schemas.openxmlformats.org/officeDocument/2006/relationships/tags" Target="../tags/tag257.xml"/><Relationship Id="rId277" Type="http://schemas.openxmlformats.org/officeDocument/2006/relationships/tags" Target="../tags/tag278.xml"/><Relationship Id="rId298" Type="http://schemas.openxmlformats.org/officeDocument/2006/relationships/tags" Target="../tags/tag299.xml"/><Relationship Id="rId116" Type="http://schemas.openxmlformats.org/officeDocument/2006/relationships/tags" Target="../tags/tag117.xml"/><Relationship Id="rId137" Type="http://schemas.openxmlformats.org/officeDocument/2006/relationships/tags" Target="../tags/tag138.xml"/><Relationship Id="rId158" Type="http://schemas.openxmlformats.org/officeDocument/2006/relationships/tags" Target="../tags/tag159.xml"/><Relationship Id="rId302" Type="http://schemas.openxmlformats.org/officeDocument/2006/relationships/tags" Target="../tags/tag303.xml"/><Relationship Id="rId323" Type="http://schemas.openxmlformats.org/officeDocument/2006/relationships/tags" Target="../tags/tag324.xml"/><Relationship Id="rId344" Type="http://schemas.openxmlformats.org/officeDocument/2006/relationships/tags" Target="../tags/tag345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62" Type="http://schemas.openxmlformats.org/officeDocument/2006/relationships/tags" Target="../tags/tag63.xml"/><Relationship Id="rId83" Type="http://schemas.openxmlformats.org/officeDocument/2006/relationships/tags" Target="../tags/tag84.xml"/><Relationship Id="rId179" Type="http://schemas.openxmlformats.org/officeDocument/2006/relationships/tags" Target="../tags/tag180.xml"/><Relationship Id="rId365" Type="http://schemas.openxmlformats.org/officeDocument/2006/relationships/tags" Target="../tags/tag366.xml"/><Relationship Id="rId190" Type="http://schemas.openxmlformats.org/officeDocument/2006/relationships/tags" Target="../tags/tag191.xml"/><Relationship Id="rId204" Type="http://schemas.openxmlformats.org/officeDocument/2006/relationships/tags" Target="../tags/tag205.xml"/><Relationship Id="rId225" Type="http://schemas.openxmlformats.org/officeDocument/2006/relationships/tags" Target="../tags/tag226.xml"/><Relationship Id="rId246" Type="http://schemas.openxmlformats.org/officeDocument/2006/relationships/tags" Target="../tags/tag247.xml"/><Relationship Id="rId267" Type="http://schemas.openxmlformats.org/officeDocument/2006/relationships/tags" Target="../tags/tag268.xml"/><Relationship Id="rId288" Type="http://schemas.openxmlformats.org/officeDocument/2006/relationships/tags" Target="../tags/tag289.xml"/><Relationship Id="rId106" Type="http://schemas.openxmlformats.org/officeDocument/2006/relationships/tags" Target="../tags/tag107.xml"/><Relationship Id="rId127" Type="http://schemas.openxmlformats.org/officeDocument/2006/relationships/tags" Target="../tags/tag128.xml"/><Relationship Id="rId313" Type="http://schemas.openxmlformats.org/officeDocument/2006/relationships/tags" Target="../tags/tag314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52" Type="http://schemas.openxmlformats.org/officeDocument/2006/relationships/tags" Target="../tags/tag53.xml"/><Relationship Id="rId73" Type="http://schemas.openxmlformats.org/officeDocument/2006/relationships/tags" Target="../tags/tag74.xml"/><Relationship Id="rId94" Type="http://schemas.openxmlformats.org/officeDocument/2006/relationships/tags" Target="../tags/tag95.xml"/><Relationship Id="rId148" Type="http://schemas.openxmlformats.org/officeDocument/2006/relationships/tags" Target="../tags/tag149.xml"/><Relationship Id="rId169" Type="http://schemas.openxmlformats.org/officeDocument/2006/relationships/tags" Target="../tags/tag170.xml"/><Relationship Id="rId334" Type="http://schemas.openxmlformats.org/officeDocument/2006/relationships/tags" Target="../tags/tag335.xml"/><Relationship Id="rId355" Type="http://schemas.openxmlformats.org/officeDocument/2006/relationships/tags" Target="../tags/tag356.xml"/><Relationship Id="rId376" Type="http://schemas.openxmlformats.org/officeDocument/2006/relationships/tags" Target="../tags/tag377.xml"/><Relationship Id="rId4" Type="http://schemas.openxmlformats.org/officeDocument/2006/relationships/tags" Target="../tags/tag5.xml"/><Relationship Id="rId180" Type="http://schemas.openxmlformats.org/officeDocument/2006/relationships/tags" Target="../tags/tag181.xml"/><Relationship Id="rId215" Type="http://schemas.openxmlformats.org/officeDocument/2006/relationships/tags" Target="../tags/tag216.xml"/><Relationship Id="rId236" Type="http://schemas.openxmlformats.org/officeDocument/2006/relationships/tags" Target="../tags/tag237.xml"/><Relationship Id="rId257" Type="http://schemas.openxmlformats.org/officeDocument/2006/relationships/tags" Target="../tags/tag258.xml"/><Relationship Id="rId278" Type="http://schemas.openxmlformats.org/officeDocument/2006/relationships/tags" Target="../tags/tag279.xml"/><Relationship Id="rId303" Type="http://schemas.openxmlformats.org/officeDocument/2006/relationships/tags" Target="../tags/tag304.xml"/><Relationship Id="rId42" Type="http://schemas.openxmlformats.org/officeDocument/2006/relationships/tags" Target="../tags/tag43.xml"/><Relationship Id="rId84" Type="http://schemas.openxmlformats.org/officeDocument/2006/relationships/tags" Target="../tags/tag85.xml"/><Relationship Id="rId138" Type="http://schemas.openxmlformats.org/officeDocument/2006/relationships/tags" Target="../tags/tag139.xml"/><Relationship Id="rId345" Type="http://schemas.openxmlformats.org/officeDocument/2006/relationships/tags" Target="../tags/tag346.xml"/><Relationship Id="rId191" Type="http://schemas.openxmlformats.org/officeDocument/2006/relationships/tags" Target="../tags/tag192.xml"/><Relationship Id="rId205" Type="http://schemas.openxmlformats.org/officeDocument/2006/relationships/tags" Target="../tags/tag206.xml"/><Relationship Id="rId247" Type="http://schemas.openxmlformats.org/officeDocument/2006/relationships/tags" Target="../tags/tag248.xml"/><Relationship Id="rId107" Type="http://schemas.openxmlformats.org/officeDocument/2006/relationships/tags" Target="../tags/tag108.xml"/><Relationship Id="rId289" Type="http://schemas.openxmlformats.org/officeDocument/2006/relationships/tags" Target="../tags/tag290.xml"/><Relationship Id="rId11" Type="http://schemas.openxmlformats.org/officeDocument/2006/relationships/tags" Target="../tags/tag12.xml"/><Relationship Id="rId53" Type="http://schemas.openxmlformats.org/officeDocument/2006/relationships/tags" Target="../tags/tag54.xml"/><Relationship Id="rId149" Type="http://schemas.openxmlformats.org/officeDocument/2006/relationships/tags" Target="../tags/tag150.xml"/><Relationship Id="rId314" Type="http://schemas.openxmlformats.org/officeDocument/2006/relationships/tags" Target="../tags/tag315.xml"/><Relationship Id="rId356" Type="http://schemas.openxmlformats.org/officeDocument/2006/relationships/tags" Target="../tags/tag357.xml"/><Relationship Id="rId95" Type="http://schemas.openxmlformats.org/officeDocument/2006/relationships/tags" Target="../tags/tag96.xml"/><Relationship Id="rId160" Type="http://schemas.openxmlformats.org/officeDocument/2006/relationships/tags" Target="../tags/tag161.xml"/><Relationship Id="rId216" Type="http://schemas.openxmlformats.org/officeDocument/2006/relationships/tags" Target="../tags/tag217.xml"/><Relationship Id="rId258" Type="http://schemas.openxmlformats.org/officeDocument/2006/relationships/tags" Target="../tags/tag259.xml"/><Relationship Id="rId22" Type="http://schemas.openxmlformats.org/officeDocument/2006/relationships/tags" Target="../tags/tag23.xml"/><Relationship Id="rId64" Type="http://schemas.openxmlformats.org/officeDocument/2006/relationships/tags" Target="../tags/tag65.xml"/><Relationship Id="rId118" Type="http://schemas.openxmlformats.org/officeDocument/2006/relationships/tags" Target="../tags/tag119.xml"/><Relationship Id="rId325" Type="http://schemas.openxmlformats.org/officeDocument/2006/relationships/tags" Target="../tags/tag326.xml"/><Relationship Id="rId367" Type="http://schemas.openxmlformats.org/officeDocument/2006/relationships/tags" Target="../tags/tag368.xml"/><Relationship Id="rId171" Type="http://schemas.openxmlformats.org/officeDocument/2006/relationships/tags" Target="../tags/tag172.xml"/><Relationship Id="rId227" Type="http://schemas.openxmlformats.org/officeDocument/2006/relationships/tags" Target="../tags/tag228.xml"/><Relationship Id="rId269" Type="http://schemas.openxmlformats.org/officeDocument/2006/relationships/tags" Target="../tags/tag270.xml"/><Relationship Id="rId33" Type="http://schemas.openxmlformats.org/officeDocument/2006/relationships/tags" Target="../tags/tag34.xml"/><Relationship Id="rId129" Type="http://schemas.openxmlformats.org/officeDocument/2006/relationships/tags" Target="../tags/tag130.xml"/><Relationship Id="rId280" Type="http://schemas.openxmlformats.org/officeDocument/2006/relationships/tags" Target="../tags/tag281.xml"/><Relationship Id="rId336" Type="http://schemas.openxmlformats.org/officeDocument/2006/relationships/tags" Target="../tags/tag337.xml"/><Relationship Id="rId75" Type="http://schemas.openxmlformats.org/officeDocument/2006/relationships/tags" Target="../tags/tag76.xml"/><Relationship Id="rId140" Type="http://schemas.openxmlformats.org/officeDocument/2006/relationships/tags" Target="../tags/tag141.xml"/><Relationship Id="rId182" Type="http://schemas.openxmlformats.org/officeDocument/2006/relationships/tags" Target="../tags/tag183.xml"/><Relationship Id="rId378" Type="http://schemas.openxmlformats.org/officeDocument/2006/relationships/tags" Target="../tags/tag379.xml"/><Relationship Id="rId6" Type="http://schemas.openxmlformats.org/officeDocument/2006/relationships/tags" Target="../tags/tag7.xml"/><Relationship Id="rId238" Type="http://schemas.openxmlformats.org/officeDocument/2006/relationships/tags" Target="../tags/tag239.xml"/><Relationship Id="rId291" Type="http://schemas.openxmlformats.org/officeDocument/2006/relationships/tags" Target="../tags/tag292.xml"/><Relationship Id="rId305" Type="http://schemas.openxmlformats.org/officeDocument/2006/relationships/tags" Target="../tags/tag306.xml"/><Relationship Id="rId347" Type="http://schemas.openxmlformats.org/officeDocument/2006/relationships/tags" Target="../tags/tag348.xml"/><Relationship Id="rId44" Type="http://schemas.openxmlformats.org/officeDocument/2006/relationships/tags" Target="../tags/tag45.xml"/><Relationship Id="rId86" Type="http://schemas.openxmlformats.org/officeDocument/2006/relationships/tags" Target="../tags/tag87.xml"/><Relationship Id="rId151" Type="http://schemas.openxmlformats.org/officeDocument/2006/relationships/tags" Target="../tags/tag152.xml"/><Relationship Id="rId193" Type="http://schemas.openxmlformats.org/officeDocument/2006/relationships/tags" Target="../tags/tag194.xml"/><Relationship Id="rId207" Type="http://schemas.openxmlformats.org/officeDocument/2006/relationships/tags" Target="../tags/tag208.xml"/><Relationship Id="rId249" Type="http://schemas.openxmlformats.org/officeDocument/2006/relationships/tags" Target="../tags/tag250.xml"/><Relationship Id="rId13" Type="http://schemas.openxmlformats.org/officeDocument/2006/relationships/tags" Target="../tags/tag14.xml"/><Relationship Id="rId109" Type="http://schemas.openxmlformats.org/officeDocument/2006/relationships/tags" Target="../tags/tag110.xml"/><Relationship Id="rId260" Type="http://schemas.openxmlformats.org/officeDocument/2006/relationships/tags" Target="../tags/tag261.xml"/><Relationship Id="rId316" Type="http://schemas.openxmlformats.org/officeDocument/2006/relationships/tags" Target="../tags/tag317.xml"/><Relationship Id="rId55" Type="http://schemas.openxmlformats.org/officeDocument/2006/relationships/tags" Target="../tags/tag56.xml"/><Relationship Id="rId97" Type="http://schemas.openxmlformats.org/officeDocument/2006/relationships/tags" Target="../tags/tag98.xml"/><Relationship Id="rId120" Type="http://schemas.openxmlformats.org/officeDocument/2006/relationships/tags" Target="../tags/tag121.xml"/><Relationship Id="rId358" Type="http://schemas.openxmlformats.org/officeDocument/2006/relationships/tags" Target="../tags/tag359.xml"/><Relationship Id="rId162" Type="http://schemas.openxmlformats.org/officeDocument/2006/relationships/tags" Target="../tags/tag163.xml"/><Relationship Id="rId218" Type="http://schemas.openxmlformats.org/officeDocument/2006/relationships/tags" Target="../tags/tag219.xml"/><Relationship Id="rId271" Type="http://schemas.openxmlformats.org/officeDocument/2006/relationships/tags" Target="../tags/tag272.xml"/><Relationship Id="rId24" Type="http://schemas.openxmlformats.org/officeDocument/2006/relationships/tags" Target="../tags/tag25.xml"/><Relationship Id="rId66" Type="http://schemas.openxmlformats.org/officeDocument/2006/relationships/tags" Target="../tags/tag67.xml"/><Relationship Id="rId131" Type="http://schemas.openxmlformats.org/officeDocument/2006/relationships/tags" Target="../tags/tag132.xml"/><Relationship Id="rId327" Type="http://schemas.openxmlformats.org/officeDocument/2006/relationships/tags" Target="../tags/tag328.xml"/><Relationship Id="rId369" Type="http://schemas.openxmlformats.org/officeDocument/2006/relationships/tags" Target="../tags/tag370.xml"/><Relationship Id="rId173" Type="http://schemas.openxmlformats.org/officeDocument/2006/relationships/tags" Target="../tags/tag174.xml"/><Relationship Id="rId229" Type="http://schemas.openxmlformats.org/officeDocument/2006/relationships/tags" Target="../tags/tag230.xml"/><Relationship Id="rId380" Type="http://schemas.openxmlformats.org/officeDocument/2006/relationships/tags" Target="../tags/tag381.xml"/><Relationship Id="rId240" Type="http://schemas.openxmlformats.org/officeDocument/2006/relationships/tags" Target="../tags/tag241.xml"/><Relationship Id="rId35" Type="http://schemas.openxmlformats.org/officeDocument/2006/relationships/tags" Target="../tags/tag36.xml"/><Relationship Id="rId77" Type="http://schemas.openxmlformats.org/officeDocument/2006/relationships/tags" Target="../tags/tag78.xml"/><Relationship Id="rId100" Type="http://schemas.openxmlformats.org/officeDocument/2006/relationships/tags" Target="../tags/tag101.xml"/><Relationship Id="rId282" Type="http://schemas.openxmlformats.org/officeDocument/2006/relationships/tags" Target="../tags/tag283.xml"/><Relationship Id="rId338" Type="http://schemas.openxmlformats.org/officeDocument/2006/relationships/tags" Target="../tags/tag339.xml"/><Relationship Id="rId8" Type="http://schemas.openxmlformats.org/officeDocument/2006/relationships/tags" Target="../tags/tag9.xml"/><Relationship Id="rId142" Type="http://schemas.openxmlformats.org/officeDocument/2006/relationships/tags" Target="../tags/tag143.xml"/><Relationship Id="rId184" Type="http://schemas.openxmlformats.org/officeDocument/2006/relationships/tags" Target="../tags/tag185.xml"/><Relationship Id="rId251" Type="http://schemas.openxmlformats.org/officeDocument/2006/relationships/tags" Target="../tags/tag252.xml"/><Relationship Id="rId46" Type="http://schemas.openxmlformats.org/officeDocument/2006/relationships/tags" Target="../tags/tag47.xml"/><Relationship Id="rId293" Type="http://schemas.openxmlformats.org/officeDocument/2006/relationships/tags" Target="../tags/tag294.xml"/><Relationship Id="rId307" Type="http://schemas.openxmlformats.org/officeDocument/2006/relationships/tags" Target="../tags/tag308.xml"/><Relationship Id="rId349" Type="http://schemas.openxmlformats.org/officeDocument/2006/relationships/tags" Target="../tags/tag350.xml"/><Relationship Id="rId88" Type="http://schemas.openxmlformats.org/officeDocument/2006/relationships/tags" Target="../tags/tag89.xml"/><Relationship Id="rId111" Type="http://schemas.openxmlformats.org/officeDocument/2006/relationships/tags" Target="../tags/tag112.xml"/><Relationship Id="rId153" Type="http://schemas.openxmlformats.org/officeDocument/2006/relationships/tags" Target="../tags/tag154.xml"/><Relationship Id="rId195" Type="http://schemas.openxmlformats.org/officeDocument/2006/relationships/tags" Target="../tags/tag196.xml"/><Relationship Id="rId209" Type="http://schemas.openxmlformats.org/officeDocument/2006/relationships/tags" Target="../tags/tag210.xml"/><Relationship Id="rId360" Type="http://schemas.openxmlformats.org/officeDocument/2006/relationships/tags" Target="../tags/tag361.xml"/><Relationship Id="rId220" Type="http://schemas.openxmlformats.org/officeDocument/2006/relationships/tags" Target="../tags/tag221.xml"/><Relationship Id="rId15" Type="http://schemas.openxmlformats.org/officeDocument/2006/relationships/tags" Target="../tags/tag16.xml"/><Relationship Id="rId57" Type="http://schemas.openxmlformats.org/officeDocument/2006/relationships/tags" Target="../tags/tag58.xml"/><Relationship Id="rId262" Type="http://schemas.openxmlformats.org/officeDocument/2006/relationships/tags" Target="../tags/tag263.xml"/><Relationship Id="rId318" Type="http://schemas.openxmlformats.org/officeDocument/2006/relationships/tags" Target="../tags/tag319.xml"/><Relationship Id="rId99" Type="http://schemas.openxmlformats.org/officeDocument/2006/relationships/tags" Target="../tags/tag100.xml"/><Relationship Id="rId122" Type="http://schemas.openxmlformats.org/officeDocument/2006/relationships/tags" Target="../tags/tag123.xml"/><Relationship Id="rId164" Type="http://schemas.openxmlformats.org/officeDocument/2006/relationships/tags" Target="../tags/tag165.xml"/><Relationship Id="rId371" Type="http://schemas.openxmlformats.org/officeDocument/2006/relationships/tags" Target="../tags/tag37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0.png"/><Relationship Id="rId4" Type="http://schemas.openxmlformats.org/officeDocument/2006/relationships/chart" Target="../charts/char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9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jpe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4.jpe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01258" y="4524360"/>
            <a:ext cx="8100982" cy="1752600"/>
          </a:xfrm>
        </p:spPr>
        <p:txBody>
          <a:bodyPr>
            <a:normAutofit/>
          </a:bodyPr>
          <a:lstStyle/>
          <a:p>
            <a:r>
              <a:rPr lang="en-GB" sz="4000" b="1" dirty="0" smtClean="0">
                <a:latin typeface="Mulish" pitchFamily="2" charset="0"/>
              </a:rPr>
              <a:t>Oxford Results Evening</a:t>
            </a:r>
          </a:p>
          <a:p>
            <a:r>
              <a:rPr lang="en-GB" sz="4000" b="1" dirty="0" smtClean="0">
                <a:latin typeface="Mulish" pitchFamily="2" charset="0"/>
              </a:rPr>
              <a:t>28</a:t>
            </a:r>
            <a:r>
              <a:rPr lang="en-GB" sz="4000" b="1" baseline="30000" dirty="0" smtClean="0">
                <a:latin typeface="Mulish" pitchFamily="2" charset="0"/>
              </a:rPr>
              <a:t>th</a:t>
            </a:r>
            <a:r>
              <a:rPr lang="en-GB" sz="4000" b="1" dirty="0" smtClean="0">
                <a:latin typeface="Mulish" pitchFamily="2" charset="0"/>
              </a:rPr>
              <a:t> November 2022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08"/>
          <a:stretch/>
        </p:blipFill>
        <p:spPr>
          <a:xfrm>
            <a:off x="119798" y="548680"/>
            <a:ext cx="11952404" cy="371241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569843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do we do that?</a:t>
            </a:r>
            <a:endParaRPr lang="en-GB" dirty="0"/>
          </a:p>
        </p:txBody>
      </p:sp>
      <p:pic>
        <p:nvPicPr>
          <p:cNvPr id="4098" name="Picture 2" descr="https://cdn-icons-png.flaticon.com/512/6566/656694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000" y="1716254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ttps://cdn-icons-png.flaticon.com/512/1714/171404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000" y="3244265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2"/>
          <p:cNvSpPr txBox="1">
            <a:spLocks/>
          </p:cNvSpPr>
          <p:nvPr/>
        </p:nvSpPr>
        <p:spPr>
          <a:xfrm>
            <a:off x="1064796" y="3301597"/>
            <a:ext cx="4203031" cy="2220904"/>
          </a:xfrm>
          <a:prstGeom prst="rect">
            <a:avLst/>
          </a:prstGeom>
        </p:spPr>
        <p:txBody>
          <a:bodyPr vert="horz" lIns="91428" tIns="45713" rIns="91428" bIns="45713" rtlCol="0">
            <a:normAutofit/>
          </a:bodyPr>
          <a:lstStyle>
            <a:lvl1pPr marL="342852" indent="-342852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1pPr>
            <a:lvl2pPr marL="742847" indent="-285710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2pPr>
            <a:lvl3pPr marL="1142842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3pPr>
            <a:lvl4pPr marL="1599979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4pPr>
            <a:lvl5pPr marL="2057116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5pPr>
            <a:lvl6pPr marL="2514253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90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27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64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dirty="0" smtClean="0">
                <a:latin typeface="Mulish" pitchFamily="2" charset="0"/>
              </a:rPr>
              <a:t>50% take the drug (empagliflozin)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7323222" y="3301597"/>
            <a:ext cx="3372852" cy="2220904"/>
          </a:xfrm>
          <a:prstGeom prst="rect">
            <a:avLst/>
          </a:prstGeom>
        </p:spPr>
        <p:txBody>
          <a:bodyPr vert="horz" lIns="91428" tIns="45713" rIns="91428" bIns="45713" rtlCol="0">
            <a:normAutofit/>
          </a:bodyPr>
          <a:lstStyle>
            <a:lvl1pPr marL="342852" indent="-342852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1pPr>
            <a:lvl2pPr marL="742847" indent="-285710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2pPr>
            <a:lvl3pPr marL="1142842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3pPr>
            <a:lvl4pPr marL="1599979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4pPr>
            <a:lvl5pPr marL="2057116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5pPr>
            <a:lvl6pPr marL="2514253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90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27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64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dirty="0" smtClean="0">
                <a:latin typeface="Mulish" pitchFamily="2" charset="0"/>
              </a:rPr>
              <a:t>50% take the dummy pill (placebo)</a:t>
            </a:r>
          </a:p>
        </p:txBody>
      </p:sp>
    </p:spTree>
    <p:extLst>
      <p:ext uri="{BB962C8B-B14F-4D97-AF65-F5344CB8AC3E}">
        <p14:creationId xmlns:p14="http://schemas.microsoft.com/office/powerpoint/2010/main" val="3669037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do we do that?</a:t>
            </a:r>
            <a:endParaRPr lang="en-GB" dirty="0"/>
          </a:p>
        </p:txBody>
      </p:sp>
      <p:pic>
        <p:nvPicPr>
          <p:cNvPr id="4098" name="Picture 2" descr="https://cdn-icons-png.flaticon.com/512/6566/656694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000" y="1716254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ttps://cdn-icons-png.flaticon.com/512/1714/171404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000" y="3244265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2"/>
          <p:cNvSpPr txBox="1">
            <a:spLocks/>
          </p:cNvSpPr>
          <p:nvPr/>
        </p:nvSpPr>
        <p:spPr>
          <a:xfrm>
            <a:off x="1064796" y="3301597"/>
            <a:ext cx="4203031" cy="2220904"/>
          </a:xfrm>
          <a:prstGeom prst="rect">
            <a:avLst/>
          </a:prstGeom>
        </p:spPr>
        <p:txBody>
          <a:bodyPr vert="horz" lIns="91428" tIns="45713" rIns="91428" bIns="45713" rtlCol="0">
            <a:normAutofit/>
          </a:bodyPr>
          <a:lstStyle>
            <a:lvl1pPr marL="342852" indent="-342852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1pPr>
            <a:lvl2pPr marL="742847" indent="-285710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2pPr>
            <a:lvl3pPr marL="1142842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3pPr>
            <a:lvl4pPr marL="1599979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4pPr>
            <a:lvl5pPr marL="2057116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5pPr>
            <a:lvl6pPr marL="2514253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90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27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64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dirty="0" smtClean="0">
                <a:latin typeface="Mulish" pitchFamily="2" charset="0"/>
              </a:rPr>
              <a:t>50% take the drug (empagliflozin)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7323222" y="3301597"/>
            <a:ext cx="3372852" cy="2220904"/>
          </a:xfrm>
          <a:prstGeom prst="rect">
            <a:avLst/>
          </a:prstGeom>
        </p:spPr>
        <p:txBody>
          <a:bodyPr vert="horz" lIns="91428" tIns="45713" rIns="91428" bIns="45713" rtlCol="0">
            <a:normAutofit/>
          </a:bodyPr>
          <a:lstStyle>
            <a:lvl1pPr marL="342852" indent="-342852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1pPr>
            <a:lvl2pPr marL="742847" indent="-285710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2pPr>
            <a:lvl3pPr marL="1142842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3pPr>
            <a:lvl4pPr marL="1599979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4pPr>
            <a:lvl5pPr marL="2057116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5pPr>
            <a:lvl6pPr marL="2514253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90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27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64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dirty="0" smtClean="0">
                <a:latin typeface="Mulish" pitchFamily="2" charset="0"/>
              </a:rPr>
              <a:t>50% take the dummy pill (placebo)</a:t>
            </a:r>
          </a:p>
        </p:txBody>
      </p:sp>
      <p:pic>
        <p:nvPicPr>
          <p:cNvPr id="5122" name="Picture 2" descr="https://cdn-icons-png.flaticon.com/512/6146/6146886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796" y="3244265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https://cdn-icons-png.flaticon.com/512/6146/6146886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3296" y="3244265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2"/>
          <p:cNvSpPr txBox="1">
            <a:spLocks/>
          </p:cNvSpPr>
          <p:nvPr/>
        </p:nvSpPr>
        <p:spPr>
          <a:xfrm>
            <a:off x="609600" y="4772276"/>
            <a:ext cx="10887996" cy="2220904"/>
          </a:xfrm>
          <a:prstGeom prst="rect">
            <a:avLst/>
          </a:prstGeom>
        </p:spPr>
        <p:txBody>
          <a:bodyPr vert="horz" lIns="91428" tIns="45713" rIns="91428" bIns="45713" rtlCol="0">
            <a:normAutofit/>
          </a:bodyPr>
          <a:lstStyle>
            <a:lvl1pPr marL="342852" indent="-342852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1pPr>
            <a:lvl2pPr marL="742847" indent="-285710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2pPr>
            <a:lvl3pPr marL="1142842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3pPr>
            <a:lvl4pPr marL="1599979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4pPr>
            <a:lvl5pPr marL="2057116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5pPr>
            <a:lvl6pPr marL="2514253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90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27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64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2400" dirty="0">
                <a:latin typeface="Mulish" pitchFamily="2" charset="0"/>
              </a:rPr>
              <a:t>Neither participants nor researchers know </a:t>
            </a:r>
            <a:r>
              <a:rPr lang="en-GB" sz="2400" dirty="0" smtClean="0">
                <a:latin typeface="Mulish" pitchFamily="2" charset="0"/>
              </a:rPr>
              <a:t>which they’re taking </a:t>
            </a:r>
            <a:r>
              <a:rPr lang="en-GB" sz="2400" dirty="0">
                <a:latin typeface="Mulish" pitchFamily="2" charset="0"/>
              </a:rPr>
              <a:t>(“</a:t>
            </a:r>
            <a:r>
              <a:rPr lang="en-GB" sz="2400" b="1" dirty="0">
                <a:latin typeface="Mulish" pitchFamily="2" charset="0"/>
              </a:rPr>
              <a:t>blinded</a:t>
            </a:r>
            <a:r>
              <a:rPr lang="en-GB" sz="2400" dirty="0" smtClean="0">
                <a:latin typeface="Mulish" pitchFamily="2" charset="0"/>
              </a:rPr>
              <a:t>”)</a:t>
            </a:r>
          </a:p>
          <a:p>
            <a:pPr marL="0" indent="0" algn="ctr">
              <a:buNone/>
            </a:pPr>
            <a:endParaRPr lang="en-GB" sz="2400" dirty="0">
              <a:latin typeface="Mulish" pitchFamily="2" charset="0"/>
            </a:endParaRPr>
          </a:p>
          <a:p>
            <a:pPr marL="0" indent="0" algn="ctr">
              <a:buNone/>
            </a:pPr>
            <a:r>
              <a:rPr lang="en-GB" sz="2400" b="1" dirty="0" smtClean="0">
                <a:latin typeface="Mulish" pitchFamily="2" charset="0"/>
              </a:rPr>
              <a:t>Compare outcomes in both groups </a:t>
            </a:r>
            <a:r>
              <a:rPr lang="en-GB" sz="2400" dirty="0" smtClean="0">
                <a:latin typeface="Mulish" pitchFamily="2" charset="0"/>
              </a:rPr>
              <a:t>to measure the effects of empagliflozin</a:t>
            </a:r>
            <a:endParaRPr lang="en-GB" sz="2400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7587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How do we measure the effects?</a:t>
            </a:r>
          </a:p>
        </p:txBody>
      </p:sp>
      <p:cxnSp>
        <p:nvCxnSpPr>
          <p:cNvPr id="13" name="Straight Connector 12"/>
          <p:cNvCxnSpPr/>
          <p:nvPr/>
        </p:nvCxnSpPr>
        <p:spPr>
          <a:xfrm flipH="1" flipV="1">
            <a:off x="5517926" y="4329270"/>
            <a:ext cx="719" cy="3240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A45C65F4-E18D-F841-AC3E-F2725455BB0E}"/>
              </a:ext>
            </a:extLst>
          </p:cNvPr>
          <p:cNvSpPr txBox="1"/>
          <p:nvPr/>
        </p:nvSpPr>
        <p:spPr>
          <a:xfrm>
            <a:off x="3458151" y="4866095"/>
            <a:ext cx="2400646" cy="1031630"/>
          </a:xfrm>
          <a:prstGeom prst="roundRect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72000" tIns="72000" rIns="72000" bIns="72000" rtlCol="0" anchor="ctr">
            <a:noAutofit/>
          </a:bodyPr>
          <a:lstStyle>
            <a:defPPr>
              <a:defRPr lang="en-US"/>
            </a:defPPr>
            <a:lvl1pPr>
              <a:spcBef>
                <a:spcPts val="800"/>
              </a:spcBef>
              <a:spcAft>
                <a:spcPts val="400"/>
              </a:spcAft>
              <a:defRPr b="1"/>
            </a:lvl1pPr>
            <a:lvl3pPr marL="0" lvl="2" defTabSz="1219170">
              <a:buClr>
                <a:schemeClr val="bg1"/>
              </a:buClr>
              <a:defRPr sz="1200">
                <a:ea typeface="ＭＳ Ｐゴシック" pitchFamily="34" charset="-128"/>
                <a:cs typeface="Arial" pitchFamily="34" charset="0"/>
              </a:defRPr>
            </a:lvl3pPr>
          </a:lstStyle>
          <a:p>
            <a:pPr lvl="0" algn="ctr" defTabSz="45720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kern="0" dirty="0">
                <a:solidFill>
                  <a:prstClr val="black"/>
                </a:solidFill>
                <a:latin typeface="Mulish" pitchFamily="2" charset="0"/>
              </a:rPr>
              <a:t>Dies </a:t>
            </a:r>
            <a:r>
              <a:rPr lang="en-GB" sz="2000" b="0" kern="0" dirty="0">
                <a:solidFill>
                  <a:prstClr val="black"/>
                </a:solidFill>
                <a:latin typeface="Mulish" pitchFamily="2" charset="0"/>
              </a:rPr>
              <a:t>during the trial </a:t>
            </a:r>
            <a:r>
              <a:rPr lang="en-GB" sz="2000" kern="0" dirty="0">
                <a:solidFill>
                  <a:prstClr val="black"/>
                </a:solidFill>
                <a:latin typeface="Mulish" pitchFamily="2" charset="0"/>
              </a:rPr>
              <a:t>because of kidney failure</a:t>
            </a:r>
          </a:p>
        </p:txBody>
      </p:sp>
      <p:sp>
        <p:nvSpPr>
          <p:cNvPr id="15" name="TextBox 20">
            <a:extLst>
              <a:ext uri="{FF2B5EF4-FFF2-40B4-BE49-F238E27FC236}">
                <a16:creationId xmlns:a16="http://schemas.microsoft.com/office/drawing/2014/main" id="{107893A3-085A-A344-B920-31EAE60F92BA}"/>
              </a:ext>
            </a:extLst>
          </p:cNvPr>
          <p:cNvSpPr txBox="1"/>
          <p:nvPr/>
        </p:nvSpPr>
        <p:spPr>
          <a:xfrm>
            <a:off x="6244178" y="4863544"/>
            <a:ext cx="2950637" cy="1031629"/>
          </a:xfrm>
          <a:prstGeom prst="roundRect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72000" tIns="72000" rIns="72000" bIns="72000" rtlCol="0" anchor="ctr">
            <a:noAutofit/>
          </a:bodyPr>
          <a:lstStyle>
            <a:defPPr>
              <a:defRPr lang="en-US"/>
            </a:defPPr>
            <a:lvl1pPr>
              <a:spcBef>
                <a:spcPts val="800"/>
              </a:spcBef>
              <a:spcAft>
                <a:spcPts val="400"/>
              </a:spcAft>
              <a:defRPr b="1"/>
            </a:lvl1pPr>
            <a:lvl3pPr marL="0" lvl="2" defTabSz="1219170">
              <a:buClr>
                <a:schemeClr val="bg1"/>
              </a:buClr>
              <a:defRPr sz="1200">
                <a:ea typeface="ＭＳ Ｐゴシック" pitchFamily="34" charset="-128"/>
                <a:cs typeface="Arial" pitchFamily="34" charset="0"/>
              </a:defRPr>
            </a:lvl3pPr>
          </a:lstStyle>
          <a:p>
            <a:pPr lvl="0" algn="ctr" defTabSz="45720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b="0" kern="0" dirty="0">
                <a:solidFill>
                  <a:prstClr val="black"/>
                </a:solidFill>
                <a:latin typeface="Mulish" pitchFamily="2" charset="0"/>
              </a:rPr>
              <a:t>Meets specific criteria based on </a:t>
            </a:r>
            <a:r>
              <a:rPr lang="en-GB" sz="2000" kern="0" dirty="0">
                <a:solidFill>
                  <a:prstClr val="black"/>
                </a:solidFill>
                <a:latin typeface="Mulish" pitchFamily="2" charset="0"/>
              </a:rPr>
              <a:t>change in eGFR </a:t>
            </a:r>
            <a:r>
              <a:rPr lang="en-GB" sz="2000" b="0" kern="0" dirty="0">
                <a:solidFill>
                  <a:prstClr val="black"/>
                </a:solidFill>
                <a:latin typeface="Mulish" pitchFamily="2" charset="0"/>
              </a:rPr>
              <a:t>during the trial</a:t>
            </a:r>
          </a:p>
        </p:txBody>
      </p:sp>
      <p:sp>
        <p:nvSpPr>
          <p:cNvPr id="16" name="Rechteck 14">
            <a:extLst>
              <a:ext uri="{FF2B5EF4-FFF2-40B4-BE49-F238E27FC236}">
                <a16:creationId xmlns:a16="http://schemas.microsoft.com/office/drawing/2014/main" id="{DAD1E1BD-0D8A-2348-8B7B-09F7641C4568}"/>
              </a:ext>
            </a:extLst>
          </p:cNvPr>
          <p:cNvSpPr/>
          <p:nvPr/>
        </p:nvSpPr>
        <p:spPr>
          <a:xfrm>
            <a:off x="4224453" y="3709635"/>
            <a:ext cx="2304000" cy="63709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90000" tIns="108000" bIns="108000" rtlCol="0" anchor="ctr">
            <a:noAutofit/>
          </a:bodyPr>
          <a:lstStyle/>
          <a:p>
            <a:pPr marL="0" marR="0" lvl="2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Kidney disease progression</a:t>
            </a:r>
          </a:p>
        </p:txBody>
      </p:sp>
      <p:sp>
        <p:nvSpPr>
          <p:cNvPr id="17" name="Rechteck 14">
            <a:extLst>
              <a:ext uri="{FF2B5EF4-FFF2-40B4-BE49-F238E27FC236}">
                <a16:creationId xmlns:a16="http://schemas.microsoft.com/office/drawing/2014/main" id="{54D898B0-0C3C-CE48-9DA1-6FD93F125A29}"/>
              </a:ext>
            </a:extLst>
          </p:cNvPr>
          <p:cNvSpPr/>
          <p:nvPr/>
        </p:nvSpPr>
        <p:spPr>
          <a:xfrm>
            <a:off x="500843" y="3732593"/>
            <a:ext cx="3207108" cy="60996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28575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lIns="90000" tIns="108000" bIns="108000" rtlCol="0" anchor="ctr">
            <a:noAutofit/>
          </a:bodyPr>
          <a:lstStyle/>
          <a:p>
            <a:pPr marL="0" marR="0" lvl="2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Death from heart (cardiovascular)</a:t>
            </a:r>
            <a:r>
              <a:rPr kumimoji="0" lang="en-GB" sz="2000" b="1" i="0" u="none" strike="noStrike" kern="1200" cap="none" spc="0" normalizeH="0" noProof="0" dirty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 disease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515151"/>
              </a:solidFill>
              <a:effectLst/>
              <a:uLnTx/>
              <a:uFillTx/>
              <a:latin typeface="Mulish" pitchFamily="2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31B79D3-A183-5249-A821-DA6E546435C7}"/>
              </a:ext>
            </a:extLst>
          </p:cNvPr>
          <p:cNvSpPr txBox="1"/>
          <p:nvPr/>
        </p:nvSpPr>
        <p:spPr>
          <a:xfrm>
            <a:off x="3707952" y="3858579"/>
            <a:ext cx="490840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Mulish" pitchFamily="2" charset="0"/>
              </a:rPr>
              <a:t>O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8B017B6-0537-934D-9D42-784EE0FE87EE}"/>
              </a:ext>
            </a:extLst>
          </p:cNvPr>
          <p:cNvSpPr txBox="1"/>
          <p:nvPr/>
        </p:nvSpPr>
        <p:spPr>
          <a:xfrm>
            <a:off x="1591640" y="2950949"/>
            <a:ext cx="42899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Mulish" pitchFamily="2" charset="0"/>
              </a:rPr>
              <a:t>Primary</a:t>
            </a:r>
            <a:r>
              <a:rPr kumimoji="0" lang="en-GB" sz="2400" b="1" i="0" u="none" strike="noStrike" kern="1200" cap="none" spc="0" normalizeH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Mulish" pitchFamily="2" charset="0"/>
              </a:rPr>
              <a:t> composite outcome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Mulish" pitchFamily="2" charset="0"/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4658474" y="4646920"/>
            <a:ext cx="0" cy="2160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719496" y="4643745"/>
            <a:ext cx="0" cy="2160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1773429" y="4653270"/>
            <a:ext cx="59460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" descr="https://cdn-icons-png.flaticon.com/512/949/949878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8958" y="3540415"/>
            <a:ext cx="2448058" cy="2448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Content Placeholder 2"/>
          <p:cNvSpPr>
            <a:spLocks noGrp="1"/>
          </p:cNvSpPr>
          <p:nvPr>
            <p:ph idx="1"/>
          </p:nvPr>
        </p:nvSpPr>
        <p:spPr>
          <a:xfrm>
            <a:off x="609599" y="1600206"/>
            <a:ext cx="11307417" cy="120531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800" dirty="0" smtClean="0">
                <a:latin typeface="Mulish" pitchFamily="2" charset="0"/>
              </a:rPr>
              <a:t>Count the number of “</a:t>
            </a:r>
            <a:r>
              <a:rPr lang="en-GB" sz="2800" b="1" dirty="0" smtClean="0">
                <a:latin typeface="Mulish" pitchFamily="2" charset="0"/>
              </a:rPr>
              <a:t>primary outcomes</a:t>
            </a:r>
            <a:r>
              <a:rPr lang="en-GB" sz="2800" dirty="0" smtClean="0">
                <a:latin typeface="Mulish" pitchFamily="2" charset="0"/>
              </a:rPr>
              <a:t>” in those who took empagliflozin vs placebo &amp; compare</a:t>
            </a:r>
            <a:endParaRPr lang="en-GB" sz="2800" dirty="0">
              <a:latin typeface="Mulish" pitchFamily="2" charset="0"/>
            </a:endParaRPr>
          </a:p>
        </p:txBody>
      </p:sp>
      <p:sp>
        <p:nvSpPr>
          <p:cNvPr id="27" name="TextBox 20">
            <a:extLst>
              <a:ext uri="{FF2B5EF4-FFF2-40B4-BE49-F238E27FC236}">
                <a16:creationId xmlns:a16="http://schemas.microsoft.com/office/drawing/2014/main" id="{107893A3-085A-A344-B920-31EAE60F92BA}"/>
              </a:ext>
            </a:extLst>
          </p:cNvPr>
          <p:cNvSpPr txBox="1"/>
          <p:nvPr/>
        </p:nvSpPr>
        <p:spPr>
          <a:xfrm>
            <a:off x="484201" y="4866330"/>
            <a:ext cx="2590799" cy="1031629"/>
          </a:xfrm>
          <a:prstGeom prst="roundRect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72000" tIns="72000" rIns="72000" bIns="72000" rtlCol="0" anchor="ctr">
            <a:noAutofit/>
          </a:bodyPr>
          <a:lstStyle>
            <a:defPPr>
              <a:defRPr lang="en-US"/>
            </a:defPPr>
            <a:lvl1pPr>
              <a:spcBef>
                <a:spcPts val="800"/>
              </a:spcBef>
              <a:spcAft>
                <a:spcPts val="400"/>
              </a:spcAft>
              <a:defRPr b="1"/>
            </a:lvl1pPr>
            <a:lvl3pPr marL="0" lvl="2" defTabSz="1219170">
              <a:buClr>
                <a:schemeClr val="bg1"/>
              </a:buClr>
              <a:defRPr sz="1200">
                <a:ea typeface="ＭＳ Ｐゴシック" pitchFamily="34" charset="-128"/>
                <a:cs typeface="Arial" pitchFamily="34" charset="0"/>
              </a:defRPr>
            </a:lvl3pPr>
          </a:lstStyle>
          <a:p>
            <a:pPr lvl="0" algn="ctr" defTabSz="45720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b="0" kern="0" dirty="0">
                <a:solidFill>
                  <a:prstClr val="black"/>
                </a:solidFill>
                <a:latin typeface="Mulish" pitchFamily="2" charset="0"/>
              </a:rPr>
              <a:t>Starts </a:t>
            </a:r>
            <a:r>
              <a:rPr lang="en-GB" sz="2000" kern="0" dirty="0">
                <a:solidFill>
                  <a:prstClr val="black"/>
                </a:solidFill>
                <a:latin typeface="Mulish" pitchFamily="2" charset="0"/>
              </a:rPr>
              <a:t>dialysis or receives transplant </a:t>
            </a:r>
            <a:r>
              <a:rPr lang="en-GB" sz="2000" b="0" kern="0" dirty="0">
                <a:solidFill>
                  <a:prstClr val="black"/>
                </a:solidFill>
                <a:latin typeface="Mulish" pitchFamily="2" charset="0"/>
              </a:rPr>
              <a:t>during the trial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>
            <a:off x="1773429" y="4643685"/>
            <a:ext cx="0" cy="2160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7061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o was eligible for the trial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25700" y="1600206"/>
            <a:ext cx="91567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 smtClean="0">
                <a:latin typeface="Mulish" pitchFamily="2" charset="0"/>
              </a:rPr>
              <a:t>Kidney disease due to any cause </a:t>
            </a:r>
          </a:p>
          <a:p>
            <a:pPr marL="0" indent="0">
              <a:buNone/>
            </a:pPr>
            <a:r>
              <a:rPr lang="en-GB" dirty="0" smtClean="0">
                <a:latin typeface="Mulish" pitchFamily="2" charset="0"/>
              </a:rPr>
              <a:t>(except polycystic kidney disease)</a:t>
            </a:r>
          </a:p>
          <a:p>
            <a:pPr marL="0" indent="0">
              <a:buNone/>
            </a:pPr>
            <a:endParaRPr lang="en-GB" dirty="0" smtClean="0">
              <a:latin typeface="Mulish" pitchFamily="2" charset="0"/>
            </a:endParaRPr>
          </a:p>
          <a:p>
            <a:pPr marL="0" indent="0">
              <a:buNone/>
            </a:pPr>
            <a:r>
              <a:rPr lang="en-GB" dirty="0" smtClean="0">
                <a:latin typeface="Mulish" pitchFamily="2" charset="0"/>
              </a:rPr>
              <a:t>Not received a kidney transplant</a:t>
            </a:r>
          </a:p>
          <a:p>
            <a:pPr marL="0" indent="0">
              <a:buNone/>
            </a:pPr>
            <a:endParaRPr lang="en-GB" dirty="0" smtClean="0">
              <a:latin typeface="Mulish" pitchFamily="2" charset="0"/>
            </a:endParaRPr>
          </a:p>
          <a:p>
            <a:pPr marL="0" indent="0">
              <a:buNone/>
            </a:pPr>
            <a:r>
              <a:rPr lang="en-GB" dirty="0" err="1" smtClean="0">
                <a:latin typeface="Mulish" pitchFamily="2" charset="0"/>
              </a:rPr>
              <a:t>eGFR</a:t>
            </a:r>
            <a:r>
              <a:rPr lang="en-GB" dirty="0" smtClean="0">
                <a:latin typeface="Mulish" pitchFamily="2" charset="0"/>
              </a:rPr>
              <a:t> between 20 and 90</a:t>
            </a:r>
          </a:p>
          <a:p>
            <a:pPr marL="457137" lvl="1" indent="0">
              <a:buNone/>
            </a:pPr>
            <a:r>
              <a:rPr lang="en-GB" dirty="0" smtClean="0">
                <a:latin typeface="Mulish" pitchFamily="2" charset="0"/>
              </a:rPr>
              <a:t>If between 45 and 90, also required a certain level of albumin (protein) in the urine</a:t>
            </a:r>
            <a:endParaRPr lang="en-GB" dirty="0">
              <a:latin typeface="Mulish" pitchFamily="2" charset="0"/>
            </a:endParaRPr>
          </a:p>
        </p:txBody>
      </p:sp>
      <p:pic>
        <p:nvPicPr>
          <p:cNvPr id="6146" name="Picture 2" descr="https://cdn-icons-png.flaticon.com/512/4315/431544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3175" y="1689106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https://cdn-icons-png.flaticon.com/512/5974/597477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3175" y="2230573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s://cdn-icons-png.flaticon.com/512/4315/431544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9438" y="4610106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https://cdn-icons-png.flaticon.com/512/5974/597477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3175" y="3420339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3027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ollow-up</a:t>
            </a:r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479963" y="3228473"/>
            <a:ext cx="254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Randomisation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19963" y="3228473"/>
            <a:ext cx="254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2 months later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750945" y="3227610"/>
            <a:ext cx="254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6 months later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481928" y="3227610"/>
            <a:ext cx="31004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Every 6 months thereafter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437681" y="4051139"/>
            <a:ext cx="8044405" cy="2145268"/>
          </a:xfrm>
          <a:prstGeom prst="roundRect">
            <a:avLst/>
          </a:prstGeom>
          <a:noFill/>
          <a:ln w="19050">
            <a:solidFill>
              <a:srgbClr val="CE08A8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000" dirty="0" smtClean="0">
                <a:latin typeface="Mulish" pitchFamily="2" charset="0"/>
              </a:rPr>
              <a:t>How is your health?</a:t>
            </a:r>
          </a:p>
          <a:p>
            <a:pPr algn="ctr"/>
            <a:r>
              <a:rPr lang="en-GB" sz="2000" dirty="0" smtClean="0">
                <a:latin typeface="Mulish" pitchFamily="2" charset="0"/>
              </a:rPr>
              <a:t>Has anything changed?</a:t>
            </a:r>
          </a:p>
          <a:p>
            <a:pPr algn="ctr"/>
            <a:r>
              <a:rPr lang="en-GB" sz="2000" dirty="0" smtClean="0">
                <a:latin typeface="Mulish" pitchFamily="2" charset="0"/>
              </a:rPr>
              <a:t>Blood pressure checked and weight measured</a:t>
            </a:r>
          </a:p>
          <a:p>
            <a:pPr algn="ctr"/>
            <a:r>
              <a:rPr lang="en-GB" sz="2000" dirty="0" smtClean="0">
                <a:latin typeface="Mulish" pitchFamily="2" charset="0"/>
              </a:rPr>
              <a:t>Blood samples taken to test kidney function &amp; monitor safety</a:t>
            </a:r>
          </a:p>
          <a:p>
            <a:pPr algn="ctr"/>
            <a:r>
              <a:rPr lang="en-GB" sz="2000" dirty="0" smtClean="0">
                <a:latin typeface="Mulish" pitchFamily="2" charset="0"/>
              </a:rPr>
              <a:t>Are you happy to continue?</a:t>
            </a:r>
          </a:p>
          <a:p>
            <a:pPr algn="ctr"/>
            <a:r>
              <a:rPr lang="en-GB" sz="2000" dirty="0" smtClean="0">
                <a:latin typeface="Mulish" pitchFamily="2" charset="0"/>
              </a:rPr>
              <a:t>Given further supply of empagliflozin or placebo</a:t>
            </a:r>
          </a:p>
        </p:txBody>
      </p:sp>
      <p:pic>
        <p:nvPicPr>
          <p:cNvPr id="7170" name="Picture 2" descr="https://cdn-icons-png.flaticon.com/512/1714/171404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9963" y="1903412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s://cdn-icons-png.flaticon.com/512/7858/785823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9963" y="1921375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https://cdn-icons-png.flaticon.com/512/7858/785823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945" y="1921375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https://cdn-icons-png.flaticon.com/512/7858/785823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2164" y="1903412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2382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MPA-KIDNEY timeline</a:t>
            </a:r>
            <a:endParaRPr lang="en-GB" dirty="0"/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3098202" y="3001482"/>
            <a:ext cx="8667798" cy="0"/>
          </a:xfrm>
          <a:prstGeom prst="straightConnector1">
            <a:avLst/>
          </a:prstGeom>
          <a:ln w="571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82880" y="3934529"/>
            <a:ext cx="2540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15</a:t>
            </a:r>
            <a:r>
              <a:rPr lang="en-GB" b="1" baseline="30000" dirty="0" smtClean="0">
                <a:latin typeface="Mulish" pitchFamily="2" charset="0"/>
              </a:rPr>
              <a:t>th</a:t>
            </a:r>
            <a:r>
              <a:rPr lang="en-GB" b="1" dirty="0" smtClean="0">
                <a:latin typeface="Mulish" pitchFamily="2" charset="0"/>
              </a:rPr>
              <a:t> May 2019</a:t>
            </a:r>
          </a:p>
          <a:p>
            <a:pPr algn="ctr"/>
            <a:r>
              <a:rPr lang="en-GB" dirty="0" smtClean="0">
                <a:latin typeface="Mulish" pitchFamily="2" charset="0"/>
              </a:rPr>
              <a:t>First participant randomly allocated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928112" y="3934529"/>
            <a:ext cx="22638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5</a:t>
            </a:r>
            <a:r>
              <a:rPr lang="en-GB" b="1" baseline="30000" dirty="0" smtClean="0">
                <a:latin typeface="Mulish" pitchFamily="2" charset="0"/>
              </a:rPr>
              <a:t>th</a:t>
            </a:r>
            <a:r>
              <a:rPr lang="en-GB" b="1" dirty="0" smtClean="0">
                <a:latin typeface="Mulish" pitchFamily="2" charset="0"/>
              </a:rPr>
              <a:t> Jul 2022</a:t>
            </a:r>
          </a:p>
          <a:p>
            <a:pPr algn="ctr"/>
            <a:r>
              <a:rPr lang="en-GB" dirty="0" smtClean="0">
                <a:latin typeface="Mulish" pitchFamily="2" charset="0"/>
              </a:rPr>
              <a:t>Final </a:t>
            </a:r>
            <a:r>
              <a:rPr lang="en-GB" dirty="0">
                <a:latin typeface="Mulish" pitchFamily="2" charset="0"/>
              </a:rPr>
              <a:t>follow-up</a:t>
            </a:r>
            <a:r>
              <a:rPr lang="en-GB" dirty="0" smtClean="0">
                <a:latin typeface="Mulish" pitchFamily="2" charset="0"/>
              </a:rPr>
              <a:t> completed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486971" y="3934529"/>
            <a:ext cx="2540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22</a:t>
            </a:r>
            <a:r>
              <a:rPr lang="en-GB" b="1" baseline="30000" dirty="0" smtClean="0">
                <a:latin typeface="Mulish" pitchFamily="2" charset="0"/>
              </a:rPr>
              <a:t>nd</a:t>
            </a:r>
            <a:r>
              <a:rPr lang="en-GB" b="1" dirty="0" smtClean="0">
                <a:latin typeface="Mulish" pitchFamily="2" charset="0"/>
              </a:rPr>
              <a:t> Feb 2022</a:t>
            </a:r>
          </a:p>
          <a:p>
            <a:pPr algn="ctr"/>
            <a:r>
              <a:rPr lang="en-GB" dirty="0" smtClean="0">
                <a:latin typeface="Mulish" pitchFamily="2" charset="0"/>
              </a:rPr>
              <a:t>“Formal interim analysis”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829128" y="3928760"/>
            <a:ext cx="2540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7</a:t>
            </a:r>
            <a:r>
              <a:rPr lang="en-GB" b="1" baseline="30000" dirty="0" smtClean="0">
                <a:latin typeface="Mulish" pitchFamily="2" charset="0"/>
              </a:rPr>
              <a:t>th</a:t>
            </a:r>
            <a:r>
              <a:rPr lang="en-GB" b="1" dirty="0" smtClean="0">
                <a:latin typeface="Mulish" pitchFamily="2" charset="0"/>
              </a:rPr>
              <a:t> Mar 2022</a:t>
            </a:r>
          </a:p>
          <a:p>
            <a:pPr algn="ctr"/>
            <a:r>
              <a:rPr lang="en-GB" dirty="0" smtClean="0">
                <a:latin typeface="Mulish" pitchFamily="2" charset="0"/>
              </a:rPr>
              <a:t>Expert panel advised stopping early 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511675" y="3934529"/>
            <a:ext cx="22638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1</a:t>
            </a:r>
            <a:r>
              <a:rPr lang="en-GB" b="1" baseline="30000" dirty="0" smtClean="0">
                <a:latin typeface="Mulish" pitchFamily="2" charset="0"/>
              </a:rPr>
              <a:t>st</a:t>
            </a:r>
            <a:r>
              <a:rPr lang="en-GB" b="1" dirty="0" smtClean="0">
                <a:latin typeface="Mulish" pitchFamily="2" charset="0"/>
              </a:rPr>
              <a:t> Apr 2022</a:t>
            </a:r>
          </a:p>
          <a:p>
            <a:pPr algn="ctr"/>
            <a:r>
              <a:rPr lang="en-GB" dirty="0" smtClean="0">
                <a:latin typeface="Mulish" pitchFamily="2" charset="0"/>
              </a:rPr>
              <a:t>Final follow-up visits began</a:t>
            </a:r>
            <a:endParaRPr lang="en-GB" dirty="0">
              <a:latin typeface="Mulish" pitchFamily="2" charset="0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1990165" y="3001482"/>
            <a:ext cx="1129553" cy="0"/>
          </a:xfrm>
          <a:prstGeom prst="line">
            <a:avLst/>
          </a:prstGeom>
          <a:ln w="57150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888103" y="3002470"/>
            <a:ext cx="1129553" cy="0"/>
          </a:xfrm>
          <a:prstGeom prst="line">
            <a:avLst/>
          </a:prstGeom>
          <a:ln w="57150">
            <a:solidFill>
              <a:schemeClr val="accent4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2336767" y="1606771"/>
            <a:ext cx="28404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150 participants had begun dialysis or had a transplant</a:t>
            </a:r>
            <a:endParaRPr lang="en-GB" dirty="0">
              <a:latin typeface="Mulish" pitchFamily="2" charset="0"/>
            </a:endParaRPr>
          </a:p>
        </p:txBody>
      </p:sp>
      <p:pic>
        <p:nvPicPr>
          <p:cNvPr id="1026" name="Picture 2" descr="https://cdn-icons-png.flaticon.com/512/3477/347714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5008" y="2645167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s://cdn-icons-png.flaticon.com/512/1505/1505465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9678" y="264148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s://cdn-icons-png.flaticon.com/512/1750/1750276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6693" y="271348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cdn-icons-png.flaticon.com/512/3579/357991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1641" y="264148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https://cdn-icons-png.flaticon.com/512/1356/1356479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147" y="264148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1361435" y="5046991"/>
            <a:ext cx="767375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rgbClr val="0070C0"/>
                </a:solidFill>
                <a:latin typeface="Mulish" pitchFamily="2" charset="0"/>
              </a:rPr>
              <a:t>Is the trial progressing appropriately?</a:t>
            </a:r>
          </a:p>
          <a:p>
            <a:pPr algn="ctr"/>
            <a:r>
              <a:rPr lang="en-GB" dirty="0" smtClean="0">
                <a:solidFill>
                  <a:srgbClr val="0070C0"/>
                </a:solidFill>
                <a:latin typeface="Mulish" pitchFamily="2" charset="0"/>
              </a:rPr>
              <a:t>Should the trial continue or should it stop because:</a:t>
            </a:r>
          </a:p>
          <a:p>
            <a:pPr algn="ctr"/>
            <a:endParaRPr lang="en-GB" dirty="0" smtClean="0">
              <a:solidFill>
                <a:srgbClr val="0070C0"/>
              </a:solidFill>
              <a:latin typeface="Mulish" pitchFamily="2" charset="0"/>
            </a:endParaRPr>
          </a:p>
          <a:p>
            <a:pPr marL="342900" indent="-342900" algn="ctr">
              <a:buAutoNum type="arabicParenBoth"/>
            </a:pPr>
            <a:r>
              <a:rPr lang="en-GB" dirty="0" smtClean="0">
                <a:solidFill>
                  <a:srgbClr val="0070C0"/>
                </a:solidFill>
                <a:latin typeface="Mulish" pitchFamily="2" charset="0"/>
              </a:rPr>
              <a:t>the drug is SO good we may have the answer now</a:t>
            </a:r>
          </a:p>
          <a:p>
            <a:pPr marL="342900" indent="-342900" algn="ctr">
              <a:buAutoNum type="arabicParenBoth"/>
            </a:pPr>
            <a:r>
              <a:rPr lang="en-GB" dirty="0" smtClean="0">
                <a:solidFill>
                  <a:srgbClr val="0070C0"/>
                </a:solidFill>
                <a:latin typeface="Mulish" pitchFamily="2" charset="0"/>
              </a:rPr>
              <a:t>the drug clearly doesn’t work or may be causing harm</a:t>
            </a:r>
            <a:endParaRPr lang="en-GB" dirty="0">
              <a:solidFill>
                <a:srgbClr val="0070C0"/>
              </a:solidFill>
              <a:latin typeface="Mulish" pitchFamily="2" charset="0"/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1743118" y="5897844"/>
            <a:ext cx="6910086" cy="301958"/>
          </a:xfrm>
          <a:prstGeom prst="roundRect">
            <a:avLst/>
          </a:prstGeom>
          <a:noFill/>
          <a:ln>
            <a:solidFill>
              <a:srgbClr val="CE08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6651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  <p:bldP spid="20" grpId="0"/>
      <p:bldP spid="17" grpId="0"/>
      <p:bldP spid="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8458" y="4509120"/>
            <a:ext cx="6821919" cy="1752600"/>
          </a:xfrm>
        </p:spPr>
        <p:txBody>
          <a:bodyPr>
            <a:normAutofit/>
          </a:bodyPr>
          <a:lstStyle/>
          <a:p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Recruitment and baseline characteristics</a:t>
            </a:r>
          </a:p>
          <a:p>
            <a:endParaRPr lang="en-GB" sz="4000" b="1" dirty="0" smtClean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08"/>
          <a:stretch/>
        </p:blipFill>
        <p:spPr>
          <a:xfrm>
            <a:off x="119798" y="548680"/>
            <a:ext cx="11952404" cy="371241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849625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7011" y="1661639"/>
            <a:ext cx="7560466" cy="48934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b="1" dirty="0" smtClean="0">
                <a:solidFill>
                  <a:schemeClr val="tx2">
                    <a:lumMod val="50000"/>
                  </a:schemeClr>
                </a:solidFill>
              </a:rPr>
              <a:t>Impact of COVID-19</a:t>
            </a:r>
            <a:endParaRPr lang="en-GB" b="1" dirty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/>
          </p:nvPr>
        </p:nvGraphicFramePr>
        <p:xfrm>
          <a:off x="7608168" y="2225817"/>
          <a:ext cx="3045698" cy="3181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32058" y="3985250"/>
            <a:ext cx="2035862" cy="1021556"/>
          </a:xfrm>
          <a:prstGeom prst="roundRect">
            <a:avLst/>
          </a:prstGeom>
          <a:noFill/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Mulish" pitchFamily="2" charset="0"/>
                <a:cs typeface="Arial" panose="020B0604020202020204" pitchFamily="34" charset="0"/>
              </a:rPr>
              <a:t>First participant randomis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Mulish" pitchFamily="2" charset="0"/>
                <a:cs typeface="Arial" panose="020B0604020202020204" pitchFamily="34" charset="0"/>
              </a:rPr>
              <a:t>15</a:t>
            </a:r>
            <a:r>
              <a:rPr kumimoji="0" lang="en-GB" sz="1800" b="1" i="0" u="none" strike="noStrike" kern="1200" cap="none" spc="0" normalizeH="0" baseline="3000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Mulish" pitchFamily="2" charset="0"/>
                <a:cs typeface="Arial" panose="020B0604020202020204" pitchFamily="34" charset="0"/>
              </a:rPr>
              <a:t>th</a:t>
            </a: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Mulish" pitchFamily="2" charset="0"/>
                <a:cs typeface="Arial" panose="020B0604020202020204" pitchFamily="34" charset="0"/>
              </a:rPr>
              <a:t> May 2019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Mulish" pitchFamily="2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966568" y="3985250"/>
            <a:ext cx="2037600" cy="1021556"/>
          </a:xfrm>
          <a:prstGeom prst="roundRect">
            <a:avLst/>
          </a:prstGeom>
          <a:noFill/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Mulish" pitchFamily="2" charset="0"/>
                <a:cs typeface="Arial" panose="020B0604020202020204" pitchFamily="34" charset="0"/>
              </a:rPr>
              <a:t>Last participant randomis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Mulish" pitchFamily="2" charset="0"/>
                <a:cs typeface="Arial" panose="020B0604020202020204" pitchFamily="34" charset="0"/>
              </a:rPr>
              <a:t>16</a:t>
            </a:r>
            <a:r>
              <a:rPr kumimoji="0" lang="en-GB" sz="1800" b="1" i="0" u="none" strike="noStrike" kern="1200" cap="none" spc="0" normalizeH="0" baseline="3000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Mulish" pitchFamily="2" charset="0"/>
                <a:cs typeface="Arial" panose="020B0604020202020204" pitchFamily="34" charset="0"/>
              </a:rPr>
              <a:t>th</a:t>
            </a: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Mulish" pitchFamily="2" charset="0"/>
                <a:cs typeface="Arial" panose="020B0604020202020204" pitchFamily="34" charset="0"/>
              </a:rPr>
              <a:t> Apr 2021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Mulish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5565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>
                <a:solidFill>
                  <a:schemeClr val="tx2">
                    <a:lumMod val="50000"/>
                  </a:schemeClr>
                </a:solidFill>
              </a:rPr>
              <a:t>Global totals</a:t>
            </a:r>
            <a:endParaRPr lang="en-GB" b="1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935760" y="1628603"/>
            <a:ext cx="7920880" cy="4653308"/>
            <a:chOff x="2201864" y="1953445"/>
            <a:chExt cx="7500937" cy="4260849"/>
          </a:xfrm>
          <a:solidFill>
            <a:schemeClr val="bg1">
              <a:lumMod val="75000"/>
            </a:schemeClr>
          </a:solidFill>
        </p:grpSpPr>
        <p:sp>
          <p:nvSpPr>
            <p:cNvPr id="6" name="Freeform 5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043364" y="6150794"/>
              <a:ext cx="33337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5"/>
                </a:cxn>
                <a:cxn ang="0">
                  <a:pos x="4" y="10"/>
                </a:cxn>
                <a:cxn ang="0">
                  <a:pos x="8" y="14"/>
                </a:cxn>
                <a:cxn ang="0">
                  <a:pos x="13" y="20"/>
                </a:cxn>
                <a:cxn ang="0">
                  <a:pos x="16" y="17"/>
                </a:cxn>
                <a:cxn ang="0">
                  <a:pos x="19" y="13"/>
                </a:cxn>
                <a:cxn ang="0">
                  <a:pos x="23" y="11"/>
                </a:cxn>
                <a:cxn ang="0">
                  <a:pos x="27" y="10"/>
                </a:cxn>
                <a:cxn ang="0">
                  <a:pos x="36" y="8"/>
                </a:cxn>
                <a:cxn ang="0">
                  <a:pos x="46" y="7"/>
                </a:cxn>
                <a:cxn ang="0">
                  <a:pos x="54" y="7"/>
                </a:cxn>
                <a:cxn ang="0">
                  <a:pos x="63" y="6"/>
                </a:cxn>
                <a:cxn ang="0">
                  <a:pos x="66" y="5"/>
                </a:cxn>
                <a:cxn ang="0">
                  <a:pos x="69" y="4"/>
                </a:cxn>
                <a:cxn ang="0">
                  <a:pos x="71" y="2"/>
                </a:cxn>
                <a:cxn ang="0">
                  <a:pos x="73" y="0"/>
                </a:cxn>
                <a:cxn ang="0">
                  <a:pos x="0" y="0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6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01864" y="2251894"/>
              <a:ext cx="784225" cy="446088"/>
            </a:xfrm>
            <a:custGeom>
              <a:avLst/>
              <a:gdLst/>
              <a:ahLst/>
              <a:cxnLst>
                <a:cxn ang="0">
                  <a:pos x="1395" y="807"/>
                </a:cxn>
                <a:cxn ang="0">
                  <a:pos x="1394" y="753"/>
                </a:cxn>
                <a:cxn ang="0">
                  <a:pos x="1373" y="648"/>
                </a:cxn>
                <a:cxn ang="0">
                  <a:pos x="1323" y="641"/>
                </a:cxn>
                <a:cxn ang="0">
                  <a:pos x="1264" y="639"/>
                </a:cxn>
                <a:cxn ang="0">
                  <a:pos x="1134" y="582"/>
                </a:cxn>
                <a:cxn ang="0">
                  <a:pos x="973" y="537"/>
                </a:cxn>
                <a:cxn ang="0">
                  <a:pos x="943" y="504"/>
                </a:cxn>
                <a:cxn ang="0">
                  <a:pos x="901" y="516"/>
                </a:cxn>
                <a:cxn ang="0">
                  <a:pos x="849" y="570"/>
                </a:cxn>
                <a:cxn ang="0">
                  <a:pos x="675" y="619"/>
                </a:cxn>
                <a:cxn ang="0">
                  <a:pos x="678" y="578"/>
                </a:cxn>
                <a:cxn ang="0">
                  <a:pos x="721" y="548"/>
                </a:cxn>
                <a:cxn ang="0">
                  <a:pos x="786" y="545"/>
                </a:cxn>
                <a:cxn ang="0">
                  <a:pos x="724" y="528"/>
                </a:cxn>
                <a:cxn ang="0">
                  <a:pos x="578" y="589"/>
                </a:cxn>
                <a:cxn ang="0">
                  <a:pos x="547" y="625"/>
                </a:cxn>
                <a:cxn ang="0">
                  <a:pos x="526" y="650"/>
                </a:cxn>
                <a:cxn ang="0">
                  <a:pos x="452" y="654"/>
                </a:cxn>
                <a:cxn ang="0">
                  <a:pos x="383" y="702"/>
                </a:cxn>
                <a:cxn ang="0">
                  <a:pos x="252" y="750"/>
                </a:cxn>
                <a:cxn ang="0">
                  <a:pos x="105" y="807"/>
                </a:cxn>
                <a:cxn ang="0">
                  <a:pos x="4" y="813"/>
                </a:cxn>
                <a:cxn ang="0">
                  <a:pos x="14" y="789"/>
                </a:cxn>
                <a:cxn ang="0">
                  <a:pos x="127" y="761"/>
                </a:cxn>
                <a:cxn ang="0">
                  <a:pos x="265" y="696"/>
                </a:cxn>
                <a:cxn ang="0">
                  <a:pos x="300" y="626"/>
                </a:cxn>
                <a:cxn ang="0">
                  <a:pos x="253" y="657"/>
                </a:cxn>
                <a:cxn ang="0">
                  <a:pos x="150" y="643"/>
                </a:cxn>
                <a:cxn ang="0">
                  <a:pos x="172" y="610"/>
                </a:cxn>
                <a:cxn ang="0">
                  <a:pos x="240" y="547"/>
                </a:cxn>
                <a:cxn ang="0">
                  <a:pos x="152" y="575"/>
                </a:cxn>
                <a:cxn ang="0">
                  <a:pos x="143" y="536"/>
                </a:cxn>
                <a:cxn ang="0">
                  <a:pos x="346" y="380"/>
                </a:cxn>
                <a:cxn ang="0">
                  <a:pos x="444" y="382"/>
                </a:cxn>
                <a:cxn ang="0">
                  <a:pos x="569" y="349"/>
                </a:cxn>
                <a:cxn ang="0">
                  <a:pos x="592" y="306"/>
                </a:cxn>
                <a:cxn ang="0">
                  <a:pos x="506" y="331"/>
                </a:cxn>
                <a:cxn ang="0">
                  <a:pos x="438" y="318"/>
                </a:cxn>
                <a:cxn ang="0">
                  <a:pos x="472" y="287"/>
                </a:cxn>
                <a:cxn ang="0">
                  <a:pos x="711" y="238"/>
                </a:cxn>
                <a:cxn ang="0">
                  <a:pos x="749" y="210"/>
                </a:cxn>
                <a:cxn ang="0">
                  <a:pos x="684" y="176"/>
                </a:cxn>
                <a:cxn ang="0">
                  <a:pos x="739" y="109"/>
                </a:cxn>
                <a:cxn ang="0">
                  <a:pos x="988" y="27"/>
                </a:cxn>
                <a:cxn ang="0">
                  <a:pos x="1157" y="9"/>
                </a:cxn>
                <a:cxn ang="0">
                  <a:pos x="1277" y="2"/>
                </a:cxn>
                <a:cxn ang="0">
                  <a:pos x="1354" y="10"/>
                </a:cxn>
                <a:cxn ang="0">
                  <a:pos x="1516" y="34"/>
                </a:cxn>
                <a:cxn ang="0">
                  <a:pos x="1761" y="41"/>
                </a:cxn>
                <a:cxn ang="0">
                  <a:pos x="1287" y="540"/>
                </a:cxn>
                <a:cxn ang="0">
                  <a:pos x="1321" y="571"/>
                </a:cxn>
                <a:cxn ang="0">
                  <a:pos x="1327" y="601"/>
                </a:cxn>
                <a:cxn ang="0">
                  <a:pos x="1382" y="599"/>
                </a:cxn>
                <a:cxn ang="0">
                  <a:pos x="1429" y="577"/>
                </a:cxn>
                <a:cxn ang="0">
                  <a:pos x="1475" y="667"/>
                </a:cxn>
                <a:cxn ang="0">
                  <a:pos x="1462" y="706"/>
                </a:cxn>
                <a:cxn ang="0">
                  <a:pos x="1449" y="742"/>
                </a:cxn>
                <a:cxn ang="0">
                  <a:pos x="1477" y="783"/>
                </a:cxn>
                <a:cxn ang="0">
                  <a:pos x="1477" y="811"/>
                </a:cxn>
                <a:cxn ang="0">
                  <a:pos x="1426" y="848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827399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62239" y="2867844"/>
              <a:ext cx="1381125" cy="769938"/>
            </a:xfrm>
            <a:custGeom>
              <a:avLst/>
              <a:gdLst/>
              <a:ahLst/>
              <a:cxnLst>
                <a:cxn ang="0">
                  <a:pos x="2928" y="353"/>
                </a:cxn>
                <a:cxn ang="0">
                  <a:pos x="2896" y="440"/>
                </a:cxn>
                <a:cxn ang="0">
                  <a:pos x="2843" y="462"/>
                </a:cxn>
                <a:cxn ang="0">
                  <a:pos x="2667" y="566"/>
                </a:cxn>
                <a:cxn ang="0">
                  <a:pos x="2595" y="585"/>
                </a:cxn>
                <a:cxn ang="0">
                  <a:pos x="2570" y="677"/>
                </a:cxn>
                <a:cxn ang="0">
                  <a:pos x="2514" y="621"/>
                </a:cxn>
                <a:cxn ang="0">
                  <a:pos x="2499" y="690"/>
                </a:cxn>
                <a:cxn ang="0">
                  <a:pos x="2465" y="744"/>
                </a:cxn>
                <a:cxn ang="0">
                  <a:pos x="2471" y="823"/>
                </a:cxn>
                <a:cxn ang="0">
                  <a:pos x="2332" y="928"/>
                </a:cxn>
                <a:cxn ang="0">
                  <a:pos x="2165" y="1045"/>
                </a:cxn>
                <a:cxn ang="0">
                  <a:pos x="2112" y="1195"/>
                </a:cxn>
                <a:cxn ang="0">
                  <a:pos x="2103" y="1457"/>
                </a:cxn>
                <a:cxn ang="0">
                  <a:pos x="2026" y="1414"/>
                </a:cxn>
                <a:cxn ang="0">
                  <a:pos x="1993" y="1326"/>
                </a:cxn>
                <a:cxn ang="0">
                  <a:pos x="1959" y="1184"/>
                </a:cxn>
                <a:cxn ang="0">
                  <a:pos x="1832" y="1168"/>
                </a:cxn>
                <a:cxn ang="0">
                  <a:pos x="1653" y="1143"/>
                </a:cxn>
                <a:cxn ang="0">
                  <a:pos x="1616" y="1186"/>
                </a:cxn>
                <a:cxn ang="0">
                  <a:pos x="1548" y="1238"/>
                </a:cxn>
                <a:cxn ang="0">
                  <a:pos x="1436" y="1192"/>
                </a:cxn>
                <a:cxn ang="0">
                  <a:pos x="1231" y="1272"/>
                </a:cxn>
                <a:cxn ang="0">
                  <a:pos x="1160" y="1392"/>
                </a:cxn>
                <a:cxn ang="0">
                  <a:pos x="1080" y="1382"/>
                </a:cxn>
                <a:cxn ang="0">
                  <a:pos x="1037" y="1227"/>
                </a:cxn>
                <a:cxn ang="0">
                  <a:pos x="940" y="1190"/>
                </a:cxn>
                <a:cxn ang="0">
                  <a:pos x="867" y="1219"/>
                </a:cxn>
                <a:cxn ang="0">
                  <a:pos x="782" y="1087"/>
                </a:cxn>
                <a:cxn ang="0">
                  <a:pos x="670" y="1065"/>
                </a:cxn>
                <a:cxn ang="0">
                  <a:pos x="462" y="1065"/>
                </a:cxn>
                <a:cxn ang="0">
                  <a:pos x="220" y="1016"/>
                </a:cxn>
                <a:cxn ang="0">
                  <a:pos x="88" y="920"/>
                </a:cxn>
                <a:cxn ang="0">
                  <a:pos x="39" y="848"/>
                </a:cxn>
                <a:cxn ang="0">
                  <a:pos x="29" y="662"/>
                </a:cxn>
                <a:cxn ang="0">
                  <a:pos x="0" y="604"/>
                </a:cxn>
                <a:cxn ang="0">
                  <a:pos x="141" y="336"/>
                </a:cxn>
                <a:cxn ang="0">
                  <a:pos x="247" y="176"/>
                </a:cxn>
                <a:cxn ang="0">
                  <a:pos x="355" y="102"/>
                </a:cxn>
                <a:cxn ang="0">
                  <a:pos x="376" y="120"/>
                </a:cxn>
                <a:cxn ang="0">
                  <a:pos x="1827" y="0"/>
                </a:cxn>
                <a:cxn ang="0">
                  <a:pos x="1926" y="55"/>
                </a:cxn>
                <a:cxn ang="0">
                  <a:pos x="2015" y="69"/>
                </a:cxn>
                <a:cxn ang="0">
                  <a:pos x="1929" y="128"/>
                </a:cxn>
                <a:cxn ang="0">
                  <a:pos x="1977" y="166"/>
                </a:cxn>
                <a:cxn ang="0">
                  <a:pos x="2094" y="155"/>
                </a:cxn>
                <a:cxn ang="0">
                  <a:pos x="2284" y="193"/>
                </a:cxn>
                <a:cxn ang="0">
                  <a:pos x="2217" y="204"/>
                </a:cxn>
                <a:cxn ang="0">
                  <a:pos x="2087" y="264"/>
                </a:cxn>
                <a:cxn ang="0">
                  <a:pos x="2021" y="355"/>
                </a:cxn>
                <a:cxn ang="0">
                  <a:pos x="2012" y="451"/>
                </a:cxn>
                <a:cxn ang="0">
                  <a:pos x="2076" y="417"/>
                </a:cxn>
                <a:cxn ang="0">
                  <a:pos x="2205" y="252"/>
                </a:cxn>
                <a:cxn ang="0">
                  <a:pos x="2267" y="303"/>
                </a:cxn>
                <a:cxn ang="0">
                  <a:pos x="2299" y="394"/>
                </a:cxn>
                <a:cxn ang="0">
                  <a:pos x="2206" y="454"/>
                </a:cxn>
                <a:cxn ang="0">
                  <a:pos x="2317" y="457"/>
                </a:cxn>
                <a:cxn ang="0">
                  <a:pos x="2570" y="373"/>
                </a:cxn>
                <a:cxn ang="0">
                  <a:pos x="2730" y="252"/>
                </a:cxn>
                <a:cxn ang="0">
                  <a:pos x="3016" y="203"/>
                </a:cxn>
                <a:cxn ang="0">
                  <a:pos x="3136" y="118"/>
                </a:cxn>
                <a:cxn ang="0">
                  <a:pos x="3149" y="184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827399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495676" y="4418832"/>
              <a:ext cx="339725" cy="590550"/>
            </a:xfrm>
            <a:custGeom>
              <a:avLst/>
              <a:gdLst/>
              <a:ahLst/>
              <a:cxnLst>
                <a:cxn ang="0">
                  <a:pos x="583" y="277"/>
                </a:cxn>
                <a:cxn ang="0">
                  <a:pos x="549" y="295"/>
                </a:cxn>
                <a:cxn ang="0">
                  <a:pos x="484" y="387"/>
                </a:cxn>
                <a:cxn ang="0">
                  <a:pos x="465" y="457"/>
                </a:cxn>
                <a:cxn ang="0">
                  <a:pos x="481" y="522"/>
                </a:cxn>
                <a:cxn ang="0">
                  <a:pos x="530" y="591"/>
                </a:cxn>
                <a:cxn ang="0">
                  <a:pos x="579" y="616"/>
                </a:cxn>
                <a:cxn ang="0">
                  <a:pos x="625" y="600"/>
                </a:cxn>
                <a:cxn ang="0">
                  <a:pos x="654" y="653"/>
                </a:cxn>
                <a:cxn ang="0">
                  <a:pos x="672" y="683"/>
                </a:cxn>
                <a:cxn ang="0">
                  <a:pos x="714" y="687"/>
                </a:cxn>
                <a:cxn ang="0">
                  <a:pos x="749" y="712"/>
                </a:cxn>
                <a:cxn ang="0">
                  <a:pos x="770" y="756"/>
                </a:cxn>
                <a:cxn ang="0">
                  <a:pos x="761" y="790"/>
                </a:cxn>
                <a:cxn ang="0">
                  <a:pos x="760" y="825"/>
                </a:cxn>
                <a:cxn ang="0">
                  <a:pos x="772" y="882"/>
                </a:cxn>
                <a:cxn ang="0">
                  <a:pos x="758" y="932"/>
                </a:cxn>
                <a:cxn ang="0">
                  <a:pos x="770" y="994"/>
                </a:cxn>
                <a:cxn ang="0">
                  <a:pos x="763" y="1054"/>
                </a:cxn>
                <a:cxn ang="0">
                  <a:pos x="691" y="1122"/>
                </a:cxn>
                <a:cxn ang="0">
                  <a:pos x="648" y="1103"/>
                </a:cxn>
                <a:cxn ang="0">
                  <a:pos x="602" y="1056"/>
                </a:cxn>
                <a:cxn ang="0">
                  <a:pos x="463" y="998"/>
                </a:cxn>
                <a:cxn ang="0">
                  <a:pos x="425" y="967"/>
                </a:cxn>
                <a:cxn ang="0">
                  <a:pos x="331" y="894"/>
                </a:cxn>
                <a:cxn ang="0">
                  <a:pos x="318" y="867"/>
                </a:cxn>
                <a:cxn ang="0">
                  <a:pos x="328" y="815"/>
                </a:cxn>
                <a:cxn ang="0">
                  <a:pos x="290" y="778"/>
                </a:cxn>
                <a:cxn ang="0">
                  <a:pos x="259" y="745"/>
                </a:cxn>
                <a:cxn ang="0">
                  <a:pos x="243" y="689"/>
                </a:cxn>
                <a:cxn ang="0">
                  <a:pos x="153" y="530"/>
                </a:cxn>
                <a:cxn ang="0">
                  <a:pos x="120" y="487"/>
                </a:cxn>
                <a:cxn ang="0">
                  <a:pos x="90" y="432"/>
                </a:cxn>
                <a:cxn ang="0">
                  <a:pos x="22" y="397"/>
                </a:cxn>
                <a:cxn ang="0">
                  <a:pos x="0" y="363"/>
                </a:cxn>
                <a:cxn ang="0">
                  <a:pos x="13" y="276"/>
                </a:cxn>
                <a:cxn ang="0">
                  <a:pos x="28" y="246"/>
                </a:cxn>
                <a:cxn ang="0">
                  <a:pos x="72" y="222"/>
                </a:cxn>
                <a:cxn ang="0">
                  <a:pos x="95" y="272"/>
                </a:cxn>
                <a:cxn ang="0">
                  <a:pos x="158" y="307"/>
                </a:cxn>
                <a:cxn ang="0">
                  <a:pos x="184" y="271"/>
                </a:cxn>
                <a:cxn ang="0">
                  <a:pos x="201" y="225"/>
                </a:cxn>
                <a:cxn ang="0">
                  <a:pos x="270" y="170"/>
                </a:cxn>
                <a:cxn ang="0">
                  <a:pos x="344" y="120"/>
                </a:cxn>
                <a:cxn ang="0">
                  <a:pos x="357" y="70"/>
                </a:cxn>
                <a:cxn ang="0">
                  <a:pos x="347" y="5"/>
                </a:cxn>
                <a:cxn ang="0">
                  <a:pos x="422" y="53"/>
                </a:cxn>
                <a:cxn ang="0">
                  <a:pos x="467" y="107"/>
                </a:cxn>
                <a:cxn ang="0">
                  <a:pos x="506" y="154"/>
                </a:cxn>
                <a:cxn ang="0">
                  <a:pos x="561" y="157"/>
                </a:cxn>
                <a:cxn ang="0">
                  <a:pos x="617" y="149"/>
                </a:cxn>
                <a:cxn ang="0">
                  <a:pos x="640" y="156"/>
                </a:cxn>
                <a:cxn ang="0">
                  <a:pos x="654" y="193"/>
                </a:cxn>
                <a:cxn ang="0">
                  <a:pos x="627" y="210"/>
                </a:cxn>
                <a:cxn ang="0">
                  <a:pos x="627" y="240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95714" y="4982394"/>
              <a:ext cx="261937" cy="1130300"/>
            </a:xfrm>
            <a:custGeom>
              <a:avLst/>
              <a:gdLst/>
              <a:ahLst/>
              <a:cxnLst>
                <a:cxn ang="0">
                  <a:pos x="418" y="2021"/>
                </a:cxn>
                <a:cxn ang="0">
                  <a:pos x="342" y="1955"/>
                </a:cxn>
                <a:cxn ang="0">
                  <a:pos x="339" y="1893"/>
                </a:cxn>
                <a:cxn ang="0">
                  <a:pos x="345" y="1843"/>
                </a:cxn>
                <a:cxn ang="0">
                  <a:pos x="362" y="1791"/>
                </a:cxn>
                <a:cxn ang="0">
                  <a:pos x="354" y="1740"/>
                </a:cxn>
                <a:cxn ang="0">
                  <a:pos x="332" y="1683"/>
                </a:cxn>
                <a:cxn ang="0">
                  <a:pos x="303" y="1581"/>
                </a:cxn>
                <a:cxn ang="0">
                  <a:pos x="226" y="1460"/>
                </a:cxn>
                <a:cxn ang="0">
                  <a:pos x="206" y="1381"/>
                </a:cxn>
                <a:cxn ang="0">
                  <a:pos x="217" y="1299"/>
                </a:cxn>
                <a:cxn ang="0">
                  <a:pos x="208" y="1235"/>
                </a:cxn>
                <a:cxn ang="0">
                  <a:pos x="185" y="1165"/>
                </a:cxn>
                <a:cxn ang="0">
                  <a:pos x="211" y="1123"/>
                </a:cxn>
                <a:cxn ang="0">
                  <a:pos x="195" y="1082"/>
                </a:cxn>
                <a:cxn ang="0">
                  <a:pos x="211" y="1025"/>
                </a:cxn>
                <a:cxn ang="0">
                  <a:pos x="210" y="993"/>
                </a:cxn>
                <a:cxn ang="0">
                  <a:pos x="187" y="927"/>
                </a:cxn>
                <a:cxn ang="0">
                  <a:pos x="136" y="852"/>
                </a:cxn>
                <a:cxn ang="0">
                  <a:pos x="134" y="686"/>
                </a:cxn>
                <a:cxn ang="0">
                  <a:pos x="183" y="584"/>
                </a:cxn>
                <a:cxn ang="0">
                  <a:pos x="189" y="522"/>
                </a:cxn>
                <a:cxn ang="0">
                  <a:pos x="160" y="459"/>
                </a:cxn>
                <a:cxn ang="0">
                  <a:pos x="182" y="406"/>
                </a:cxn>
                <a:cxn ang="0">
                  <a:pos x="229" y="346"/>
                </a:cxn>
                <a:cxn ang="0">
                  <a:pos x="200" y="308"/>
                </a:cxn>
                <a:cxn ang="0">
                  <a:pos x="148" y="222"/>
                </a:cxn>
                <a:cxn ang="0">
                  <a:pos x="129" y="125"/>
                </a:cxn>
                <a:cxn ang="0">
                  <a:pos x="91" y="37"/>
                </a:cxn>
                <a:cxn ang="0">
                  <a:pos x="0" y="44"/>
                </a:cxn>
                <a:cxn ang="0">
                  <a:pos x="31" y="200"/>
                </a:cxn>
                <a:cxn ang="0">
                  <a:pos x="42" y="304"/>
                </a:cxn>
                <a:cxn ang="0">
                  <a:pos x="27" y="374"/>
                </a:cxn>
                <a:cxn ang="0">
                  <a:pos x="52" y="524"/>
                </a:cxn>
                <a:cxn ang="0">
                  <a:pos x="46" y="649"/>
                </a:cxn>
                <a:cxn ang="0">
                  <a:pos x="36" y="718"/>
                </a:cxn>
                <a:cxn ang="0">
                  <a:pos x="52" y="767"/>
                </a:cxn>
                <a:cxn ang="0">
                  <a:pos x="64" y="871"/>
                </a:cxn>
                <a:cxn ang="0">
                  <a:pos x="81" y="913"/>
                </a:cxn>
                <a:cxn ang="0">
                  <a:pos x="73" y="1045"/>
                </a:cxn>
                <a:cxn ang="0">
                  <a:pos x="63" y="1152"/>
                </a:cxn>
                <a:cxn ang="0">
                  <a:pos x="40" y="1188"/>
                </a:cxn>
                <a:cxn ang="0">
                  <a:pos x="60" y="1258"/>
                </a:cxn>
                <a:cxn ang="0">
                  <a:pos x="106" y="1343"/>
                </a:cxn>
                <a:cxn ang="0">
                  <a:pos x="93" y="1396"/>
                </a:cxn>
                <a:cxn ang="0">
                  <a:pos x="106" y="1449"/>
                </a:cxn>
                <a:cxn ang="0">
                  <a:pos x="164" y="1467"/>
                </a:cxn>
                <a:cxn ang="0">
                  <a:pos x="209" y="1621"/>
                </a:cxn>
                <a:cxn ang="0">
                  <a:pos x="227" y="1709"/>
                </a:cxn>
                <a:cxn ang="0">
                  <a:pos x="151" y="1749"/>
                </a:cxn>
                <a:cxn ang="0">
                  <a:pos x="207" y="1776"/>
                </a:cxn>
                <a:cxn ang="0">
                  <a:pos x="250" y="1820"/>
                </a:cxn>
                <a:cxn ang="0">
                  <a:pos x="275" y="1871"/>
                </a:cxn>
                <a:cxn ang="0">
                  <a:pos x="308" y="1961"/>
                </a:cxn>
                <a:cxn ang="0">
                  <a:pos x="359" y="2013"/>
                </a:cxn>
                <a:cxn ang="0">
                  <a:pos x="393" y="2048"/>
                </a:cxn>
                <a:cxn ang="0">
                  <a:pos x="424" y="2074"/>
                </a:cxn>
                <a:cxn ang="0">
                  <a:pos x="465" y="2110"/>
                </a:cxn>
                <a:cxn ang="0">
                  <a:pos x="519" y="2140"/>
                </a:cxn>
                <a:cxn ang="0">
                  <a:pos x="538" y="2151"/>
                </a:cxn>
                <a:cxn ang="0">
                  <a:pos x="586" y="2098"/>
                </a:cxn>
                <a:cxn ang="0">
                  <a:pos x="591" y="2071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700464" y="4264845"/>
              <a:ext cx="966787" cy="1203325"/>
            </a:xfrm>
            <a:custGeom>
              <a:avLst/>
              <a:gdLst/>
              <a:ahLst/>
              <a:cxnLst>
                <a:cxn ang="0">
                  <a:pos x="440" y="896"/>
                </a:cxn>
                <a:cxn ang="0">
                  <a:pos x="505" y="985"/>
                </a:cxn>
                <a:cxn ang="0">
                  <a:pos x="572" y="1054"/>
                </a:cxn>
                <a:cxn ang="0">
                  <a:pos x="716" y="1098"/>
                </a:cxn>
                <a:cxn ang="0">
                  <a:pos x="798" y="1204"/>
                </a:cxn>
                <a:cxn ang="0">
                  <a:pos x="846" y="1292"/>
                </a:cxn>
                <a:cxn ang="0">
                  <a:pos x="939" y="1355"/>
                </a:cxn>
                <a:cxn ang="0">
                  <a:pos x="957" y="1466"/>
                </a:cxn>
                <a:cxn ang="0">
                  <a:pos x="976" y="1541"/>
                </a:cxn>
                <a:cxn ang="0">
                  <a:pos x="992" y="1632"/>
                </a:cxn>
                <a:cxn ang="0">
                  <a:pos x="1131" y="1698"/>
                </a:cxn>
                <a:cxn ang="0">
                  <a:pos x="1193" y="1805"/>
                </a:cxn>
                <a:cxn ang="0">
                  <a:pos x="1243" y="1864"/>
                </a:cxn>
                <a:cxn ang="0">
                  <a:pos x="1183" y="2003"/>
                </a:cxn>
                <a:cxn ang="0">
                  <a:pos x="1084" y="2128"/>
                </a:cxn>
                <a:cxn ang="0">
                  <a:pos x="1180" y="2161"/>
                </a:cxn>
                <a:cxn ang="0">
                  <a:pos x="1296" y="2234"/>
                </a:cxn>
                <a:cxn ang="0">
                  <a:pos x="1419" y="2198"/>
                </a:cxn>
                <a:cxn ang="0">
                  <a:pos x="1518" y="2036"/>
                </a:cxn>
                <a:cxn ang="0">
                  <a:pos x="1512" y="1918"/>
                </a:cxn>
                <a:cxn ang="0">
                  <a:pos x="1561" y="1793"/>
                </a:cxn>
                <a:cxn ang="0">
                  <a:pos x="1706" y="1727"/>
                </a:cxn>
                <a:cxn ang="0">
                  <a:pos x="1798" y="1681"/>
                </a:cxn>
                <a:cxn ang="0">
                  <a:pos x="1897" y="1641"/>
                </a:cxn>
                <a:cxn ang="0">
                  <a:pos x="1982" y="1400"/>
                </a:cxn>
                <a:cxn ang="0">
                  <a:pos x="2014" y="1288"/>
                </a:cxn>
                <a:cxn ang="0">
                  <a:pos x="2002" y="1090"/>
                </a:cxn>
                <a:cxn ang="0">
                  <a:pos x="2073" y="1009"/>
                </a:cxn>
                <a:cxn ang="0">
                  <a:pos x="2190" y="877"/>
                </a:cxn>
                <a:cxn ang="0">
                  <a:pos x="2222" y="732"/>
                </a:cxn>
                <a:cxn ang="0">
                  <a:pos x="2157" y="599"/>
                </a:cxn>
                <a:cxn ang="0">
                  <a:pos x="2059" y="563"/>
                </a:cxn>
                <a:cxn ang="0">
                  <a:pos x="1921" y="462"/>
                </a:cxn>
                <a:cxn ang="0">
                  <a:pos x="1742" y="450"/>
                </a:cxn>
                <a:cxn ang="0">
                  <a:pos x="1670" y="447"/>
                </a:cxn>
                <a:cxn ang="0">
                  <a:pos x="1636" y="394"/>
                </a:cxn>
                <a:cxn ang="0">
                  <a:pos x="1512" y="348"/>
                </a:cxn>
                <a:cxn ang="0">
                  <a:pos x="1411" y="409"/>
                </a:cxn>
                <a:cxn ang="0">
                  <a:pos x="1338" y="405"/>
                </a:cxn>
                <a:cxn ang="0">
                  <a:pos x="1247" y="384"/>
                </a:cxn>
                <a:cxn ang="0">
                  <a:pos x="1317" y="268"/>
                </a:cxn>
                <a:cxn ang="0">
                  <a:pos x="1338" y="184"/>
                </a:cxn>
                <a:cxn ang="0">
                  <a:pos x="1291" y="68"/>
                </a:cxn>
                <a:cxn ang="0">
                  <a:pos x="1124" y="135"/>
                </a:cxn>
                <a:cxn ang="0">
                  <a:pos x="1003" y="170"/>
                </a:cxn>
                <a:cxn ang="0">
                  <a:pos x="960" y="187"/>
                </a:cxn>
                <a:cxn ang="0">
                  <a:pos x="812" y="176"/>
                </a:cxn>
                <a:cxn ang="0">
                  <a:pos x="811" y="67"/>
                </a:cxn>
                <a:cxn ang="0">
                  <a:pos x="745" y="0"/>
                </a:cxn>
                <a:cxn ang="0">
                  <a:pos x="700" y="31"/>
                </a:cxn>
                <a:cxn ang="0">
                  <a:pos x="589" y="70"/>
                </a:cxn>
                <a:cxn ang="0">
                  <a:pos x="560" y="198"/>
                </a:cxn>
                <a:cxn ang="0">
                  <a:pos x="453" y="258"/>
                </a:cxn>
                <a:cxn ang="0">
                  <a:pos x="286" y="197"/>
                </a:cxn>
                <a:cxn ang="0">
                  <a:pos x="253" y="240"/>
                </a:cxn>
                <a:cxn ang="0">
                  <a:pos x="198" y="311"/>
                </a:cxn>
                <a:cxn ang="0">
                  <a:pos x="246" y="388"/>
                </a:cxn>
                <a:cxn ang="0">
                  <a:pos x="194" y="560"/>
                </a:cxn>
                <a:cxn ang="0">
                  <a:pos x="100" y="567"/>
                </a:cxn>
                <a:cxn ang="0">
                  <a:pos x="16" y="687"/>
                </a:cxn>
                <a:cxn ang="0">
                  <a:pos x="22" y="824"/>
                </a:cxn>
                <a:cxn ang="0">
                  <a:pos x="120" y="905"/>
                </a:cxn>
                <a:cxn ang="0">
                  <a:pos x="191" y="949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813425" y="3210745"/>
              <a:ext cx="69850" cy="49213"/>
            </a:xfrm>
            <a:custGeom>
              <a:avLst/>
              <a:gdLst/>
              <a:ahLst/>
              <a:cxnLst>
                <a:cxn ang="0">
                  <a:pos x="94" y="0"/>
                </a:cxn>
                <a:cxn ang="0">
                  <a:pos x="107" y="18"/>
                </a:cxn>
                <a:cxn ang="0">
                  <a:pos x="112" y="12"/>
                </a:cxn>
                <a:cxn ang="0">
                  <a:pos x="117" y="8"/>
                </a:cxn>
                <a:cxn ang="0">
                  <a:pos x="122" y="5"/>
                </a:cxn>
                <a:cxn ang="0">
                  <a:pos x="127" y="3"/>
                </a:cxn>
                <a:cxn ang="0">
                  <a:pos x="137" y="1"/>
                </a:cxn>
                <a:cxn ang="0">
                  <a:pos x="148" y="0"/>
                </a:cxn>
                <a:cxn ang="0">
                  <a:pos x="151" y="0"/>
                </a:cxn>
                <a:cxn ang="0">
                  <a:pos x="161" y="0"/>
                </a:cxn>
                <a:cxn ang="0">
                  <a:pos x="161" y="92"/>
                </a:cxn>
                <a:cxn ang="0">
                  <a:pos x="155" y="93"/>
                </a:cxn>
                <a:cxn ang="0">
                  <a:pos x="150" y="93"/>
                </a:cxn>
                <a:cxn ang="0">
                  <a:pos x="145" y="92"/>
                </a:cxn>
                <a:cxn ang="0">
                  <a:pos x="140" y="91"/>
                </a:cxn>
                <a:cxn ang="0">
                  <a:pos x="129" y="88"/>
                </a:cxn>
                <a:cxn ang="0">
                  <a:pos x="120" y="82"/>
                </a:cxn>
                <a:cxn ang="0">
                  <a:pos x="111" y="75"/>
                </a:cxn>
                <a:cxn ang="0">
                  <a:pos x="104" y="67"/>
                </a:cxn>
                <a:cxn ang="0">
                  <a:pos x="97" y="59"/>
                </a:cxn>
                <a:cxn ang="0">
                  <a:pos x="94" y="49"/>
                </a:cxn>
                <a:cxn ang="0">
                  <a:pos x="92" y="50"/>
                </a:cxn>
                <a:cxn ang="0">
                  <a:pos x="89" y="51"/>
                </a:cxn>
                <a:cxn ang="0">
                  <a:pos x="86" y="51"/>
                </a:cxn>
                <a:cxn ang="0">
                  <a:pos x="84" y="51"/>
                </a:cxn>
                <a:cxn ang="0">
                  <a:pos x="78" y="50"/>
                </a:cxn>
                <a:cxn ang="0">
                  <a:pos x="74" y="49"/>
                </a:cxn>
                <a:cxn ang="0">
                  <a:pos x="65" y="48"/>
                </a:cxn>
                <a:cxn ang="0">
                  <a:pos x="55" y="45"/>
                </a:cxn>
                <a:cxn ang="0">
                  <a:pos x="44" y="40"/>
                </a:cxn>
                <a:cxn ang="0">
                  <a:pos x="32" y="34"/>
                </a:cxn>
                <a:cxn ang="0">
                  <a:pos x="21" y="26"/>
                </a:cxn>
                <a:cxn ang="0">
                  <a:pos x="12" y="18"/>
                </a:cxn>
                <a:cxn ang="0">
                  <a:pos x="8" y="14"/>
                </a:cxn>
                <a:cxn ang="0">
                  <a:pos x="5" y="9"/>
                </a:cxn>
                <a:cxn ang="0">
                  <a:pos x="3" y="5"/>
                </a:cxn>
                <a:cxn ang="0">
                  <a:pos x="0" y="0"/>
                </a:cxn>
                <a:cxn ang="0">
                  <a:pos x="94" y="0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311775" y="3085333"/>
              <a:ext cx="82550" cy="160337"/>
            </a:xfrm>
            <a:custGeom>
              <a:avLst/>
              <a:gdLst/>
              <a:ahLst/>
              <a:cxnLst>
                <a:cxn ang="0">
                  <a:pos x="38" y="3"/>
                </a:cxn>
                <a:cxn ang="0">
                  <a:pos x="37" y="0"/>
                </a:cxn>
                <a:cxn ang="0">
                  <a:pos x="57" y="3"/>
                </a:cxn>
                <a:cxn ang="0">
                  <a:pos x="110" y="14"/>
                </a:cxn>
                <a:cxn ang="0">
                  <a:pos x="155" y="25"/>
                </a:cxn>
                <a:cxn ang="0">
                  <a:pos x="181" y="28"/>
                </a:cxn>
                <a:cxn ang="0">
                  <a:pos x="192" y="35"/>
                </a:cxn>
                <a:cxn ang="0">
                  <a:pos x="188" y="47"/>
                </a:cxn>
                <a:cxn ang="0">
                  <a:pos x="175" y="82"/>
                </a:cxn>
                <a:cxn ang="0">
                  <a:pos x="158" y="127"/>
                </a:cxn>
                <a:cxn ang="0">
                  <a:pos x="147" y="165"/>
                </a:cxn>
                <a:cxn ang="0">
                  <a:pos x="146" y="207"/>
                </a:cxn>
                <a:cxn ang="0">
                  <a:pos x="144" y="249"/>
                </a:cxn>
                <a:cxn ang="0">
                  <a:pos x="134" y="277"/>
                </a:cxn>
                <a:cxn ang="0">
                  <a:pos x="106" y="296"/>
                </a:cxn>
                <a:cxn ang="0">
                  <a:pos x="83" y="303"/>
                </a:cxn>
                <a:cxn ang="0">
                  <a:pos x="72" y="307"/>
                </a:cxn>
                <a:cxn ang="0">
                  <a:pos x="52" y="305"/>
                </a:cxn>
                <a:cxn ang="0">
                  <a:pos x="32" y="291"/>
                </a:cxn>
                <a:cxn ang="0">
                  <a:pos x="30" y="277"/>
                </a:cxn>
                <a:cxn ang="0">
                  <a:pos x="22" y="257"/>
                </a:cxn>
                <a:cxn ang="0">
                  <a:pos x="10" y="231"/>
                </a:cxn>
                <a:cxn ang="0">
                  <a:pos x="2" y="211"/>
                </a:cxn>
                <a:cxn ang="0">
                  <a:pos x="0" y="197"/>
                </a:cxn>
                <a:cxn ang="0">
                  <a:pos x="0" y="180"/>
                </a:cxn>
                <a:cxn ang="0">
                  <a:pos x="2" y="165"/>
                </a:cxn>
                <a:cxn ang="0">
                  <a:pos x="11" y="145"/>
                </a:cxn>
                <a:cxn ang="0">
                  <a:pos x="33" y="109"/>
                </a:cxn>
                <a:cxn ang="0">
                  <a:pos x="48" y="81"/>
                </a:cxn>
                <a:cxn ang="0">
                  <a:pos x="52" y="62"/>
                </a:cxn>
                <a:cxn ang="0">
                  <a:pos x="53" y="41"/>
                </a:cxn>
                <a:cxn ang="0">
                  <a:pos x="55" y="30"/>
                </a:cxn>
                <a:cxn ang="0">
                  <a:pos x="57" y="26"/>
                </a:cxn>
                <a:cxn ang="0">
                  <a:pos x="60" y="22"/>
                </a:cxn>
                <a:cxn ang="0">
                  <a:pos x="44" y="7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392738" y="2570983"/>
              <a:ext cx="171450" cy="269875"/>
            </a:xfrm>
            <a:custGeom>
              <a:avLst/>
              <a:gdLst/>
              <a:ahLst/>
              <a:cxnLst>
                <a:cxn ang="0">
                  <a:pos x="26" y="2"/>
                </a:cxn>
                <a:cxn ang="0">
                  <a:pos x="95" y="13"/>
                </a:cxn>
                <a:cxn ang="0">
                  <a:pos x="116" y="23"/>
                </a:cxn>
                <a:cxn ang="0">
                  <a:pos x="80" y="47"/>
                </a:cxn>
                <a:cxn ang="0">
                  <a:pos x="64" y="62"/>
                </a:cxn>
                <a:cxn ang="0">
                  <a:pos x="77" y="69"/>
                </a:cxn>
                <a:cxn ang="0">
                  <a:pos x="167" y="79"/>
                </a:cxn>
                <a:cxn ang="0">
                  <a:pos x="210" y="109"/>
                </a:cxn>
                <a:cxn ang="0">
                  <a:pos x="154" y="127"/>
                </a:cxn>
                <a:cxn ang="0">
                  <a:pos x="147" y="138"/>
                </a:cxn>
                <a:cxn ang="0">
                  <a:pos x="191" y="143"/>
                </a:cxn>
                <a:cxn ang="0">
                  <a:pos x="211" y="156"/>
                </a:cxn>
                <a:cxn ang="0">
                  <a:pos x="243" y="191"/>
                </a:cxn>
                <a:cxn ang="0">
                  <a:pos x="258" y="212"/>
                </a:cxn>
                <a:cxn ang="0">
                  <a:pos x="260" y="237"/>
                </a:cxn>
                <a:cxn ang="0">
                  <a:pos x="272" y="254"/>
                </a:cxn>
                <a:cxn ang="0">
                  <a:pos x="286" y="279"/>
                </a:cxn>
                <a:cxn ang="0">
                  <a:pos x="306" y="297"/>
                </a:cxn>
                <a:cxn ang="0">
                  <a:pos x="327" y="320"/>
                </a:cxn>
                <a:cxn ang="0">
                  <a:pos x="346" y="337"/>
                </a:cxn>
                <a:cxn ang="0">
                  <a:pos x="370" y="341"/>
                </a:cxn>
                <a:cxn ang="0">
                  <a:pos x="396" y="365"/>
                </a:cxn>
                <a:cxn ang="0">
                  <a:pos x="395" y="395"/>
                </a:cxn>
                <a:cxn ang="0">
                  <a:pos x="382" y="404"/>
                </a:cxn>
                <a:cxn ang="0">
                  <a:pos x="367" y="415"/>
                </a:cxn>
                <a:cxn ang="0">
                  <a:pos x="368" y="426"/>
                </a:cxn>
                <a:cxn ang="0">
                  <a:pos x="376" y="443"/>
                </a:cxn>
                <a:cxn ang="0">
                  <a:pos x="359" y="463"/>
                </a:cxn>
                <a:cxn ang="0">
                  <a:pos x="146" y="500"/>
                </a:cxn>
                <a:cxn ang="0">
                  <a:pos x="68" y="508"/>
                </a:cxn>
                <a:cxn ang="0">
                  <a:pos x="53" y="518"/>
                </a:cxn>
                <a:cxn ang="0">
                  <a:pos x="58" y="493"/>
                </a:cxn>
                <a:cxn ang="0">
                  <a:pos x="71" y="476"/>
                </a:cxn>
                <a:cxn ang="0">
                  <a:pos x="114" y="458"/>
                </a:cxn>
                <a:cxn ang="0">
                  <a:pos x="172" y="439"/>
                </a:cxn>
                <a:cxn ang="0">
                  <a:pos x="179" y="426"/>
                </a:cxn>
                <a:cxn ang="0">
                  <a:pos x="171" y="434"/>
                </a:cxn>
                <a:cxn ang="0">
                  <a:pos x="111" y="432"/>
                </a:cxn>
                <a:cxn ang="0">
                  <a:pos x="76" y="420"/>
                </a:cxn>
                <a:cxn ang="0">
                  <a:pos x="77" y="402"/>
                </a:cxn>
                <a:cxn ang="0">
                  <a:pos x="95" y="391"/>
                </a:cxn>
                <a:cxn ang="0">
                  <a:pos x="87" y="352"/>
                </a:cxn>
                <a:cxn ang="0">
                  <a:pos x="105" y="329"/>
                </a:cxn>
                <a:cxn ang="0">
                  <a:pos x="154" y="309"/>
                </a:cxn>
                <a:cxn ang="0">
                  <a:pos x="172" y="291"/>
                </a:cxn>
                <a:cxn ang="0">
                  <a:pos x="148" y="271"/>
                </a:cxn>
                <a:cxn ang="0">
                  <a:pos x="139" y="247"/>
                </a:cxn>
                <a:cxn ang="0">
                  <a:pos x="94" y="239"/>
                </a:cxn>
                <a:cxn ang="0">
                  <a:pos x="80" y="216"/>
                </a:cxn>
                <a:cxn ang="0">
                  <a:pos x="90" y="192"/>
                </a:cxn>
                <a:cxn ang="0">
                  <a:pos x="100" y="168"/>
                </a:cxn>
                <a:cxn ang="0">
                  <a:pos x="73" y="186"/>
                </a:cxn>
                <a:cxn ang="0">
                  <a:pos x="22" y="162"/>
                </a:cxn>
                <a:cxn ang="0">
                  <a:pos x="20" y="142"/>
                </a:cxn>
                <a:cxn ang="0">
                  <a:pos x="14" y="131"/>
                </a:cxn>
                <a:cxn ang="0">
                  <a:pos x="20" y="63"/>
                </a:cxn>
                <a:cxn ang="0">
                  <a:pos x="19" y="49"/>
                </a:cxn>
                <a:cxn ang="0">
                  <a:pos x="4" y="40"/>
                </a:cxn>
                <a:cxn ang="0">
                  <a:pos x="20" y="19"/>
                </a:cxn>
                <a:cxn ang="0">
                  <a:pos x="3" y="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827399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751513" y="2874194"/>
              <a:ext cx="169862" cy="76200"/>
            </a:xfrm>
            <a:custGeom>
              <a:avLst/>
              <a:gdLst/>
              <a:ahLst/>
              <a:cxnLst>
                <a:cxn ang="0">
                  <a:pos x="190" y="21"/>
                </a:cxn>
                <a:cxn ang="0">
                  <a:pos x="177" y="31"/>
                </a:cxn>
                <a:cxn ang="0">
                  <a:pos x="174" y="45"/>
                </a:cxn>
                <a:cxn ang="0">
                  <a:pos x="168" y="53"/>
                </a:cxn>
                <a:cxn ang="0">
                  <a:pos x="166" y="61"/>
                </a:cxn>
                <a:cxn ang="0">
                  <a:pos x="177" y="74"/>
                </a:cxn>
                <a:cxn ang="0">
                  <a:pos x="155" y="86"/>
                </a:cxn>
                <a:cxn ang="0">
                  <a:pos x="108" y="96"/>
                </a:cxn>
                <a:cxn ang="0">
                  <a:pos x="77" y="97"/>
                </a:cxn>
                <a:cxn ang="0">
                  <a:pos x="52" y="95"/>
                </a:cxn>
                <a:cxn ang="0">
                  <a:pos x="4" y="111"/>
                </a:cxn>
                <a:cxn ang="0">
                  <a:pos x="0" y="129"/>
                </a:cxn>
                <a:cxn ang="0">
                  <a:pos x="4" y="131"/>
                </a:cxn>
                <a:cxn ang="0">
                  <a:pos x="12" y="131"/>
                </a:cxn>
                <a:cxn ang="0">
                  <a:pos x="51" y="129"/>
                </a:cxn>
                <a:cxn ang="0">
                  <a:pos x="114" y="127"/>
                </a:cxn>
                <a:cxn ang="0">
                  <a:pos x="123" y="134"/>
                </a:cxn>
                <a:cxn ang="0">
                  <a:pos x="137" y="141"/>
                </a:cxn>
                <a:cxn ang="0">
                  <a:pos x="159" y="147"/>
                </a:cxn>
                <a:cxn ang="0">
                  <a:pos x="185" y="148"/>
                </a:cxn>
                <a:cxn ang="0">
                  <a:pos x="210" y="148"/>
                </a:cxn>
                <a:cxn ang="0">
                  <a:pos x="233" y="148"/>
                </a:cxn>
                <a:cxn ang="0">
                  <a:pos x="255" y="148"/>
                </a:cxn>
                <a:cxn ang="0">
                  <a:pos x="275" y="143"/>
                </a:cxn>
                <a:cxn ang="0">
                  <a:pos x="301" y="134"/>
                </a:cxn>
                <a:cxn ang="0">
                  <a:pos x="334" y="121"/>
                </a:cxn>
                <a:cxn ang="0">
                  <a:pos x="353" y="103"/>
                </a:cxn>
                <a:cxn ang="0">
                  <a:pos x="372" y="72"/>
                </a:cxn>
                <a:cxn ang="0">
                  <a:pos x="376" y="52"/>
                </a:cxn>
                <a:cxn ang="0">
                  <a:pos x="363" y="44"/>
                </a:cxn>
                <a:cxn ang="0">
                  <a:pos x="357" y="32"/>
                </a:cxn>
                <a:cxn ang="0">
                  <a:pos x="347" y="22"/>
                </a:cxn>
                <a:cxn ang="0">
                  <a:pos x="334" y="17"/>
                </a:cxn>
                <a:cxn ang="0">
                  <a:pos x="319" y="8"/>
                </a:cxn>
                <a:cxn ang="0">
                  <a:pos x="203" y="18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243763" y="2723383"/>
              <a:ext cx="1281112" cy="1038225"/>
            </a:xfrm>
            <a:custGeom>
              <a:avLst/>
              <a:gdLst/>
              <a:ahLst/>
              <a:cxnLst>
                <a:cxn ang="0">
                  <a:pos x="373" y="1071"/>
                </a:cxn>
                <a:cxn ang="0">
                  <a:pos x="385" y="1182"/>
                </a:cxn>
                <a:cxn ang="0">
                  <a:pos x="478" y="1358"/>
                </a:cxn>
                <a:cxn ang="0">
                  <a:pos x="768" y="1492"/>
                </a:cxn>
                <a:cxn ang="0">
                  <a:pos x="1036" y="1552"/>
                </a:cxn>
                <a:cxn ang="0">
                  <a:pos x="1124" y="1529"/>
                </a:cxn>
                <a:cxn ang="0">
                  <a:pos x="1401" y="1448"/>
                </a:cxn>
                <a:cxn ang="0">
                  <a:pos x="1547" y="1542"/>
                </a:cxn>
                <a:cxn ang="0">
                  <a:pos x="1577" y="1697"/>
                </a:cxn>
                <a:cxn ang="0">
                  <a:pos x="1607" y="1773"/>
                </a:cxn>
                <a:cxn ang="0">
                  <a:pos x="1706" y="1912"/>
                </a:cxn>
                <a:cxn ang="0">
                  <a:pos x="1842" y="1859"/>
                </a:cxn>
                <a:cxn ang="0">
                  <a:pos x="2072" y="1854"/>
                </a:cxn>
                <a:cxn ang="0">
                  <a:pos x="2265" y="1983"/>
                </a:cxn>
                <a:cxn ang="0">
                  <a:pos x="2357" y="1910"/>
                </a:cxn>
                <a:cxn ang="0">
                  <a:pos x="2457" y="1866"/>
                </a:cxn>
                <a:cxn ang="0">
                  <a:pos x="2546" y="1826"/>
                </a:cxn>
                <a:cxn ang="0">
                  <a:pos x="2683" y="1732"/>
                </a:cxn>
                <a:cxn ang="0">
                  <a:pos x="2719" y="1616"/>
                </a:cxn>
                <a:cxn ang="0">
                  <a:pos x="2794" y="1420"/>
                </a:cxn>
                <a:cxn ang="0">
                  <a:pos x="2705" y="1375"/>
                </a:cxn>
                <a:cxn ang="0">
                  <a:pos x="2640" y="1273"/>
                </a:cxn>
                <a:cxn ang="0">
                  <a:pos x="2669" y="1227"/>
                </a:cxn>
                <a:cxn ang="0">
                  <a:pos x="2532" y="1061"/>
                </a:cxn>
                <a:cxn ang="0">
                  <a:pos x="2583" y="993"/>
                </a:cxn>
                <a:cxn ang="0">
                  <a:pos x="2453" y="962"/>
                </a:cxn>
                <a:cxn ang="0">
                  <a:pos x="2333" y="887"/>
                </a:cxn>
                <a:cxn ang="0">
                  <a:pos x="2368" y="836"/>
                </a:cxn>
                <a:cxn ang="0">
                  <a:pos x="2443" y="756"/>
                </a:cxn>
                <a:cxn ang="0">
                  <a:pos x="2496" y="780"/>
                </a:cxn>
                <a:cxn ang="0">
                  <a:pos x="2532" y="853"/>
                </a:cxn>
                <a:cxn ang="0">
                  <a:pos x="2689" y="763"/>
                </a:cxn>
                <a:cxn ang="0">
                  <a:pos x="2828" y="673"/>
                </a:cxn>
                <a:cxn ang="0">
                  <a:pos x="2886" y="564"/>
                </a:cxn>
                <a:cxn ang="0">
                  <a:pos x="2928" y="494"/>
                </a:cxn>
                <a:cxn ang="0">
                  <a:pos x="2893" y="307"/>
                </a:cxn>
                <a:cxn ang="0">
                  <a:pos x="2722" y="341"/>
                </a:cxn>
                <a:cxn ang="0">
                  <a:pos x="2461" y="205"/>
                </a:cxn>
                <a:cxn ang="0">
                  <a:pos x="2300" y="89"/>
                </a:cxn>
                <a:cxn ang="0">
                  <a:pos x="1980" y="53"/>
                </a:cxn>
                <a:cxn ang="0">
                  <a:pos x="2007" y="155"/>
                </a:cxn>
                <a:cxn ang="0">
                  <a:pos x="1952" y="227"/>
                </a:cxn>
                <a:cxn ang="0">
                  <a:pos x="2025" y="350"/>
                </a:cxn>
                <a:cxn ang="0">
                  <a:pos x="2146" y="370"/>
                </a:cxn>
                <a:cxn ang="0">
                  <a:pos x="2041" y="455"/>
                </a:cxn>
                <a:cxn ang="0">
                  <a:pos x="1891" y="570"/>
                </a:cxn>
                <a:cxn ang="0">
                  <a:pos x="1630" y="713"/>
                </a:cxn>
                <a:cxn ang="0">
                  <a:pos x="1228" y="659"/>
                </a:cxn>
                <a:cxn ang="0">
                  <a:pos x="1036" y="560"/>
                </a:cxn>
                <a:cxn ang="0">
                  <a:pos x="752" y="495"/>
                </a:cxn>
                <a:cxn ang="0">
                  <a:pos x="686" y="379"/>
                </a:cxn>
                <a:cxn ang="0">
                  <a:pos x="512" y="299"/>
                </a:cxn>
                <a:cxn ang="0">
                  <a:pos x="430" y="311"/>
                </a:cxn>
                <a:cxn ang="0">
                  <a:pos x="423" y="388"/>
                </a:cxn>
                <a:cxn ang="0">
                  <a:pos x="305" y="382"/>
                </a:cxn>
                <a:cxn ang="0">
                  <a:pos x="227" y="507"/>
                </a:cxn>
                <a:cxn ang="0">
                  <a:pos x="260" y="595"/>
                </a:cxn>
                <a:cxn ang="0">
                  <a:pos x="252" y="716"/>
                </a:cxn>
                <a:cxn ang="0">
                  <a:pos x="118" y="781"/>
                </a:cxn>
                <a:cxn ang="0">
                  <a:pos x="40" y="894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827399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35663" y="2264594"/>
              <a:ext cx="220662" cy="273050"/>
            </a:xfrm>
            <a:custGeom>
              <a:avLst/>
              <a:gdLst/>
              <a:ahLst/>
              <a:cxnLst>
                <a:cxn ang="0">
                  <a:pos x="345" y="493"/>
                </a:cxn>
                <a:cxn ang="0">
                  <a:pos x="256" y="505"/>
                </a:cxn>
                <a:cxn ang="0">
                  <a:pos x="235" y="517"/>
                </a:cxn>
                <a:cxn ang="0">
                  <a:pos x="210" y="522"/>
                </a:cxn>
                <a:cxn ang="0">
                  <a:pos x="155" y="524"/>
                </a:cxn>
                <a:cxn ang="0">
                  <a:pos x="106" y="522"/>
                </a:cxn>
                <a:cxn ang="0">
                  <a:pos x="94" y="516"/>
                </a:cxn>
                <a:cxn ang="0">
                  <a:pos x="71" y="509"/>
                </a:cxn>
                <a:cxn ang="0">
                  <a:pos x="36" y="496"/>
                </a:cxn>
                <a:cxn ang="0">
                  <a:pos x="22" y="486"/>
                </a:cxn>
                <a:cxn ang="0">
                  <a:pos x="20" y="477"/>
                </a:cxn>
                <a:cxn ang="0">
                  <a:pos x="27" y="463"/>
                </a:cxn>
                <a:cxn ang="0">
                  <a:pos x="32" y="445"/>
                </a:cxn>
                <a:cxn ang="0">
                  <a:pos x="28" y="432"/>
                </a:cxn>
                <a:cxn ang="0">
                  <a:pos x="10" y="417"/>
                </a:cxn>
                <a:cxn ang="0">
                  <a:pos x="1" y="407"/>
                </a:cxn>
                <a:cxn ang="0">
                  <a:pos x="1" y="391"/>
                </a:cxn>
                <a:cxn ang="0">
                  <a:pos x="17" y="360"/>
                </a:cxn>
                <a:cxn ang="0">
                  <a:pos x="48" y="328"/>
                </a:cxn>
                <a:cxn ang="0">
                  <a:pos x="86" y="299"/>
                </a:cxn>
                <a:cxn ang="0">
                  <a:pos x="124" y="279"/>
                </a:cxn>
                <a:cxn ang="0">
                  <a:pos x="160" y="272"/>
                </a:cxn>
                <a:cxn ang="0">
                  <a:pos x="155" y="264"/>
                </a:cxn>
                <a:cxn ang="0">
                  <a:pos x="142" y="259"/>
                </a:cxn>
                <a:cxn ang="0">
                  <a:pos x="133" y="251"/>
                </a:cxn>
                <a:cxn ang="0">
                  <a:pos x="127" y="229"/>
                </a:cxn>
                <a:cxn ang="0">
                  <a:pos x="124" y="195"/>
                </a:cxn>
                <a:cxn ang="0">
                  <a:pos x="115" y="161"/>
                </a:cxn>
                <a:cxn ang="0">
                  <a:pos x="100" y="134"/>
                </a:cxn>
                <a:cxn ang="0">
                  <a:pos x="68" y="90"/>
                </a:cxn>
                <a:cxn ang="0">
                  <a:pos x="86" y="60"/>
                </a:cxn>
                <a:cxn ang="0">
                  <a:pos x="106" y="56"/>
                </a:cxn>
                <a:cxn ang="0">
                  <a:pos x="130" y="58"/>
                </a:cxn>
                <a:cxn ang="0">
                  <a:pos x="139" y="61"/>
                </a:cxn>
                <a:cxn ang="0">
                  <a:pos x="160" y="56"/>
                </a:cxn>
                <a:cxn ang="0">
                  <a:pos x="164" y="33"/>
                </a:cxn>
                <a:cxn ang="0">
                  <a:pos x="171" y="13"/>
                </a:cxn>
                <a:cxn ang="0">
                  <a:pos x="187" y="0"/>
                </a:cxn>
                <a:cxn ang="0">
                  <a:pos x="225" y="0"/>
                </a:cxn>
                <a:cxn ang="0">
                  <a:pos x="254" y="8"/>
                </a:cxn>
                <a:cxn ang="0">
                  <a:pos x="280" y="21"/>
                </a:cxn>
                <a:cxn ang="0">
                  <a:pos x="279" y="62"/>
                </a:cxn>
                <a:cxn ang="0">
                  <a:pos x="292" y="77"/>
                </a:cxn>
                <a:cxn ang="0">
                  <a:pos x="319" y="94"/>
                </a:cxn>
                <a:cxn ang="0">
                  <a:pos x="356" y="119"/>
                </a:cxn>
                <a:cxn ang="0">
                  <a:pos x="346" y="135"/>
                </a:cxn>
                <a:cxn ang="0">
                  <a:pos x="340" y="153"/>
                </a:cxn>
                <a:cxn ang="0">
                  <a:pos x="344" y="176"/>
                </a:cxn>
                <a:cxn ang="0">
                  <a:pos x="363" y="200"/>
                </a:cxn>
                <a:cxn ang="0">
                  <a:pos x="378" y="210"/>
                </a:cxn>
                <a:cxn ang="0">
                  <a:pos x="386" y="256"/>
                </a:cxn>
                <a:cxn ang="0">
                  <a:pos x="404" y="289"/>
                </a:cxn>
                <a:cxn ang="0">
                  <a:pos x="432" y="315"/>
                </a:cxn>
                <a:cxn ang="0">
                  <a:pos x="463" y="335"/>
                </a:cxn>
                <a:cxn ang="0">
                  <a:pos x="466" y="390"/>
                </a:cxn>
                <a:cxn ang="0">
                  <a:pos x="397" y="457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672138" y="2682108"/>
              <a:ext cx="182562" cy="238125"/>
            </a:xfrm>
            <a:custGeom>
              <a:avLst/>
              <a:gdLst/>
              <a:ahLst/>
              <a:cxnLst>
                <a:cxn ang="0">
                  <a:pos x="426" y="190"/>
                </a:cxn>
                <a:cxn ang="0">
                  <a:pos x="408" y="128"/>
                </a:cxn>
                <a:cxn ang="0">
                  <a:pos x="387" y="85"/>
                </a:cxn>
                <a:cxn ang="0">
                  <a:pos x="367" y="62"/>
                </a:cxn>
                <a:cxn ang="0">
                  <a:pos x="356" y="58"/>
                </a:cxn>
                <a:cxn ang="0">
                  <a:pos x="335" y="45"/>
                </a:cxn>
                <a:cxn ang="0">
                  <a:pos x="314" y="38"/>
                </a:cxn>
                <a:cxn ang="0">
                  <a:pos x="293" y="38"/>
                </a:cxn>
                <a:cxn ang="0">
                  <a:pos x="276" y="42"/>
                </a:cxn>
                <a:cxn ang="0">
                  <a:pos x="251" y="58"/>
                </a:cxn>
                <a:cxn ang="0">
                  <a:pos x="235" y="67"/>
                </a:cxn>
                <a:cxn ang="0">
                  <a:pos x="217" y="66"/>
                </a:cxn>
                <a:cxn ang="0">
                  <a:pos x="174" y="37"/>
                </a:cxn>
                <a:cxn ang="0">
                  <a:pos x="113" y="0"/>
                </a:cxn>
                <a:cxn ang="0">
                  <a:pos x="95" y="23"/>
                </a:cxn>
                <a:cxn ang="0">
                  <a:pos x="93" y="43"/>
                </a:cxn>
                <a:cxn ang="0">
                  <a:pos x="98" y="52"/>
                </a:cxn>
                <a:cxn ang="0">
                  <a:pos x="119" y="69"/>
                </a:cxn>
                <a:cxn ang="0">
                  <a:pos x="99" y="73"/>
                </a:cxn>
                <a:cxn ang="0">
                  <a:pos x="66" y="93"/>
                </a:cxn>
                <a:cxn ang="0">
                  <a:pos x="58" y="119"/>
                </a:cxn>
                <a:cxn ang="0">
                  <a:pos x="45" y="138"/>
                </a:cxn>
                <a:cxn ang="0">
                  <a:pos x="35" y="156"/>
                </a:cxn>
                <a:cxn ang="0">
                  <a:pos x="33" y="179"/>
                </a:cxn>
                <a:cxn ang="0">
                  <a:pos x="7" y="238"/>
                </a:cxn>
                <a:cxn ang="0">
                  <a:pos x="15" y="246"/>
                </a:cxn>
                <a:cxn ang="0">
                  <a:pos x="26" y="247"/>
                </a:cxn>
                <a:cxn ang="0">
                  <a:pos x="33" y="346"/>
                </a:cxn>
                <a:cxn ang="0">
                  <a:pos x="93" y="353"/>
                </a:cxn>
                <a:cxn ang="0">
                  <a:pos x="104" y="376"/>
                </a:cxn>
                <a:cxn ang="0">
                  <a:pos x="89" y="425"/>
                </a:cxn>
                <a:cxn ang="0">
                  <a:pos x="109" y="447"/>
                </a:cxn>
                <a:cxn ang="0">
                  <a:pos x="152" y="447"/>
                </a:cxn>
                <a:cxn ang="0">
                  <a:pos x="205" y="444"/>
                </a:cxn>
                <a:cxn ang="0">
                  <a:pos x="276" y="446"/>
                </a:cxn>
                <a:cxn ang="0">
                  <a:pos x="343" y="442"/>
                </a:cxn>
                <a:cxn ang="0">
                  <a:pos x="372" y="432"/>
                </a:cxn>
                <a:cxn ang="0">
                  <a:pos x="359" y="413"/>
                </a:cxn>
                <a:cxn ang="0">
                  <a:pos x="369" y="403"/>
                </a:cxn>
                <a:cxn ang="0">
                  <a:pos x="372" y="382"/>
                </a:cxn>
                <a:cxn ang="0">
                  <a:pos x="380" y="367"/>
                </a:cxn>
                <a:cxn ang="0">
                  <a:pos x="343" y="344"/>
                </a:cxn>
                <a:cxn ang="0">
                  <a:pos x="325" y="323"/>
                </a:cxn>
                <a:cxn ang="0">
                  <a:pos x="311" y="294"/>
                </a:cxn>
                <a:cxn ang="0">
                  <a:pos x="294" y="277"/>
                </a:cxn>
                <a:cxn ang="0">
                  <a:pos x="314" y="275"/>
                </a:cxn>
                <a:cxn ang="0">
                  <a:pos x="346" y="271"/>
                </a:cxn>
                <a:cxn ang="0">
                  <a:pos x="369" y="260"/>
                </a:cxn>
                <a:cxn ang="0">
                  <a:pos x="407" y="240"/>
                </a:cxn>
                <a:cxn ang="0">
                  <a:pos x="438" y="235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827399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697539" y="2939283"/>
              <a:ext cx="250825" cy="274637"/>
            </a:xfrm>
            <a:custGeom>
              <a:avLst/>
              <a:gdLst/>
              <a:ahLst/>
              <a:cxnLst>
                <a:cxn ang="0">
                  <a:pos x="327" y="88"/>
                </a:cxn>
                <a:cxn ang="0">
                  <a:pos x="312" y="85"/>
                </a:cxn>
                <a:cxn ang="0">
                  <a:pos x="301" y="79"/>
                </a:cxn>
                <a:cxn ang="0">
                  <a:pos x="275" y="66"/>
                </a:cxn>
                <a:cxn ang="0">
                  <a:pos x="251" y="78"/>
                </a:cxn>
                <a:cxn ang="0">
                  <a:pos x="246" y="105"/>
                </a:cxn>
                <a:cxn ang="0">
                  <a:pos x="253" y="153"/>
                </a:cxn>
                <a:cxn ang="0">
                  <a:pos x="270" y="172"/>
                </a:cxn>
                <a:cxn ang="0">
                  <a:pos x="287" y="178"/>
                </a:cxn>
                <a:cxn ang="0">
                  <a:pos x="298" y="191"/>
                </a:cxn>
                <a:cxn ang="0">
                  <a:pos x="351" y="225"/>
                </a:cxn>
                <a:cxn ang="0">
                  <a:pos x="449" y="309"/>
                </a:cxn>
                <a:cxn ang="0">
                  <a:pos x="477" y="322"/>
                </a:cxn>
                <a:cxn ang="0">
                  <a:pos x="504" y="328"/>
                </a:cxn>
                <a:cxn ang="0">
                  <a:pos x="536" y="356"/>
                </a:cxn>
                <a:cxn ang="0">
                  <a:pos x="578" y="376"/>
                </a:cxn>
                <a:cxn ang="0">
                  <a:pos x="565" y="407"/>
                </a:cxn>
                <a:cxn ang="0">
                  <a:pos x="526" y="383"/>
                </a:cxn>
                <a:cxn ang="0">
                  <a:pos x="508" y="376"/>
                </a:cxn>
                <a:cxn ang="0">
                  <a:pos x="498" y="397"/>
                </a:cxn>
                <a:cxn ang="0">
                  <a:pos x="506" y="426"/>
                </a:cxn>
                <a:cxn ang="0">
                  <a:pos x="514" y="442"/>
                </a:cxn>
                <a:cxn ang="0">
                  <a:pos x="500" y="468"/>
                </a:cxn>
                <a:cxn ang="0">
                  <a:pos x="483" y="505"/>
                </a:cxn>
                <a:cxn ang="0">
                  <a:pos x="465" y="522"/>
                </a:cxn>
                <a:cxn ang="0">
                  <a:pos x="436" y="505"/>
                </a:cxn>
                <a:cxn ang="0">
                  <a:pos x="456" y="484"/>
                </a:cxn>
                <a:cxn ang="0">
                  <a:pos x="465" y="467"/>
                </a:cxn>
                <a:cxn ang="0">
                  <a:pos x="461" y="441"/>
                </a:cxn>
                <a:cxn ang="0">
                  <a:pos x="427" y="395"/>
                </a:cxn>
                <a:cxn ang="0">
                  <a:pos x="385" y="369"/>
                </a:cxn>
                <a:cxn ang="0">
                  <a:pos x="355" y="356"/>
                </a:cxn>
                <a:cxn ang="0">
                  <a:pos x="318" y="330"/>
                </a:cxn>
                <a:cxn ang="0">
                  <a:pos x="268" y="315"/>
                </a:cxn>
                <a:cxn ang="0">
                  <a:pos x="218" y="285"/>
                </a:cxn>
                <a:cxn ang="0">
                  <a:pos x="162" y="229"/>
                </a:cxn>
                <a:cxn ang="0">
                  <a:pos x="126" y="168"/>
                </a:cxn>
                <a:cxn ang="0">
                  <a:pos x="77" y="154"/>
                </a:cxn>
                <a:cxn ang="0">
                  <a:pos x="51" y="157"/>
                </a:cxn>
                <a:cxn ang="0">
                  <a:pos x="15" y="165"/>
                </a:cxn>
                <a:cxn ang="0">
                  <a:pos x="3" y="133"/>
                </a:cxn>
                <a:cxn ang="0">
                  <a:pos x="1" y="93"/>
                </a:cxn>
                <a:cxn ang="0">
                  <a:pos x="6" y="49"/>
                </a:cxn>
                <a:cxn ang="0">
                  <a:pos x="45" y="41"/>
                </a:cxn>
                <a:cxn ang="0">
                  <a:pos x="68" y="33"/>
                </a:cxn>
                <a:cxn ang="0">
                  <a:pos x="83" y="48"/>
                </a:cxn>
                <a:cxn ang="0">
                  <a:pos x="104" y="44"/>
                </a:cxn>
                <a:cxn ang="0">
                  <a:pos x="149" y="16"/>
                </a:cxn>
                <a:cxn ang="0">
                  <a:pos x="239" y="0"/>
                </a:cxn>
                <a:cxn ang="0">
                  <a:pos x="257" y="13"/>
                </a:cxn>
                <a:cxn ang="0">
                  <a:pos x="332" y="19"/>
                </a:cxn>
                <a:cxn ang="0">
                  <a:pos x="322" y="65"/>
                </a:cxn>
                <a:cxn ang="0">
                  <a:pos x="325" y="90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827399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715000" y="3107557"/>
              <a:ext cx="33338" cy="82550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6" y="37"/>
                </a:cxn>
                <a:cxn ang="0">
                  <a:pos x="11" y="36"/>
                </a:cxn>
                <a:cxn ang="0">
                  <a:pos x="16" y="35"/>
                </a:cxn>
                <a:cxn ang="0">
                  <a:pos x="19" y="33"/>
                </a:cxn>
                <a:cxn ang="0">
                  <a:pos x="26" y="28"/>
                </a:cxn>
                <a:cxn ang="0">
                  <a:pos x="31" y="22"/>
                </a:cxn>
                <a:cxn ang="0">
                  <a:pos x="37" y="16"/>
                </a:cxn>
                <a:cxn ang="0">
                  <a:pos x="41" y="10"/>
                </a:cxn>
                <a:cxn ang="0">
                  <a:pos x="46" y="5"/>
                </a:cxn>
                <a:cxn ang="0">
                  <a:pos x="53" y="0"/>
                </a:cxn>
                <a:cxn ang="0">
                  <a:pos x="57" y="3"/>
                </a:cxn>
                <a:cxn ang="0">
                  <a:pos x="62" y="7"/>
                </a:cxn>
                <a:cxn ang="0">
                  <a:pos x="64" y="10"/>
                </a:cxn>
                <a:cxn ang="0">
                  <a:pos x="66" y="14"/>
                </a:cxn>
                <a:cxn ang="0">
                  <a:pos x="69" y="22"/>
                </a:cxn>
                <a:cxn ang="0">
                  <a:pos x="72" y="32"/>
                </a:cxn>
                <a:cxn ang="0">
                  <a:pos x="73" y="40"/>
                </a:cxn>
                <a:cxn ang="0">
                  <a:pos x="74" y="49"/>
                </a:cxn>
                <a:cxn ang="0">
                  <a:pos x="76" y="58"/>
                </a:cxn>
                <a:cxn ang="0">
                  <a:pos x="79" y="67"/>
                </a:cxn>
                <a:cxn ang="0">
                  <a:pos x="79" y="98"/>
                </a:cxn>
                <a:cxn ang="0">
                  <a:pos x="68" y="115"/>
                </a:cxn>
                <a:cxn ang="0">
                  <a:pos x="59" y="129"/>
                </a:cxn>
                <a:cxn ang="0">
                  <a:pos x="53" y="136"/>
                </a:cxn>
                <a:cxn ang="0">
                  <a:pos x="50" y="144"/>
                </a:cxn>
                <a:cxn ang="0">
                  <a:pos x="48" y="151"/>
                </a:cxn>
                <a:cxn ang="0">
                  <a:pos x="46" y="160"/>
                </a:cxn>
                <a:cxn ang="0">
                  <a:pos x="40" y="155"/>
                </a:cxn>
                <a:cxn ang="0">
                  <a:pos x="33" y="150"/>
                </a:cxn>
                <a:cxn ang="0">
                  <a:pos x="28" y="144"/>
                </a:cxn>
                <a:cxn ang="0">
                  <a:pos x="22" y="137"/>
                </a:cxn>
                <a:cxn ang="0">
                  <a:pos x="18" y="130"/>
                </a:cxn>
                <a:cxn ang="0">
                  <a:pos x="15" y="123"/>
                </a:cxn>
                <a:cxn ang="0">
                  <a:pos x="11" y="115"/>
                </a:cxn>
                <a:cxn ang="0">
                  <a:pos x="8" y="108"/>
                </a:cxn>
                <a:cxn ang="0">
                  <a:pos x="4" y="91"/>
                </a:cxn>
                <a:cxn ang="0">
                  <a:pos x="1" y="73"/>
                </a:cxn>
                <a:cxn ang="0">
                  <a:pos x="0" y="55"/>
                </a:cxn>
                <a:cxn ang="0">
                  <a:pos x="0" y="37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1" name="Group 20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034339" y="4168008"/>
              <a:ext cx="473075" cy="212725"/>
              <a:chOff x="4488" y="2394"/>
              <a:chExt cx="358" cy="124"/>
            </a:xfrm>
            <a:grpFill/>
          </p:grpSpPr>
          <p:sp>
            <p:nvSpPr>
              <p:cNvPr id="551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/>
                <a:ahLst/>
                <a:cxnLst>
                  <a:cxn ang="0">
                    <a:pos x="424" y="198"/>
                  </a:cxn>
                  <a:cxn ang="0">
                    <a:pos x="387" y="193"/>
                  </a:cxn>
                  <a:cxn ang="0">
                    <a:pos x="367" y="203"/>
                  </a:cxn>
                  <a:cxn ang="0">
                    <a:pos x="354" y="217"/>
                  </a:cxn>
                  <a:cxn ang="0">
                    <a:pos x="347" y="254"/>
                  </a:cxn>
                  <a:cxn ang="0">
                    <a:pos x="327" y="306"/>
                  </a:cxn>
                  <a:cxn ang="0">
                    <a:pos x="305" y="335"/>
                  </a:cxn>
                  <a:cxn ang="0">
                    <a:pos x="289" y="350"/>
                  </a:cxn>
                  <a:cxn ang="0">
                    <a:pos x="271" y="359"/>
                  </a:cxn>
                  <a:cxn ang="0">
                    <a:pos x="256" y="368"/>
                  </a:cxn>
                  <a:cxn ang="0">
                    <a:pos x="253" y="376"/>
                  </a:cxn>
                  <a:cxn ang="0">
                    <a:pos x="215" y="370"/>
                  </a:cxn>
                  <a:cxn ang="0">
                    <a:pos x="183" y="367"/>
                  </a:cxn>
                  <a:cxn ang="0">
                    <a:pos x="155" y="373"/>
                  </a:cxn>
                  <a:cxn ang="0">
                    <a:pos x="138" y="388"/>
                  </a:cxn>
                  <a:cxn ang="0">
                    <a:pos x="97" y="405"/>
                  </a:cxn>
                  <a:cxn ang="0">
                    <a:pos x="62" y="407"/>
                  </a:cxn>
                  <a:cxn ang="0">
                    <a:pos x="45" y="400"/>
                  </a:cxn>
                  <a:cxn ang="0">
                    <a:pos x="15" y="368"/>
                  </a:cxn>
                  <a:cxn ang="0">
                    <a:pos x="2" y="344"/>
                  </a:cxn>
                  <a:cxn ang="0">
                    <a:pos x="8" y="335"/>
                  </a:cxn>
                  <a:cxn ang="0">
                    <a:pos x="34" y="344"/>
                  </a:cxn>
                  <a:cxn ang="0">
                    <a:pos x="53" y="336"/>
                  </a:cxn>
                  <a:cxn ang="0">
                    <a:pos x="56" y="314"/>
                  </a:cxn>
                  <a:cxn ang="0">
                    <a:pos x="71" y="300"/>
                  </a:cxn>
                  <a:cxn ang="0">
                    <a:pos x="82" y="286"/>
                  </a:cxn>
                  <a:cxn ang="0">
                    <a:pos x="89" y="272"/>
                  </a:cxn>
                  <a:cxn ang="0">
                    <a:pos x="101" y="262"/>
                  </a:cxn>
                  <a:cxn ang="0">
                    <a:pos x="137" y="246"/>
                  </a:cxn>
                  <a:cxn ang="0">
                    <a:pos x="175" y="232"/>
                  </a:cxn>
                  <a:cxn ang="0">
                    <a:pos x="202" y="217"/>
                  </a:cxn>
                  <a:cxn ang="0">
                    <a:pos x="213" y="205"/>
                  </a:cxn>
                  <a:cxn ang="0">
                    <a:pos x="219" y="191"/>
                  </a:cxn>
                  <a:cxn ang="0">
                    <a:pos x="227" y="161"/>
                  </a:cxn>
                  <a:cxn ang="0">
                    <a:pos x="229" y="149"/>
                  </a:cxn>
                  <a:cxn ang="0">
                    <a:pos x="231" y="152"/>
                  </a:cxn>
                  <a:cxn ang="0">
                    <a:pos x="239" y="143"/>
                  </a:cxn>
                  <a:cxn ang="0">
                    <a:pos x="237" y="155"/>
                  </a:cxn>
                  <a:cxn ang="0">
                    <a:pos x="240" y="174"/>
                  </a:cxn>
                  <a:cxn ang="0">
                    <a:pos x="251" y="193"/>
                  </a:cxn>
                  <a:cxn ang="0">
                    <a:pos x="272" y="205"/>
                  </a:cxn>
                  <a:cxn ang="0">
                    <a:pos x="306" y="204"/>
                  </a:cxn>
                  <a:cxn ang="0">
                    <a:pos x="320" y="205"/>
                  </a:cxn>
                  <a:cxn ang="0">
                    <a:pos x="327" y="198"/>
                  </a:cxn>
                  <a:cxn ang="0">
                    <a:pos x="324" y="176"/>
                  </a:cxn>
                  <a:cxn ang="0">
                    <a:pos x="299" y="130"/>
                  </a:cxn>
                  <a:cxn ang="0">
                    <a:pos x="319" y="109"/>
                  </a:cxn>
                  <a:cxn ang="0">
                    <a:pos x="344" y="66"/>
                  </a:cxn>
                  <a:cxn ang="0">
                    <a:pos x="374" y="22"/>
                  </a:cxn>
                  <a:cxn ang="0">
                    <a:pos x="399" y="0"/>
                  </a:cxn>
                  <a:cxn ang="0">
                    <a:pos x="401" y="23"/>
                  </a:cxn>
                  <a:cxn ang="0">
                    <a:pos x="413" y="50"/>
                  </a:cxn>
                  <a:cxn ang="0">
                    <a:pos x="439" y="75"/>
                  </a:cxn>
                  <a:cxn ang="0">
                    <a:pos x="486" y="106"/>
                  </a:cxn>
                  <a:cxn ang="0">
                    <a:pos x="508" y="132"/>
                  </a:cxn>
                  <a:cxn ang="0">
                    <a:pos x="499" y="149"/>
                  </a:cxn>
                  <a:cxn ang="0">
                    <a:pos x="478" y="152"/>
                  </a:cxn>
                  <a:cxn ang="0">
                    <a:pos x="458" y="180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827399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52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/>
                <a:ahLst/>
                <a:cxnLst>
                  <a:cxn ang="0">
                    <a:pos x="151" y="24"/>
                  </a:cxn>
                  <a:cxn ang="0">
                    <a:pos x="165" y="48"/>
                  </a:cxn>
                  <a:cxn ang="0">
                    <a:pos x="174" y="56"/>
                  </a:cxn>
                  <a:cxn ang="0">
                    <a:pos x="181" y="60"/>
                  </a:cxn>
                  <a:cxn ang="0">
                    <a:pos x="186" y="166"/>
                  </a:cxn>
                  <a:cxn ang="0">
                    <a:pos x="189" y="196"/>
                  </a:cxn>
                  <a:cxn ang="0">
                    <a:pos x="193" y="207"/>
                  </a:cxn>
                  <a:cxn ang="0">
                    <a:pos x="199" y="216"/>
                  </a:cxn>
                  <a:cxn ang="0">
                    <a:pos x="232" y="246"/>
                  </a:cxn>
                  <a:cxn ang="0">
                    <a:pos x="219" y="288"/>
                  </a:cxn>
                  <a:cxn ang="0">
                    <a:pos x="186" y="282"/>
                  </a:cxn>
                  <a:cxn ang="0">
                    <a:pos x="151" y="264"/>
                  </a:cxn>
                  <a:cxn ang="0">
                    <a:pos x="113" y="235"/>
                  </a:cxn>
                  <a:cxn ang="0">
                    <a:pos x="81" y="207"/>
                  </a:cxn>
                  <a:cxn ang="0">
                    <a:pos x="56" y="176"/>
                  </a:cxn>
                  <a:cxn ang="0">
                    <a:pos x="31" y="145"/>
                  </a:cxn>
                  <a:cxn ang="0">
                    <a:pos x="9" y="126"/>
                  </a:cxn>
                  <a:cxn ang="0">
                    <a:pos x="2" y="117"/>
                  </a:cxn>
                  <a:cxn ang="0">
                    <a:pos x="0" y="109"/>
                  </a:cxn>
                  <a:cxn ang="0">
                    <a:pos x="0" y="100"/>
                  </a:cxn>
                  <a:cxn ang="0">
                    <a:pos x="3" y="92"/>
                  </a:cxn>
                  <a:cxn ang="0">
                    <a:pos x="11" y="79"/>
                  </a:cxn>
                  <a:cxn ang="0">
                    <a:pos x="12" y="52"/>
                  </a:cxn>
                  <a:cxn ang="0">
                    <a:pos x="7" y="15"/>
                  </a:cxn>
                  <a:cxn ang="0">
                    <a:pos x="13" y="0"/>
                  </a:cxn>
                  <a:cxn ang="0">
                    <a:pos x="26" y="3"/>
                  </a:cxn>
                  <a:cxn ang="0">
                    <a:pos x="42" y="10"/>
                  </a:cxn>
                  <a:cxn ang="0">
                    <a:pos x="59" y="21"/>
                  </a:cxn>
                  <a:cxn ang="0">
                    <a:pos x="73" y="28"/>
                  </a:cxn>
                  <a:cxn ang="0">
                    <a:pos x="81" y="31"/>
                  </a:cxn>
                  <a:cxn ang="0">
                    <a:pos x="91" y="31"/>
                  </a:cxn>
                  <a:cxn ang="0">
                    <a:pos x="105" y="26"/>
                  </a:cxn>
                  <a:cxn ang="0">
                    <a:pos x="120" y="19"/>
                  </a:cxn>
                  <a:cxn ang="0">
                    <a:pos x="133" y="11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827399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2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56313" y="2043933"/>
              <a:ext cx="3065462" cy="1074737"/>
            </a:xfrm>
            <a:custGeom>
              <a:avLst/>
              <a:gdLst/>
              <a:ahLst/>
              <a:cxnLst>
                <a:cxn ang="0">
                  <a:pos x="725" y="1733"/>
                </a:cxn>
                <a:cxn ang="0">
                  <a:pos x="1070" y="1937"/>
                </a:cxn>
                <a:cxn ang="0">
                  <a:pos x="1212" y="1814"/>
                </a:cxn>
                <a:cxn ang="0">
                  <a:pos x="1674" y="1469"/>
                </a:cxn>
                <a:cxn ang="0">
                  <a:pos x="2618" y="1315"/>
                </a:cxn>
                <a:cxn ang="0">
                  <a:pos x="3350" y="1494"/>
                </a:cxn>
                <a:cxn ang="0">
                  <a:pos x="3676" y="1438"/>
                </a:cxn>
                <a:cxn ang="0">
                  <a:pos x="4136" y="1492"/>
                </a:cxn>
                <a:cxn ang="0">
                  <a:pos x="4577" y="1509"/>
                </a:cxn>
                <a:cxn ang="0">
                  <a:pos x="4759" y="1372"/>
                </a:cxn>
                <a:cxn ang="0">
                  <a:pos x="5156" y="1476"/>
                </a:cxn>
                <a:cxn ang="0">
                  <a:pos x="5614" y="1598"/>
                </a:cxn>
                <a:cxn ang="0">
                  <a:pos x="5604" y="1844"/>
                </a:cxn>
                <a:cxn ang="0">
                  <a:pos x="5853" y="1612"/>
                </a:cxn>
                <a:cxn ang="0">
                  <a:pos x="5570" y="1256"/>
                </a:cxn>
                <a:cxn ang="0">
                  <a:pos x="5331" y="1147"/>
                </a:cxn>
                <a:cxn ang="0">
                  <a:pos x="5857" y="982"/>
                </a:cxn>
                <a:cxn ang="0">
                  <a:pos x="5974" y="822"/>
                </a:cxn>
                <a:cxn ang="0">
                  <a:pos x="6132" y="761"/>
                </a:cxn>
                <a:cxn ang="0">
                  <a:pos x="6195" y="974"/>
                </a:cxn>
                <a:cxn ang="0">
                  <a:pos x="6352" y="1251"/>
                </a:cxn>
                <a:cxn ang="0">
                  <a:pos x="6575" y="1410"/>
                </a:cxn>
                <a:cxn ang="0">
                  <a:pos x="6566" y="1214"/>
                </a:cxn>
                <a:cxn ang="0">
                  <a:pos x="6373" y="1037"/>
                </a:cxn>
                <a:cxn ang="0">
                  <a:pos x="6547" y="885"/>
                </a:cxn>
                <a:cxn ang="0">
                  <a:pos x="6801" y="784"/>
                </a:cxn>
                <a:cxn ang="0">
                  <a:pos x="6628" y="618"/>
                </a:cxn>
                <a:cxn ang="0">
                  <a:pos x="6799" y="636"/>
                </a:cxn>
                <a:cxn ang="0">
                  <a:pos x="6861" y="543"/>
                </a:cxn>
                <a:cxn ang="0">
                  <a:pos x="6500" y="462"/>
                </a:cxn>
                <a:cxn ang="0">
                  <a:pos x="5843" y="410"/>
                </a:cxn>
                <a:cxn ang="0">
                  <a:pos x="5693" y="415"/>
                </a:cxn>
                <a:cxn ang="0">
                  <a:pos x="4991" y="351"/>
                </a:cxn>
                <a:cxn ang="0">
                  <a:pos x="4728" y="290"/>
                </a:cxn>
                <a:cxn ang="0">
                  <a:pos x="4412" y="290"/>
                </a:cxn>
                <a:cxn ang="0">
                  <a:pos x="4009" y="318"/>
                </a:cxn>
                <a:cxn ang="0">
                  <a:pos x="3574" y="261"/>
                </a:cxn>
                <a:cxn ang="0">
                  <a:pos x="3290" y="244"/>
                </a:cxn>
                <a:cxn ang="0">
                  <a:pos x="3008" y="235"/>
                </a:cxn>
                <a:cxn ang="0">
                  <a:pos x="2724" y="58"/>
                </a:cxn>
                <a:cxn ang="0">
                  <a:pos x="2617" y="140"/>
                </a:cxn>
                <a:cxn ang="0">
                  <a:pos x="2134" y="167"/>
                </a:cxn>
                <a:cxn ang="0">
                  <a:pos x="2159" y="200"/>
                </a:cxn>
                <a:cxn ang="0">
                  <a:pos x="2198" y="342"/>
                </a:cxn>
                <a:cxn ang="0">
                  <a:pos x="1933" y="256"/>
                </a:cxn>
                <a:cxn ang="0">
                  <a:pos x="1787" y="273"/>
                </a:cxn>
                <a:cxn ang="0">
                  <a:pos x="1917" y="446"/>
                </a:cxn>
                <a:cxn ang="0">
                  <a:pos x="2076" y="529"/>
                </a:cxn>
                <a:cxn ang="0">
                  <a:pos x="1883" y="593"/>
                </a:cxn>
                <a:cxn ang="0">
                  <a:pos x="1832" y="464"/>
                </a:cxn>
                <a:cxn ang="0">
                  <a:pos x="1621" y="231"/>
                </a:cxn>
                <a:cxn ang="0">
                  <a:pos x="1623" y="451"/>
                </a:cxn>
                <a:cxn ang="0">
                  <a:pos x="1238" y="397"/>
                </a:cxn>
                <a:cxn ang="0">
                  <a:pos x="1198" y="477"/>
                </a:cxn>
                <a:cxn ang="0">
                  <a:pos x="908" y="500"/>
                </a:cxn>
                <a:cxn ang="0">
                  <a:pos x="692" y="483"/>
                </a:cxn>
                <a:cxn ang="0">
                  <a:pos x="602" y="585"/>
                </a:cxn>
                <a:cxn ang="0">
                  <a:pos x="407" y="739"/>
                </a:cxn>
                <a:cxn ang="0">
                  <a:pos x="390" y="612"/>
                </a:cxn>
                <a:cxn ang="0">
                  <a:pos x="150" y="440"/>
                </a:cxn>
                <a:cxn ang="0">
                  <a:pos x="71" y="605"/>
                </a:cxn>
                <a:cxn ang="0">
                  <a:pos x="112" y="958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319714" y="3031357"/>
              <a:ext cx="280987" cy="247650"/>
            </a:xfrm>
            <a:custGeom>
              <a:avLst/>
              <a:gdLst/>
              <a:ahLst/>
              <a:cxnLst>
                <a:cxn ang="0">
                  <a:pos x="406" y="27"/>
                </a:cxn>
                <a:cxn ang="0">
                  <a:pos x="428" y="45"/>
                </a:cxn>
                <a:cxn ang="0">
                  <a:pos x="458" y="60"/>
                </a:cxn>
                <a:cxn ang="0">
                  <a:pos x="512" y="78"/>
                </a:cxn>
                <a:cxn ang="0">
                  <a:pos x="538" y="81"/>
                </a:cxn>
                <a:cxn ang="0">
                  <a:pos x="562" y="99"/>
                </a:cxn>
                <a:cxn ang="0">
                  <a:pos x="567" y="97"/>
                </a:cxn>
                <a:cxn ang="0">
                  <a:pos x="575" y="85"/>
                </a:cxn>
                <a:cxn ang="0">
                  <a:pos x="583" y="78"/>
                </a:cxn>
                <a:cxn ang="0">
                  <a:pos x="603" y="80"/>
                </a:cxn>
                <a:cxn ang="0">
                  <a:pos x="624" y="79"/>
                </a:cxn>
                <a:cxn ang="0">
                  <a:pos x="640" y="84"/>
                </a:cxn>
                <a:cxn ang="0">
                  <a:pos x="646" y="103"/>
                </a:cxn>
                <a:cxn ang="0">
                  <a:pos x="646" y="123"/>
                </a:cxn>
                <a:cxn ang="0">
                  <a:pos x="618" y="131"/>
                </a:cxn>
                <a:cxn ang="0">
                  <a:pos x="586" y="146"/>
                </a:cxn>
                <a:cxn ang="0">
                  <a:pos x="560" y="165"/>
                </a:cxn>
                <a:cxn ang="0">
                  <a:pos x="504" y="214"/>
                </a:cxn>
                <a:cxn ang="0">
                  <a:pos x="489" y="227"/>
                </a:cxn>
                <a:cxn ang="0">
                  <a:pos x="474" y="254"/>
                </a:cxn>
                <a:cxn ang="0">
                  <a:pos x="473" y="282"/>
                </a:cxn>
                <a:cxn ang="0">
                  <a:pos x="473" y="311"/>
                </a:cxn>
                <a:cxn ang="0">
                  <a:pos x="463" y="340"/>
                </a:cxn>
                <a:cxn ang="0">
                  <a:pos x="450" y="354"/>
                </a:cxn>
                <a:cxn ang="0">
                  <a:pos x="411" y="384"/>
                </a:cxn>
                <a:cxn ang="0">
                  <a:pos x="383" y="411"/>
                </a:cxn>
                <a:cxn ang="0">
                  <a:pos x="374" y="425"/>
                </a:cxn>
                <a:cxn ang="0">
                  <a:pos x="369" y="432"/>
                </a:cxn>
                <a:cxn ang="0">
                  <a:pos x="310" y="429"/>
                </a:cxn>
                <a:cxn ang="0">
                  <a:pos x="257" y="434"/>
                </a:cxn>
                <a:cxn ang="0">
                  <a:pos x="224" y="446"/>
                </a:cxn>
                <a:cxn ang="0">
                  <a:pos x="193" y="467"/>
                </a:cxn>
                <a:cxn ang="0">
                  <a:pos x="179" y="469"/>
                </a:cxn>
                <a:cxn ang="0">
                  <a:pos x="169" y="461"/>
                </a:cxn>
                <a:cxn ang="0">
                  <a:pos x="153" y="432"/>
                </a:cxn>
                <a:cxn ang="0">
                  <a:pos x="140" y="414"/>
                </a:cxn>
                <a:cxn ang="0">
                  <a:pos x="122" y="400"/>
                </a:cxn>
                <a:cxn ang="0">
                  <a:pos x="114" y="379"/>
                </a:cxn>
                <a:cxn ang="0">
                  <a:pos x="126" y="336"/>
                </a:cxn>
                <a:cxn ang="0">
                  <a:pos x="127" y="267"/>
                </a:cxn>
                <a:cxn ang="0">
                  <a:pos x="147" y="206"/>
                </a:cxn>
                <a:cxn ang="0">
                  <a:pos x="168" y="149"/>
                </a:cxn>
                <a:cxn ang="0">
                  <a:pos x="172" y="131"/>
                </a:cxn>
                <a:cxn ang="0">
                  <a:pos x="116" y="123"/>
                </a:cxn>
                <a:cxn ang="0">
                  <a:pos x="62" y="109"/>
                </a:cxn>
                <a:cxn ang="0">
                  <a:pos x="17" y="93"/>
                </a:cxn>
                <a:cxn ang="0">
                  <a:pos x="0" y="38"/>
                </a:cxn>
                <a:cxn ang="0">
                  <a:pos x="23" y="34"/>
                </a:cxn>
                <a:cxn ang="0">
                  <a:pos x="51" y="20"/>
                </a:cxn>
                <a:cxn ang="0">
                  <a:pos x="73" y="4"/>
                </a:cxn>
                <a:cxn ang="0">
                  <a:pos x="86" y="0"/>
                </a:cxn>
                <a:cxn ang="0">
                  <a:pos x="132" y="7"/>
                </a:cxn>
                <a:cxn ang="0">
                  <a:pos x="171" y="17"/>
                </a:cxn>
                <a:cxn ang="0">
                  <a:pos x="209" y="20"/>
                </a:cxn>
                <a:cxn ang="0">
                  <a:pos x="235" y="29"/>
                </a:cxn>
                <a:cxn ang="0">
                  <a:pos x="258" y="37"/>
                </a:cxn>
                <a:cxn ang="0">
                  <a:pos x="385" y="26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951788" y="3769545"/>
              <a:ext cx="207962" cy="455613"/>
            </a:xfrm>
            <a:custGeom>
              <a:avLst/>
              <a:gdLst/>
              <a:ahLst/>
              <a:cxnLst>
                <a:cxn ang="0">
                  <a:pos x="379" y="357"/>
                </a:cxn>
                <a:cxn ang="0">
                  <a:pos x="333" y="370"/>
                </a:cxn>
                <a:cxn ang="0">
                  <a:pos x="314" y="390"/>
                </a:cxn>
                <a:cxn ang="0">
                  <a:pos x="316" y="428"/>
                </a:cxn>
                <a:cxn ang="0">
                  <a:pos x="352" y="492"/>
                </a:cxn>
                <a:cxn ang="0">
                  <a:pos x="359" y="530"/>
                </a:cxn>
                <a:cxn ang="0">
                  <a:pos x="366" y="555"/>
                </a:cxn>
                <a:cxn ang="0">
                  <a:pos x="323" y="526"/>
                </a:cxn>
                <a:cxn ang="0">
                  <a:pos x="309" y="492"/>
                </a:cxn>
                <a:cxn ang="0">
                  <a:pos x="269" y="467"/>
                </a:cxn>
                <a:cxn ang="0">
                  <a:pos x="210" y="439"/>
                </a:cxn>
                <a:cxn ang="0">
                  <a:pos x="193" y="406"/>
                </a:cxn>
                <a:cxn ang="0">
                  <a:pos x="156" y="477"/>
                </a:cxn>
                <a:cxn ang="0">
                  <a:pos x="156" y="524"/>
                </a:cxn>
                <a:cxn ang="0">
                  <a:pos x="132" y="575"/>
                </a:cxn>
                <a:cxn ang="0">
                  <a:pos x="128" y="621"/>
                </a:cxn>
                <a:cxn ang="0">
                  <a:pos x="154" y="650"/>
                </a:cxn>
                <a:cxn ang="0">
                  <a:pos x="175" y="685"/>
                </a:cxn>
                <a:cxn ang="0">
                  <a:pos x="185" y="730"/>
                </a:cxn>
                <a:cxn ang="0">
                  <a:pos x="226" y="780"/>
                </a:cxn>
                <a:cxn ang="0">
                  <a:pos x="281" y="825"/>
                </a:cxn>
                <a:cxn ang="0">
                  <a:pos x="340" y="850"/>
                </a:cxn>
                <a:cxn ang="0">
                  <a:pos x="298" y="867"/>
                </a:cxn>
                <a:cxn ang="0">
                  <a:pos x="269" y="864"/>
                </a:cxn>
                <a:cxn ang="0">
                  <a:pos x="229" y="841"/>
                </a:cxn>
                <a:cxn ang="0">
                  <a:pos x="200" y="823"/>
                </a:cxn>
                <a:cxn ang="0">
                  <a:pos x="137" y="759"/>
                </a:cxn>
                <a:cxn ang="0">
                  <a:pos x="83" y="730"/>
                </a:cxn>
                <a:cxn ang="0">
                  <a:pos x="74" y="688"/>
                </a:cxn>
                <a:cxn ang="0">
                  <a:pos x="80" y="653"/>
                </a:cxn>
                <a:cxn ang="0">
                  <a:pos x="88" y="617"/>
                </a:cxn>
                <a:cxn ang="0">
                  <a:pos x="120" y="498"/>
                </a:cxn>
                <a:cxn ang="0">
                  <a:pos x="108" y="404"/>
                </a:cxn>
                <a:cxn ang="0">
                  <a:pos x="62" y="319"/>
                </a:cxn>
                <a:cxn ang="0">
                  <a:pos x="64" y="285"/>
                </a:cxn>
                <a:cxn ang="0">
                  <a:pos x="74" y="265"/>
                </a:cxn>
                <a:cxn ang="0">
                  <a:pos x="56" y="202"/>
                </a:cxn>
                <a:cxn ang="0">
                  <a:pos x="23" y="158"/>
                </a:cxn>
                <a:cxn ang="0">
                  <a:pos x="1" y="102"/>
                </a:cxn>
                <a:cxn ang="0">
                  <a:pos x="11" y="44"/>
                </a:cxn>
                <a:cxn ang="0">
                  <a:pos x="49" y="16"/>
                </a:cxn>
                <a:cxn ang="0">
                  <a:pos x="120" y="0"/>
                </a:cxn>
                <a:cxn ang="0">
                  <a:pos x="156" y="28"/>
                </a:cxn>
                <a:cxn ang="0">
                  <a:pos x="179" y="36"/>
                </a:cxn>
                <a:cxn ang="0">
                  <a:pos x="197" y="136"/>
                </a:cxn>
                <a:cxn ang="0">
                  <a:pos x="213" y="166"/>
                </a:cxn>
                <a:cxn ang="0">
                  <a:pos x="231" y="155"/>
                </a:cxn>
                <a:cxn ang="0">
                  <a:pos x="258" y="126"/>
                </a:cxn>
                <a:cxn ang="0">
                  <a:pos x="281" y="141"/>
                </a:cxn>
                <a:cxn ang="0">
                  <a:pos x="298" y="136"/>
                </a:cxn>
                <a:cxn ang="0">
                  <a:pos x="316" y="108"/>
                </a:cxn>
                <a:cxn ang="0">
                  <a:pos x="346" y="108"/>
                </a:cxn>
                <a:cxn ang="0">
                  <a:pos x="387" y="157"/>
                </a:cxn>
                <a:cxn ang="0">
                  <a:pos x="454" y="246"/>
                </a:cxn>
                <a:cxn ang="0">
                  <a:pos x="478" y="307"/>
                </a:cxn>
                <a:cxn ang="0">
                  <a:pos x="468" y="338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060826" y="6157144"/>
              <a:ext cx="23813" cy="57150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7" y="13"/>
                </a:cxn>
                <a:cxn ang="0">
                  <a:pos x="14" y="17"/>
                </a:cxn>
                <a:cxn ang="0">
                  <a:pos x="22" y="19"/>
                </a:cxn>
                <a:cxn ang="0">
                  <a:pos x="29" y="19"/>
                </a:cxn>
                <a:cxn ang="0">
                  <a:pos x="35" y="18"/>
                </a:cxn>
                <a:cxn ang="0">
                  <a:pos x="42" y="15"/>
                </a:cxn>
                <a:cxn ang="0">
                  <a:pos x="47" y="12"/>
                </a:cxn>
                <a:cxn ang="0">
                  <a:pos x="53" y="8"/>
                </a:cxn>
                <a:cxn ang="0">
                  <a:pos x="47" y="5"/>
                </a:cxn>
                <a:cxn ang="0">
                  <a:pos x="42" y="2"/>
                </a:cxn>
                <a:cxn ang="0">
                  <a:pos x="35" y="1"/>
                </a:cxn>
                <a:cxn ang="0">
                  <a:pos x="29" y="0"/>
                </a:cxn>
                <a:cxn ang="0">
                  <a:pos x="22" y="0"/>
                </a:cxn>
                <a:cxn ang="0">
                  <a:pos x="14" y="1"/>
                </a:cxn>
                <a:cxn ang="0">
                  <a:pos x="7" y="3"/>
                </a:cxn>
                <a:cxn ang="0">
                  <a:pos x="0" y="8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522539" y="3078983"/>
              <a:ext cx="3175" cy="9525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525714" y="3075807"/>
              <a:ext cx="3175" cy="55562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0" y="19"/>
                </a:cxn>
                <a:cxn ang="0">
                  <a:pos x="1" y="14"/>
                </a:cxn>
                <a:cxn ang="0">
                  <a:pos x="3" y="8"/>
                </a:cxn>
                <a:cxn ang="0">
                  <a:pos x="6" y="0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501901" y="3129782"/>
              <a:ext cx="23813" cy="57150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0" y="30"/>
                </a:cxn>
                <a:cxn ang="0">
                  <a:pos x="2" y="36"/>
                </a:cxn>
                <a:cxn ang="0">
                  <a:pos x="3" y="42"/>
                </a:cxn>
                <a:cxn ang="0">
                  <a:pos x="5" y="47"/>
                </a:cxn>
                <a:cxn ang="0">
                  <a:pos x="9" y="58"/>
                </a:cxn>
                <a:cxn ang="0">
                  <a:pos x="14" y="67"/>
                </a:cxn>
                <a:cxn ang="0">
                  <a:pos x="47" y="67"/>
                </a:cxn>
                <a:cxn ang="0">
                  <a:pos x="47" y="0"/>
                </a:cxn>
                <a:cxn ang="0">
                  <a:pos x="36" y="2"/>
                </a:cxn>
                <a:cxn ang="0">
                  <a:pos x="26" y="4"/>
                </a:cxn>
                <a:cxn ang="0">
                  <a:pos x="18" y="7"/>
                </a:cxn>
                <a:cxn ang="0">
                  <a:pos x="11" y="9"/>
                </a:cxn>
                <a:cxn ang="0">
                  <a:pos x="6" y="12"/>
                </a:cxn>
                <a:cxn ang="0">
                  <a:pos x="3" y="16"/>
                </a:cxn>
                <a:cxn ang="0">
                  <a:pos x="0" y="20"/>
                </a:cxn>
                <a:cxn ang="0">
                  <a:pos x="0" y="24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27463" y="3125019"/>
              <a:ext cx="49212" cy="57150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59" y="36"/>
                </a:cxn>
                <a:cxn ang="0">
                  <a:pos x="67" y="30"/>
                </a:cxn>
                <a:cxn ang="0">
                  <a:pos x="75" y="26"/>
                </a:cxn>
                <a:cxn ang="0">
                  <a:pos x="84" y="23"/>
                </a:cxn>
                <a:cxn ang="0">
                  <a:pos x="91" y="20"/>
                </a:cxn>
                <a:cxn ang="0">
                  <a:pos x="98" y="17"/>
                </a:cxn>
                <a:cxn ang="0">
                  <a:pos x="104" y="13"/>
                </a:cxn>
                <a:cxn ang="0">
                  <a:pos x="107" y="11"/>
                </a:cxn>
                <a:cxn ang="0">
                  <a:pos x="109" y="8"/>
                </a:cxn>
                <a:cxn ang="0">
                  <a:pos x="111" y="4"/>
                </a:cxn>
                <a:cxn ang="0">
                  <a:pos x="112" y="0"/>
                </a:cxn>
                <a:cxn ang="0">
                  <a:pos x="100" y="0"/>
                </a:cxn>
                <a:cxn ang="0">
                  <a:pos x="85" y="1"/>
                </a:cxn>
                <a:cxn ang="0">
                  <a:pos x="67" y="3"/>
                </a:cxn>
                <a:cxn ang="0">
                  <a:pos x="48" y="7"/>
                </a:cxn>
                <a:cxn ang="0">
                  <a:pos x="40" y="9"/>
                </a:cxn>
                <a:cxn ang="0">
                  <a:pos x="31" y="11"/>
                </a:cxn>
                <a:cxn ang="0">
                  <a:pos x="23" y="14"/>
                </a:cxn>
                <a:cxn ang="0">
                  <a:pos x="17" y="18"/>
                </a:cxn>
                <a:cxn ang="0">
                  <a:pos x="10" y="22"/>
                </a:cxn>
                <a:cxn ang="0">
                  <a:pos x="6" y="26"/>
                </a:cxn>
                <a:cxn ang="0">
                  <a:pos x="1" y="31"/>
                </a:cxn>
                <a:cxn ang="0">
                  <a:pos x="0" y="36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65901" y="2682108"/>
              <a:ext cx="874713" cy="452437"/>
            </a:xfrm>
            <a:custGeom>
              <a:avLst/>
              <a:gdLst/>
              <a:ahLst/>
              <a:cxnLst>
                <a:cxn ang="0">
                  <a:pos x="433" y="765"/>
                </a:cxn>
                <a:cxn ang="0">
                  <a:pos x="412" y="764"/>
                </a:cxn>
                <a:cxn ang="0">
                  <a:pos x="390" y="794"/>
                </a:cxn>
                <a:cxn ang="0">
                  <a:pos x="375" y="792"/>
                </a:cxn>
                <a:cxn ang="0">
                  <a:pos x="370" y="751"/>
                </a:cxn>
                <a:cxn ang="0">
                  <a:pos x="324" y="724"/>
                </a:cxn>
                <a:cxn ang="0">
                  <a:pos x="312" y="708"/>
                </a:cxn>
                <a:cxn ang="0">
                  <a:pos x="288" y="692"/>
                </a:cxn>
                <a:cxn ang="0">
                  <a:pos x="251" y="641"/>
                </a:cxn>
                <a:cxn ang="0">
                  <a:pos x="232" y="610"/>
                </a:cxn>
                <a:cxn ang="0">
                  <a:pos x="253" y="594"/>
                </a:cxn>
                <a:cxn ang="0">
                  <a:pos x="279" y="573"/>
                </a:cxn>
                <a:cxn ang="0">
                  <a:pos x="338" y="544"/>
                </a:cxn>
                <a:cxn ang="0">
                  <a:pos x="319" y="487"/>
                </a:cxn>
                <a:cxn ang="0">
                  <a:pos x="258" y="475"/>
                </a:cxn>
                <a:cxn ang="0">
                  <a:pos x="209" y="470"/>
                </a:cxn>
                <a:cxn ang="0">
                  <a:pos x="157" y="495"/>
                </a:cxn>
                <a:cxn ang="0">
                  <a:pos x="106" y="505"/>
                </a:cxn>
                <a:cxn ang="0">
                  <a:pos x="27" y="413"/>
                </a:cxn>
                <a:cxn ang="0">
                  <a:pos x="20" y="283"/>
                </a:cxn>
                <a:cxn ang="0">
                  <a:pos x="113" y="259"/>
                </a:cxn>
                <a:cxn ang="0">
                  <a:pos x="292" y="222"/>
                </a:cxn>
                <a:cxn ang="0">
                  <a:pos x="498" y="253"/>
                </a:cxn>
                <a:cxn ang="0">
                  <a:pos x="717" y="253"/>
                </a:cxn>
                <a:cxn ang="0">
                  <a:pos x="658" y="185"/>
                </a:cxn>
                <a:cxn ang="0">
                  <a:pos x="830" y="68"/>
                </a:cxn>
                <a:cxn ang="0">
                  <a:pos x="1050" y="13"/>
                </a:cxn>
                <a:cxn ang="0">
                  <a:pos x="1176" y="61"/>
                </a:cxn>
                <a:cxn ang="0">
                  <a:pos x="1296" y="111"/>
                </a:cxn>
                <a:cxn ang="0">
                  <a:pos x="1442" y="99"/>
                </a:cxn>
                <a:cxn ang="0">
                  <a:pos x="1647" y="271"/>
                </a:cxn>
                <a:cxn ang="0">
                  <a:pos x="1793" y="265"/>
                </a:cxn>
                <a:cxn ang="0">
                  <a:pos x="2000" y="339"/>
                </a:cxn>
                <a:cxn ang="0">
                  <a:pos x="2002" y="381"/>
                </a:cxn>
                <a:cxn ang="0">
                  <a:pos x="1981" y="399"/>
                </a:cxn>
                <a:cxn ang="0">
                  <a:pos x="1960" y="404"/>
                </a:cxn>
                <a:cxn ang="0">
                  <a:pos x="1963" y="425"/>
                </a:cxn>
                <a:cxn ang="0">
                  <a:pos x="1985" y="466"/>
                </a:cxn>
                <a:cxn ang="0">
                  <a:pos x="1979" y="478"/>
                </a:cxn>
                <a:cxn ang="0">
                  <a:pos x="1939" y="481"/>
                </a:cxn>
                <a:cxn ang="0">
                  <a:pos x="1893" y="474"/>
                </a:cxn>
                <a:cxn ang="0">
                  <a:pos x="1864" y="474"/>
                </a:cxn>
                <a:cxn ang="0">
                  <a:pos x="1878" y="548"/>
                </a:cxn>
                <a:cxn ang="0">
                  <a:pos x="1880" y="586"/>
                </a:cxn>
                <a:cxn ang="0">
                  <a:pos x="1789" y="588"/>
                </a:cxn>
                <a:cxn ang="0">
                  <a:pos x="1768" y="604"/>
                </a:cxn>
                <a:cxn ang="0">
                  <a:pos x="1795" y="619"/>
                </a:cxn>
                <a:cxn ang="0">
                  <a:pos x="1814" y="650"/>
                </a:cxn>
                <a:cxn ang="0">
                  <a:pos x="1834" y="689"/>
                </a:cxn>
                <a:cxn ang="0">
                  <a:pos x="1837" y="706"/>
                </a:cxn>
                <a:cxn ang="0">
                  <a:pos x="1837" y="754"/>
                </a:cxn>
                <a:cxn ang="0">
                  <a:pos x="1741" y="740"/>
                </a:cxn>
                <a:cxn ang="0">
                  <a:pos x="1475" y="764"/>
                </a:cxn>
                <a:cxn ang="0">
                  <a:pos x="1316" y="795"/>
                </a:cxn>
                <a:cxn ang="0">
                  <a:pos x="1142" y="838"/>
                </a:cxn>
                <a:cxn ang="0">
                  <a:pos x="963" y="697"/>
                </a:cxn>
                <a:cxn ang="0">
                  <a:pos x="684" y="586"/>
                </a:cxn>
                <a:cxn ang="0">
                  <a:pos x="584" y="832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796089" y="2985319"/>
              <a:ext cx="409575" cy="249238"/>
            </a:xfrm>
            <a:custGeom>
              <a:avLst/>
              <a:gdLst/>
              <a:ahLst/>
              <a:cxnLst>
                <a:cxn ang="0">
                  <a:pos x="638" y="443"/>
                </a:cxn>
                <a:cxn ang="0">
                  <a:pos x="558" y="418"/>
                </a:cxn>
                <a:cxn ang="0">
                  <a:pos x="471" y="376"/>
                </a:cxn>
                <a:cxn ang="0">
                  <a:pos x="392" y="307"/>
                </a:cxn>
                <a:cxn ang="0">
                  <a:pos x="305" y="258"/>
                </a:cxn>
                <a:cxn ang="0">
                  <a:pos x="253" y="209"/>
                </a:cxn>
                <a:cxn ang="0">
                  <a:pos x="186" y="172"/>
                </a:cxn>
                <a:cxn ang="0">
                  <a:pos x="133" y="190"/>
                </a:cxn>
                <a:cxn ang="0">
                  <a:pos x="99" y="240"/>
                </a:cxn>
                <a:cxn ang="0">
                  <a:pos x="40" y="246"/>
                </a:cxn>
                <a:cxn ang="0">
                  <a:pos x="0" y="24"/>
                </a:cxn>
                <a:cxn ang="0">
                  <a:pos x="79" y="6"/>
                </a:cxn>
                <a:cxn ang="0">
                  <a:pos x="133" y="55"/>
                </a:cxn>
                <a:cxn ang="0">
                  <a:pos x="157" y="15"/>
                </a:cxn>
                <a:cxn ang="0">
                  <a:pos x="332" y="117"/>
                </a:cxn>
                <a:cxn ang="0">
                  <a:pos x="438" y="117"/>
                </a:cxn>
                <a:cxn ang="0">
                  <a:pos x="525" y="135"/>
                </a:cxn>
                <a:cxn ang="0">
                  <a:pos x="597" y="228"/>
                </a:cxn>
                <a:cxn ang="0">
                  <a:pos x="671" y="252"/>
                </a:cxn>
                <a:cxn ang="0">
                  <a:pos x="730" y="258"/>
                </a:cxn>
                <a:cxn ang="0">
                  <a:pos x="791" y="215"/>
                </a:cxn>
                <a:cxn ang="0">
                  <a:pos x="843" y="196"/>
                </a:cxn>
                <a:cxn ang="0">
                  <a:pos x="824" y="252"/>
                </a:cxn>
                <a:cxn ang="0">
                  <a:pos x="870" y="240"/>
                </a:cxn>
                <a:cxn ang="0">
                  <a:pos x="950" y="283"/>
                </a:cxn>
                <a:cxn ang="0">
                  <a:pos x="883" y="320"/>
                </a:cxn>
                <a:cxn ang="0">
                  <a:pos x="824" y="283"/>
                </a:cxn>
                <a:cxn ang="0">
                  <a:pos x="764" y="277"/>
                </a:cxn>
                <a:cxn ang="0">
                  <a:pos x="737" y="320"/>
                </a:cxn>
                <a:cxn ang="0">
                  <a:pos x="684" y="357"/>
                </a:cxn>
                <a:cxn ang="0">
                  <a:pos x="710" y="388"/>
                </a:cxn>
                <a:cxn ang="0">
                  <a:pos x="743" y="437"/>
                </a:cxn>
                <a:cxn ang="0">
                  <a:pos x="717" y="468"/>
                </a:cxn>
                <a:cxn ang="0">
                  <a:pos x="703" y="465"/>
                </a:cxn>
                <a:cxn ang="0">
                  <a:pos x="684" y="461"/>
                </a:cxn>
                <a:cxn ang="0">
                  <a:pos x="658" y="46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603876" y="3988620"/>
              <a:ext cx="296863" cy="288925"/>
            </a:xfrm>
            <a:custGeom>
              <a:avLst/>
              <a:gdLst/>
              <a:ahLst/>
              <a:cxnLst>
                <a:cxn ang="0">
                  <a:pos x="6" y="383"/>
                </a:cxn>
                <a:cxn ang="0">
                  <a:pos x="8" y="316"/>
                </a:cxn>
                <a:cxn ang="0">
                  <a:pos x="17" y="287"/>
                </a:cxn>
                <a:cxn ang="0">
                  <a:pos x="52" y="238"/>
                </a:cxn>
                <a:cxn ang="0">
                  <a:pos x="71" y="205"/>
                </a:cxn>
                <a:cxn ang="0">
                  <a:pos x="73" y="167"/>
                </a:cxn>
                <a:cxn ang="0">
                  <a:pos x="73" y="137"/>
                </a:cxn>
                <a:cxn ang="0">
                  <a:pos x="54" y="108"/>
                </a:cxn>
                <a:cxn ang="0">
                  <a:pos x="61" y="79"/>
                </a:cxn>
                <a:cxn ang="0">
                  <a:pos x="76" y="50"/>
                </a:cxn>
                <a:cxn ang="0">
                  <a:pos x="96" y="25"/>
                </a:cxn>
                <a:cxn ang="0">
                  <a:pos x="120" y="7"/>
                </a:cxn>
                <a:cxn ang="0">
                  <a:pos x="146" y="0"/>
                </a:cxn>
                <a:cxn ang="0">
                  <a:pos x="173" y="5"/>
                </a:cxn>
                <a:cxn ang="0">
                  <a:pos x="206" y="26"/>
                </a:cxn>
                <a:cxn ang="0">
                  <a:pos x="236" y="45"/>
                </a:cxn>
                <a:cxn ang="0">
                  <a:pos x="259" y="50"/>
                </a:cxn>
                <a:cxn ang="0">
                  <a:pos x="272" y="44"/>
                </a:cxn>
                <a:cxn ang="0">
                  <a:pos x="284" y="35"/>
                </a:cxn>
                <a:cxn ang="0">
                  <a:pos x="300" y="32"/>
                </a:cxn>
                <a:cxn ang="0">
                  <a:pos x="318" y="39"/>
                </a:cxn>
                <a:cxn ang="0">
                  <a:pos x="337" y="65"/>
                </a:cxn>
                <a:cxn ang="0">
                  <a:pos x="353" y="79"/>
                </a:cxn>
                <a:cxn ang="0">
                  <a:pos x="370" y="81"/>
                </a:cxn>
                <a:cxn ang="0">
                  <a:pos x="381" y="75"/>
                </a:cxn>
                <a:cxn ang="0">
                  <a:pos x="397" y="56"/>
                </a:cxn>
                <a:cxn ang="0">
                  <a:pos x="419" y="38"/>
                </a:cxn>
                <a:cxn ang="0">
                  <a:pos x="458" y="22"/>
                </a:cxn>
                <a:cxn ang="0">
                  <a:pos x="487" y="25"/>
                </a:cxn>
                <a:cxn ang="0">
                  <a:pos x="511" y="35"/>
                </a:cxn>
                <a:cxn ang="0">
                  <a:pos x="537" y="43"/>
                </a:cxn>
                <a:cxn ang="0">
                  <a:pos x="571" y="39"/>
                </a:cxn>
                <a:cxn ang="0">
                  <a:pos x="646" y="67"/>
                </a:cxn>
                <a:cxn ang="0">
                  <a:pos x="665" y="105"/>
                </a:cxn>
                <a:cxn ang="0">
                  <a:pos x="623" y="183"/>
                </a:cxn>
                <a:cxn ang="0">
                  <a:pos x="593" y="233"/>
                </a:cxn>
                <a:cxn ang="0">
                  <a:pos x="570" y="291"/>
                </a:cxn>
                <a:cxn ang="0">
                  <a:pos x="550" y="343"/>
                </a:cxn>
                <a:cxn ang="0">
                  <a:pos x="525" y="407"/>
                </a:cxn>
                <a:cxn ang="0">
                  <a:pos x="516" y="422"/>
                </a:cxn>
                <a:cxn ang="0">
                  <a:pos x="500" y="439"/>
                </a:cxn>
                <a:cxn ang="0">
                  <a:pos x="482" y="443"/>
                </a:cxn>
                <a:cxn ang="0">
                  <a:pos x="459" y="432"/>
                </a:cxn>
                <a:cxn ang="0">
                  <a:pos x="440" y="421"/>
                </a:cxn>
                <a:cxn ang="0">
                  <a:pos x="408" y="424"/>
                </a:cxn>
                <a:cxn ang="0">
                  <a:pos x="381" y="441"/>
                </a:cxn>
                <a:cxn ang="0">
                  <a:pos x="364" y="469"/>
                </a:cxn>
                <a:cxn ang="0">
                  <a:pos x="342" y="521"/>
                </a:cxn>
                <a:cxn ang="0">
                  <a:pos x="325" y="549"/>
                </a:cxn>
                <a:cxn ang="0">
                  <a:pos x="229" y="546"/>
                </a:cxn>
                <a:cxn ang="0">
                  <a:pos x="217" y="548"/>
                </a:cxn>
                <a:cxn ang="0">
                  <a:pos x="179" y="543"/>
                </a:cxn>
                <a:cxn ang="0">
                  <a:pos x="161" y="540"/>
                </a:cxn>
                <a:cxn ang="0">
                  <a:pos x="144" y="531"/>
                </a:cxn>
                <a:cxn ang="0">
                  <a:pos x="129" y="515"/>
                </a:cxn>
                <a:cxn ang="0">
                  <a:pos x="119" y="496"/>
                </a:cxn>
                <a:cxn ang="0">
                  <a:pos x="113" y="472"/>
                </a:cxn>
                <a:cxn ang="0">
                  <a:pos x="100" y="460"/>
                </a:cxn>
                <a:cxn ang="0">
                  <a:pos x="83" y="447"/>
                </a:cxn>
                <a:cxn ang="0">
                  <a:pos x="63" y="432"/>
                </a:cxn>
                <a:cxn ang="0">
                  <a:pos x="39" y="429"/>
                </a:cxn>
                <a:cxn ang="0">
                  <a:pos x="0" y="438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446838" y="3853682"/>
              <a:ext cx="152400" cy="169862"/>
            </a:xfrm>
            <a:custGeom>
              <a:avLst/>
              <a:gdLst/>
              <a:ahLst/>
              <a:cxnLst>
                <a:cxn ang="0">
                  <a:pos x="326" y="324"/>
                </a:cxn>
                <a:cxn ang="0">
                  <a:pos x="331" y="321"/>
                </a:cxn>
                <a:cxn ang="0">
                  <a:pos x="337" y="318"/>
                </a:cxn>
                <a:cxn ang="0">
                  <a:pos x="346" y="318"/>
                </a:cxn>
                <a:cxn ang="0">
                  <a:pos x="356" y="324"/>
                </a:cxn>
                <a:cxn ang="0">
                  <a:pos x="319" y="285"/>
                </a:cxn>
                <a:cxn ang="0">
                  <a:pos x="278" y="235"/>
                </a:cxn>
                <a:cxn ang="0">
                  <a:pos x="253" y="204"/>
                </a:cxn>
                <a:cxn ang="0">
                  <a:pos x="232" y="186"/>
                </a:cxn>
                <a:cxn ang="0">
                  <a:pos x="219" y="181"/>
                </a:cxn>
                <a:cxn ang="0">
                  <a:pos x="208" y="180"/>
                </a:cxn>
                <a:cxn ang="0">
                  <a:pos x="201" y="179"/>
                </a:cxn>
                <a:cxn ang="0">
                  <a:pos x="199" y="174"/>
                </a:cxn>
                <a:cxn ang="0">
                  <a:pos x="198" y="170"/>
                </a:cxn>
                <a:cxn ang="0">
                  <a:pos x="195" y="169"/>
                </a:cxn>
                <a:cxn ang="0">
                  <a:pos x="184" y="172"/>
                </a:cxn>
                <a:cxn ang="0">
                  <a:pos x="171" y="172"/>
                </a:cxn>
                <a:cxn ang="0">
                  <a:pos x="165" y="168"/>
                </a:cxn>
                <a:cxn ang="0">
                  <a:pos x="160" y="161"/>
                </a:cxn>
                <a:cxn ang="0">
                  <a:pos x="152" y="144"/>
                </a:cxn>
                <a:cxn ang="0">
                  <a:pos x="143" y="131"/>
                </a:cxn>
                <a:cxn ang="0">
                  <a:pos x="133" y="119"/>
                </a:cxn>
                <a:cxn ang="0">
                  <a:pos x="127" y="105"/>
                </a:cxn>
                <a:cxn ang="0">
                  <a:pos x="122" y="84"/>
                </a:cxn>
                <a:cxn ang="0">
                  <a:pos x="119" y="53"/>
                </a:cxn>
                <a:cxn ang="0">
                  <a:pos x="117" y="23"/>
                </a:cxn>
                <a:cxn ang="0">
                  <a:pos x="112" y="0"/>
                </a:cxn>
                <a:cxn ang="0">
                  <a:pos x="73" y="26"/>
                </a:cxn>
                <a:cxn ang="0">
                  <a:pos x="61" y="33"/>
                </a:cxn>
                <a:cxn ang="0">
                  <a:pos x="33" y="50"/>
                </a:cxn>
                <a:cxn ang="0">
                  <a:pos x="21" y="61"/>
                </a:cxn>
                <a:cxn ang="0">
                  <a:pos x="17" y="72"/>
                </a:cxn>
                <a:cxn ang="0">
                  <a:pos x="16" y="83"/>
                </a:cxn>
                <a:cxn ang="0">
                  <a:pos x="20" y="93"/>
                </a:cxn>
                <a:cxn ang="0">
                  <a:pos x="22" y="100"/>
                </a:cxn>
                <a:cxn ang="0">
                  <a:pos x="20" y="110"/>
                </a:cxn>
                <a:cxn ang="0">
                  <a:pos x="15" y="123"/>
                </a:cxn>
                <a:cxn ang="0">
                  <a:pos x="7" y="136"/>
                </a:cxn>
                <a:cxn ang="0">
                  <a:pos x="0" y="155"/>
                </a:cxn>
                <a:cxn ang="0">
                  <a:pos x="0" y="174"/>
                </a:cxn>
                <a:cxn ang="0">
                  <a:pos x="5" y="182"/>
                </a:cxn>
                <a:cxn ang="0">
                  <a:pos x="11" y="187"/>
                </a:cxn>
                <a:cxn ang="0">
                  <a:pos x="20" y="186"/>
                </a:cxn>
                <a:cxn ang="0">
                  <a:pos x="44" y="168"/>
                </a:cxn>
                <a:cxn ang="0">
                  <a:pos x="60" y="161"/>
                </a:cxn>
                <a:cxn ang="0">
                  <a:pos x="76" y="150"/>
                </a:cxn>
                <a:cxn ang="0">
                  <a:pos x="93" y="159"/>
                </a:cxn>
                <a:cxn ang="0">
                  <a:pos x="110" y="164"/>
                </a:cxn>
                <a:cxn ang="0">
                  <a:pos x="142" y="180"/>
                </a:cxn>
                <a:cxn ang="0">
                  <a:pos x="163" y="190"/>
                </a:cxn>
                <a:cxn ang="0">
                  <a:pos x="196" y="209"/>
                </a:cxn>
                <a:cxn ang="0">
                  <a:pos x="219" y="225"/>
                </a:cxn>
                <a:cxn ang="0">
                  <a:pos x="245" y="244"/>
                </a:cxn>
                <a:cxn ang="0">
                  <a:pos x="256" y="254"/>
                </a:cxn>
                <a:cxn ang="0">
                  <a:pos x="267" y="270"/>
                </a:cxn>
                <a:cxn ang="0">
                  <a:pos x="269" y="279"/>
                </a:cxn>
                <a:cxn ang="0">
                  <a:pos x="269" y="286"/>
                </a:cxn>
                <a:cxn ang="0">
                  <a:pos x="270" y="290"/>
                </a:cxn>
                <a:cxn ang="0">
                  <a:pos x="276" y="292"/>
                </a:cxn>
                <a:cxn ang="0">
                  <a:pos x="292" y="302"/>
                </a:cxn>
                <a:cxn ang="0">
                  <a:pos x="318" y="3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908676" y="2858319"/>
              <a:ext cx="125413" cy="57150"/>
            </a:xfrm>
            <a:custGeom>
              <a:avLst/>
              <a:gdLst/>
              <a:ahLst/>
              <a:cxnLst>
                <a:cxn ang="0">
                  <a:pos x="126" y="0"/>
                </a:cxn>
                <a:cxn ang="0">
                  <a:pos x="153" y="0"/>
                </a:cxn>
                <a:cxn ang="0">
                  <a:pos x="198" y="1"/>
                </a:cxn>
                <a:cxn ang="0">
                  <a:pos x="250" y="6"/>
                </a:cxn>
                <a:cxn ang="0">
                  <a:pos x="292" y="7"/>
                </a:cxn>
                <a:cxn ang="0">
                  <a:pos x="290" y="20"/>
                </a:cxn>
                <a:cxn ang="0">
                  <a:pos x="285" y="33"/>
                </a:cxn>
                <a:cxn ang="0">
                  <a:pos x="279" y="55"/>
                </a:cxn>
                <a:cxn ang="0">
                  <a:pos x="135" y="70"/>
                </a:cxn>
                <a:cxn ang="0">
                  <a:pos x="99" y="89"/>
                </a:cxn>
                <a:cxn ang="0">
                  <a:pos x="79" y="96"/>
                </a:cxn>
                <a:cxn ang="0">
                  <a:pos x="66" y="98"/>
                </a:cxn>
                <a:cxn ang="0">
                  <a:pos x="55" y="98"/>
                </a:cxn>
                <a:cxn ang="0">
                  <a:pos x="45" y="94"/>
                </a:cxn>
                <a:cxn ang="0">
                  <a:pos x="33" y="86"/>
                </a:cxn>
                <a:cxn ang="0">
                  <a:pos x="20" y="77"/>
                </a:cxn>
                <a:cxn ang="0">
                  <a:pos x="7" y="69"/>
                </a:cxn>
                <a:cxn ang="0">
                  <a:pos x="1" y="57"/>
                </a:cxn>
                <a:cxn ang="0">
                  <a:pos x="0" y="42"/>
                </a:cxn>
                <a:cxn ang="0">
                  <a:pos x="1" y="25"/>
                </a:cxn>
                <a:cxn ang="0">
                  <a:pos x="3" y="20"/>
                </a:cxn>
                <a:cxn ang="0">
                  <a:pos x="9" y="18"/>
                </a:cxn>
                <a:cxn ang="0">
                  <a:pos x="15" y="21"/>
                </a:cxn>
                <a:cxn ang="0">
                  <a:pos x="25" y="28"/>
                </a:cxn>
                <a:cxn ang="0">
                  <a:pos x="35" y="32"/>
                </a:cxn>
                <a:cxn ang="0">
                  <a:pos x="45" y="34"/>
                </a:cxn>
                <a:cxn ang="0">
                  <a:pos x="54" y="33"/>
                </a:cxn>
                <a:cxn ang="0">
                  <a:pos x="67" y="29"/>
                </a:cxn>
                <a:cxn ang="0">
                  <a:pos x="81" y="19"/>
                </a:cxn>
                <a:cxn ang="0">
                  <a:pos x="88" y="11"/>
                </a:cxn>
                <a:cxn ang="0">
                  <a:pos x="94" y="6"/>
                </a:cxn>
                <a:cxn ang="0">
                  <a:pos x="109" y="1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772275" y="3579044"/>
              <a:ext cx="19050" cy="57150"/>
            </a:xfrm>
            <a:custGeom>
              <a:avLst/>
              <a:gdLst/>
              <a:ahLst/>
              <a:cxnLst>
                <a:cxn ang="0">
                  <a:pos x="39" y="93"/>
                </a:cxn>
                <a:cxn ang="0">
                  <a:pos x="31" y="91"/>
                </a:cxn>
                <a:cxn ang="0">
                  <a:pos x="26" y="89"/>
                </a:cxn>
                <a:cxn ang="0">
                  <a:pos x="21" y="87"/>
                </a:cxn>
                <a:cxn ang="0">
                  <a:pos x="18" y="84"/>
                </a:cxn>
                <a:cxn ang="0">
                  <a:pos x="15" y="79"/>
                </a:cxn>
                <a:cxn ang="0">
                  <a:pos x="14" y="73"/>
                </a:cxn>
                <a:cxn ang="0">
                  <a:pos x="13" y="65"/>
                </a:cxn>
                <a:cxn ang="0">
                  <a:pos x="11" y="55"/>
                </a:cxn>
                <a:cxn ang="0">
                  <a:pos x="11" y="48"/>
                </a:cxn>
                <a:cxn ang="0">
                  <a:pos x="9" y="42"/>
                </a:cxn>
                <a:cxn ang="0">
                  <a:pos x="6" y="38"/>
                </a:cxn>
                <a:cxn ang="0">
                  <a:pos x="4" y="36"/>
                </a:cxn>
                <a:cxn ang="0">
                  <a:pos x="2" y="34"/>
                </a:cxn>
                <a:cxn ang="0">
                  <a:pos x="0" y="32"/>
                </a:cxn>
                <a:cxn ang="0">
                  <a:pos x="2" y="29"/>
                </a:cxn>
                <a:cxn ang="0">
                  <a:pos x="5" y="24"/>
                </a:cxn>
                <a:cxn ang="0">
                  <a:pos x="6" y="28"/>
                </a:cxn>
                <a:cxn ang="0">
                  <a:pos x="7" y="29"/>
                </a:cxn>
                <a:cxn ang="0">
                  <a:pos x="8" y="30"/>
                </a:cxn>
                <a:cxn ang="0">
                  <a:pos x="9" y="29"/>
                </a:cxn>
                <a:cxn ang="0">
                  <a:pos x="11" y="25"/>
                </a:cxn>
                <a:cxn ang="0">
                  <a:pos x="14" y="19"/>
                </a:cxn>
                <a:cxn ang="0">
                  <a:pos x="16" y="12"/>
                </a:cxn>
                <a:cxn ang="0">
                  <a:pos x="20" y="6"/>
                </a:cxn>
                <a:cxn ang="0">
                  <a:pos x="22" y="4"/>
                </a:cxn>
                <a:cxn ang="0">
                  <a:pos x="25" y="2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3" y="10"/>
                </a:cxn>
                <a:cxn ang="0">
                  <a:pos x="33" y="16"/>
                </a:cxn>
                <a:cxn ang="0">
                  <a:pos x="33" y="20"/>
                </a:cxn>
                <a:cxn ang="0">
                  <a:pos x="32" y="23"/>
                </a:cxn>
                <a:cxn ang="0">
                  <a:pos x="32" y="27"/>
                </a:cxn>
                <a:cxn ang="0">
                  <a:pos x="32" y="31"/>
                </a:cxn>
                <a:cxn ang="0">
                  <a:pos x="35" y="36"/>
                </a:cxn>
                <a:cxn ang="0">
                  <a:pos x="39" y="43"/>
                </a:cxn>
                <a:cxn ang="0">
                  <a:pos x="38" y="44"/>
                </a:cxn>
                <a:cxn ang="0">
                  <a:pos x="37" y="45"/>
                </a:cxn>
                <a:cxn ang="0">
                  <a:pos x="37" y="48"/>
                </a:cxn>
                <a:cxn ang="0">
                  <a:pos x="38" y="51"/>
                </a:cxn>
                <a:cxn ang="0">
                  <a:pos x="39" y="59"/>
                </a:cxn>
                <a:cxn ang="0">
                  <a:pos x="41" y="68"/>
                </a:cxn>
                <a:cxn ang="0">
                  <a:pos x="42" y="76"/>
                </a:cxn>
                <a:cxn ang="0">
                  <a:pos x="43" y="85"/>
                </a:cxn>
                <a:cxn ang="0">
                  <a:pos x="43" y="88"/>
                </a:cxn>
                <a:cxn ang="0">
                  <a:pos x="42" y="91"/>
                </a:cxn>
                <a:cxn ang="0">
                  <a:pos x="40" y="92"/>
                </a:cxn>
                <a:cxn ang="0">
                  <a:pos x="39" y="93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891339" y="3583807"/>
              <a:ext cx="14287" cy="57150"/>
            </a:xfrm>
            <a:custGeom>
              <a:avLst/>
              <a:gdLst/>
              <a:ahLst/>
              <a:cxnLst>
                <a:cxn ang="0">
                  <a:pos x="40" y="56"/>
                </a:cxn>
                <a:cxn ang="0">
                  <a:pos x="37" y="46"/>
                </a:cxn>
                <a:cxn ang="0">
                  <a:pos x="33" y="38"/>
                </a:cxn>
                <a:cxn ang="0">
                  <a:pos x="28" y="32"/>
                </a:cxn>
                <a:cxn ang="0">
                  <a:pos x="23" y="28"/>
                </a:cxn>
                <a:cxn ang="0">
                  <a:pos x="11" y="21"/>
                </a:cxn>
                <a:cxn ang="0">
                  <a:pos x="0" y="12"/>
                </a:cxn>
                <a:cxn ang="0">
                  <a:pos x="13" y="4"/>
                </a:cxn>
                <a:cxn ang="0">
                  <a:pos x="20" y="0"/>
                </a:cxn>
                <a:cxn ang="0">
                  <a:pos x="28" y="12"/>
                </a:cxn>
                <a:cxn ang="0">
                  <a:pos x="35" y="22"/>
                </a:cxn>
                <a:cxn ang="0">
                  <a:pos x="37" y="25"/>
                </a:cxn>
                <a:cxn ang="0">
                  <a:pos x="39" y="29"/>
                </a:cxn>
                <a:cxn ang="0">
                  <a:pos x="39" y="33"/>
                </a:cxn>
                <a:cxn ang="0">
                  <a:pos x="40" y="37"/>
                </a:cxn>
                <a:cxn ang="0">
                  <a:pos x="40" y="44"/>
                </a:cxn>
                <a:cxn ang="0">
                  <a:pos x="40" y="46"/>
                </a:cxn>
                <a:cxn ang="0">
                  <a:pos x="40" y="49"/>
                </a:cxn>
                <a:cxn ang="0">
                  <a:pos x="40" y="56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378825" y="4244207"/>
              <a:ext cx="44450" cy="5715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2" y="10"/>
                </a:cxn>
                <a:cxn ang="0">
                  <a:pos x="24" y="12"/>
                </a:cxn>
                <a:cxn ang="0">
                  <a:pos x="35" y="13"/>
                </a:cxn>
                <a:cxn ang="0">
                  <a:pos x="45" y="13"/>
                </a:cxn>
                <a:cxn ang="0">
                  <a:pos x="54" y="11"/>
                </a:cxn>
                <a:cxn ang="0">
                  <a:pos x="61" y="8"/>
                </a:cxn>
                <a:cxn ang="0">
                  <a:pos x="68" y="5"/>
                </a:cxn>
                <a:cxn ang="0">
                  <a:pos x="74" y="0"/>
                </a:cxn>
                <a:cxn ang="0">
                  <a:pos x="84" y="16"/>
                </a:cxn>
                <a:cxn ang="0">
                  <a:pos x="94" y="30"/>
                </a:cxn>
                <a:cxn ang="0">
                  <a:pos x="101" y="44"/>
                </a:cxn>
                <a:cxn ang="0">
                  <a:pos x="105" y="55"/>
                </a:cxn>
                <a:cxn ang="0">
                  <a:pos x="106" y="60"/>
                </a:cxn>
                <a:cxn ang="0">
                  <a:pos x="106" y="63"/>
                </a:cxn>
                <a:cxn ang="0">
                  <a:pos x="105" y="67"/>
                </a:cxn>
                <a:cxn ang="0">
                  <a:pos x="103" y="69"/>
                </a:cxn>
                <a:cxn ang="0">
                  <a:pos x="101" y="70"/>
                </a:cxn>
                <a:cxn ang="0">
                  <a:pos x="98" y="70"/>
                </a:cxn>
                <a:cxn ang="0">
                  <a:pos x="92" y="70"/>
                </a:cxn>
                <a:cxn ang="0">
                  <a:pos x="87" y="68"/>
                </a:cxn>
                <a:cxn ang="0">
                  <a:pos x="74" y="70"/>
                </a:cxn>
                <a:cxn ang="0">
                  <a:pos x="63" y="71"/>
                </a:cxn>
                <a:cxn ang="0">
                  <a:pos x="53" y="69"/>
                </a:cxn>
                <a:cxn ang="0">
                  <a:pos x="45" y="66"/>
                </a:cxn>
                <a:cxn ang="0">
                  <a:pos x="37" y="62"/>
                </a:cxn>
                <a:cxn ang="0">
                  <a:pos x="32" y="57"/>
                </a:cxn>
                <a:cxn ang="0">
                  <a:pos x="27" y="51"/>
                </a:cxn>
                <a:cxn ang="0">
                  <a:pos x="24" y="45"/>
                </a:cxn>
                <a:cxn ang="0">
                  <a:pos x="21" y="38"/>
                </a:cxn>
                <a:cxn ang="0">
                  <a:pos x="20" y="30"/>
                </a:cxn>
                <a:cxn ang="0">
                  <a:pos x="19" y="24"/>
                </a:cxn>
                <a:cxn ang="0">
                  <a:pos x="18" y="19"/>
                </a:cxn>
                <a:cxn ang="0">
                  <a:pos x="18" y="14"/>
                </a:cxn>
                <a:cxn ang="0">
                  <a:pos x="19" y="10"/>
                </a:cxn>
                <a:cxn ang="0">
                  <a:pos x="20" y="7"/>
                </a:cxn>
                <a:cxn ang="0">
                  <a:pos x="21" y="7"/>
                </a:cxn>
                <a:cxn ang="0">
                  <a:pos x="20" y="10"/>
                </a:cxn>
                <a:cxn ang="0">
                  <a:pos x="19" y="16"/>
                </a:cxn>
                <a:cxn ang="0">
                  <a:pos x="19" y="17"/>
                </a:cxn>
                <a:cxn ang="0">
                  <a:pos x="19" y="17"/>
                </a:cxn>
                <a:cxn ang="0">
                  <a:pos x="20" y="17"/>
                </a:cxn>
                <a:cxn ang="0">
                  <a:pos x="21" y="17"/>
                </a:cxn>
                <a:cxn ang="0">
                  <a:pos x="23" y="13"/>
                </a:cxn>
                <a:cxn ang="0">
                  <a:pos x="27" y="7"/>
                </a:cxn>
                <a:cxn ang="0">
                  <a:pos x="0" y="7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8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4230689" y="6052370"/>
              <a:ext cx="65087" cy="55563"/>
              <a:chOff x="1654" y="3671"/>
              <a:chExt cx="49" cy="17"/>
            </a:xfrm>
            <a:grpFill/>
          </p:grpSpPr>
          <p:sp>
            <p:nvSpPr>
              <p:cNvPr id="549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/>
                <a:ahLst/>
                <a:cxnLst>
                  <a:cxn ang="0">
                    <a:pos x="26" y="43"/>
                  </a:cxn>
                  <a:cxn ang="0">
                    <a:pos x="59" y="18"/>
                  </a:cxn>
                  <a:cxn ang="0">
                    <a:pos x="55" y="14"/>
                  </a:cxn>
                  <a:cxn ang="0">
                    <a:pos x="51" y="9"/>
                  </a:cxn>
                  <a:cxn ang="0">
                    <a:pos x="47" y="5"/>
                  </a:cxn>
                  <a:cxn ang="0">
                    <a:pos x="46" y="0"/>
                  </a:cxn>
                  <a:cxn ang="0">
                    <a:pos x="41" y="1"/>
                  </a:cxn>
                  <a:cxn ang="0">
                    <a:pos x="34" y="4"/>
                  </a:cxn>
                  <a:cxn ang="0">
                    <a:pos x="31" y="6"/>
                  </a:cxn>
                  <a:cxn ang="0">
                    <a:pos x="29" y="8"/>
                  </a:cxn>
                  <a:cxn ang="0">
                    <a:pos x="26" y="10"/>
                  </a:cxn>
                  <a:cxn ang="0">
                    <a:pos x="26" y="12"/>
                  </a:cxn>
                  <a:cxn ang="0">
                    <a:pos x="20" y="13"/>
                  </a:cxn>
                  <a:cxn ang="0">
                    <a:pos x="13" y="16"/>
                  </a:cxn>
                  <a:cxn ang="0">
                    <a:pos x="6" y="20"/>
                  </a:cxn>
                  <a:cxn ang="0">
                    <a:pos x="0" y="24"/>
                  </a:cxn>
                  <a:cxn ang="0">
                    <a:pos x="5" y="29"/>
                  </a:cxn>
                  <a:cxn ang="0">
                    <a:pos x="10" y="34"/>
                  </a:cxn>
                  <a:cxn ang="0">
                    <a:pos x="18" y="39"/>
                  </a:cxn>
                  <a:cxn ang="0">
                    <a:pos x="26" y="43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50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4" y="1"/>
                  </a:cxn>
                  <a:cxn ang="0">
                    <a:pos x="39" y="0"/>
                  </a:cxn>
                  <a:cxn ang="0">
                    <a:pos x="45" y="1"/>
                  </a:cxn>
                  <a:cxn ang="0">
                    <a:pos x="51" y="2"/>
                  </a:cxn>
                  <a:cxn ang="0">
                    <a:pos x="58" y="4"/>
                  </a:cxn>
                  <a:cxn ang="0">
                    <a:pos x="67" y="8"/>
                  </a:cxn>
                  <a:cxn ang="0">
                    <a:pos x="55" y="13"/>
                  </a:cxn>
                  <a:cxn ang="0">
                    <a:pos x="46" y="19"/>
                  </a:cxn>
                  <a:cxn ang="0">
                    <a:pos x="42" y="22"/>
                  </a:cxn>
                  <a:cxn ang="0">
                    <a:pos x="36" y="24"/>
                  </a:cxn>
                  <a:cxn ang="0">
                    <a:pos x="29" y="26"/>
                  </a:cxn>
                  <a:cxn ang="0">
                    <a:pos x="20" y="26"/>
                  </a:cxn>
                  <a:cxn ang="0">
                    <a:pos x="24" y="26"/>
                  </a:cxn>
                  <a:cxn ang="0">
                    <a:pos x="34" y="26"/>
                  </a:cxn>
                  <a:cxn ang="0">
                    <a:pos x="29" y="34"/>
                  </a:cxn>
                  <a:cxn ang="0">
                    <a:pos x="25" y="40"/>
                  </a:cxn>
                  <a:cxn ang="0">
                    <a:pos x="22" y="44"/>
                  </a:cxn>
                  <a:cxn ang="0">
                    <a:pos x="20" y="46"/>
                  </a:cxn>
                  <a:cxn ang="0">
                    <a:pos x="12" y="48"/>
                  </a:cxn>
                  <a:cxn ang="0">
                    <a:pos x="0" y="51"/>
                  </a:cxn>
                  <a:cxn ang="0">
                    <a:pos x="0" y="2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9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78263" y="3847333"/>
              <a:ext cx="31750" cy="58737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1" y="19"/>
                </a:cxn>
                <a:cxn ang="0">
                  <a:pos x="2" y="21"/>
                </a:cxn>
                <a:cxn ang="0">
                  <a:pos x="4" y="24"/>
                </a:cxn>
                <a:cxn ang="0">
                  <a:pos x="7" y="26"/>
                </a:cxn>
                <a:cxn ang="0">
                  <a:pos x="13" y="29"/>
                </a:cxn>
                <a:cxn ang="0">
                  <a:pos x="22" y="31"/>
                </a:cxn>
                <a:cxn ang="0">
                  <a:pos x="40" y="33"/>
                </a:cxn>
                <a:cxn ang="0">
                  <a:pos x="54" y="34"/>
                </a:cxn>
                <a:cxn ang="0">
                  <a:pos x="58" y="33"/>
                </a:cxn>
                <a:cxn ang="0">
                  <a:pos x="62" y="32"/>
                </a:cxn>
                <a:cxn ang="0">
                  <a:pos x="65" y="29"/>
                </a:cxn>
                <a:cxn ang="0">
                  <a:pos x="67" y="27"/>
                </a:cxn>
                <a:cxn ang="0">
                  <a:pos x="73" y="21"/>
                </a:cxn>
                <a:cxn ang="0">
                  <a:pos x="80" y="15"/>
                </a:cxn>
                <a:cxn ang="0">
                  <a:pos x="75" y="10"/>
                </a:cxn>
                <a:cxn ang="0">
                  <a:pos x="70" y="7"/>
                </a:cxn>
                <a:cxn ang="0">
                  <a:pos x="65" y="4"/>
                </a:cxn>
                <a:cxn ang="0">
                  <a:pos x="60" y="2"/>
                </a:cxn>
                <a:cxn ang="0">
                  <a:pos x="55" y="0"/>
                </a:cxn>
                <a:cxn ang="0">
                  <a:pos x="51" y="0"/>
                </a:cxn>
                <a:cxn ang="0">
                  <a:pos x="45" y="1"/>
                </a:cxn>
                <a:cxn ang="0">
                  <a:pos x="41" y="2"/>
                </a:cxn>
                <a:cxn ang="0">
                  <a:pos x="34" y="2"/>
                </a:cxn>
                <a:cxn ang="0">
                  <a:pos x="21" y="2"/>
                </a:cxn>
                <a:cxn ang="0">
                  <a:pos x="13" y="3"/>
                </a:cxn>
                <a:cxn ang="0">
                  <a:pos x="7" y="5"/>
                </a:cxn>
                <a:cxn ang="0">
                  <a:pos x="4" y="7"/>
                </a:cxn>
                <a:cxn ang="0">
                  <a:pos x="2" y="9"/>
                </a:cxn>
                <a:cxn ang="0">
                  <a:pos x="1" y="11"/>
                </a:cxn>
                <a:cxn ang="0">
                  <a:pos x="0" y="15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933825" y="3853683"/>
              <a:ext cx="1588" cy="587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" y="13"/>
                </a:cxn>
                <a:cxn ang="0">
                  <a:pos x="7" y="7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946525" y="3855269"/>
              <a:ext cx="6350" cy="587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" y="3"/>
                </a:cxn>
                <a:cxn ang="0">
                  <a:pos x="20" y="6"/>
                </a:cxn>
                <a:cxn ang="0">
                  <a:pos x="0" y="0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960814" y="3845744"/>
              <a:ext cx="7937" cy="57150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14" y="0"/>
                </a:cxn>
                <a:cxn ang="0">
                  <a:pos x="0" y="12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940176" y="3837808"/>
              <a:ext cx="11113" cy="587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7" y="7"/>
                </a:cxn>
                <a:cxn ang="0">
                  <a:pos x="10" y="7"/>
                </a:cxn>
                <a:cxn ang="0">
                  <a:pos x="15" y="6"/>
                </a:cxn>
                <a:cxn ang="0">
                  <a:pos x="19" y="4"/>
                </a:cxn>
                <a:cxn ang="0">
                  <a:pos x="23" y="2"/>
                </a:cxn>
                <a:cxn ang="0">
                  <a:pos x="27" y="0"/>
                </a:cxn>
                <a:cxn ang="0">
                  <a:pos x="0" y="0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989389" y="3866383"/>
              <a:ext cx="14287" cy="603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3"/>
                </a:cxn>
                <a:cxn ang="0">
                  <a:pos x="27" y="6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997325" y="3863208"/>
              <a:ext cx="6350" cy="9525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997325" y="3888607"/>
              <a:ext cx="6350" cy="1111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997326" y="3883844"/>
              <a:ext cx="11113" cy="58738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2" y="24"/>
                </a:cxn>
                <a:cxn ang="0">
                  <a:pos x="6" y="22"/>
                </a:cxn>
                <a:cxn ang="0">
                  <a:pos x="9" y="20"/>
                </a:cxn>
                <a:cxn ang="0">
                  <a:pos x="12" y="16"/>
                </a:cxn>
                <a:cxn ang="0">
                  <a:pos x="15" y="13"/>
                </a:cxn>
                <a:cxn ang="0">
                  <a:pos x="18" y="9"/>
                </a:cxn>
                <a:cxn ang="0">
                  <a:pos x="19" y="4"/>
                </a:cxn>
                <a:cxn ang="0">
                  <a:pos x="20" y="0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003676" y="3912420"/>
              <a:ext cx="17463" cy="55563"/>
            </a:xfrm>
            <a:custGeom>
              <a:avLst/>
              <a:gdLst/>
              <a:ahLst/>
              <a:cxnLst>
                <a:cxn ang="0">
                  <a:pos x="13" y="7"/>
                </a:cxn>
                <a:cxn ang="0">
                  <a:pos x="0" y="19"/>
                </a:cxn>
                <a:cxn ang="0">
                  <a:pos x="10" y="20"/>
                </a:cxn>
                <a:cxn ang="0">
                  <a:pos x="19" y="22"/>
                </a:cxn>
                <a:cxn ang="0">
                  <a:pos x="27" y="25"/>
                </a:cxn>
                <a:cxn ang="0">
                  <a:pos x="33" y="25"/>
                </a:cxn>
                <a:cxn ang="0">
                  <a:pos x="33" y="0"/>
                </a:cxn>
                <a:cxn ang="0">
                  <a:pos x="27" y="0"/>
                </a:cxn>
                <a:cxn ang="0">
                  <a:pos x="13" y="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010026" y="3960044"/>
              <a:ext cx="15875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6"/>
                </a:cxn>
                <a:cxn ang="0">
                  <a:pos x="6" y="11"/>
                </a:cxn>
                <a:cxn ang="0">
                  <a:pos x="10" y="14"/>
                </a:cxn>
                <a:cxn ang="0">
                  <a:pos x="15" y="16"/>
                </a:cxn>
                <a:cxn ang="0">
                  <a:pos x="27" y="18"/>
                </a:cxn>
                <a:cxn ang="0">
                  <a:pos x="40" y="18"/>
                </a:cxn>
                <a:cxn ang="0">
                  <a:pos x="40" y="0"/>
                </a:cxn>
                <a:cxn ang="0">
                  <a:pos x="30" y="0"/>
                </a:cxn>
                <a:cxn ang="0">
                  <a:pos x="20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019551" y="3985444"/>
              <a:ext cx="3175" cy="57150"/>
            </a:xfrm>
            <a:custGeom>
              <a:avLst/>
              <a:gdLst/>
              <a:ahLst/>
              <a:cxnLst>
                <a:cxn ang="0">
                  <a:pos x="4" y="32"/>
                </a:cxn>
                <a:cxn ang="0">
                  <a:pos x="6" y="28"/>
                </a:cxn>
                <a:cxn ang="0">
                  <a:pos x="8" y="25"/>
                </a:cxn>
                <a:cxn ang="0">
                  <a:pos x="9" y="22"/>
                </a:cxn>
                <a:cxn ang="0">
                  <a:pos x="10" y="18"/>
                </a:cxn>
                <a:cxn ang="0">
                  <a:pos x="11" y="9"/>
                </a:cxn>
                <a:cxn ang="0">
                  <a:pos x="11" y="0"/>
                </a:cxn>
                <a:cxn ang="0">
                  <a:pos x="6" y="3"/>
                </a:cxn>
                <a:cxn ang="0">
                  <a:pos x="3" y="7"/>
                </a:cxn>
                <a:cxn ang="0">
                  <a:pos x="1" y="11"/>
                </a:cxn>
                <a:cxn ang="0">
                  <a:pos x="0" y="16"/>
                </a:cxn>
                <a:cxn ang="0">
                  <a:pos x="0" y="20"/>
                </a:cxn>
                <a:cxn ang="0">
                  <a:pos x="1" y="24"/>
                </a:cxn>
                <a:cxn ang="0">
                  <a:pos x="2" y="28"/>
                </a:cxn>
                <a:cxn ang="0">
                  <a:pos x="4" y="32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41775" y="4015607"/>
              <a:ext cx="1588" cy="555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4"/>
                </a:cxn>
                <a:cxn ang="0">
                  <a:pos x="14" y="12"/>
                </a:cxn>
                <a:cxn ang="0">
                  <a:pos x="0" y="0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003676" y="4028308"/>
              <a:ext cx="15875" cy="58737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7" y="15"/>
                </a:cxn>
                <a:cxn ang="0">
                  <a:pos x="13" y="18"/>
                </a:cxn>
                <a:cxn ang="0">
                  <a:pos x="22" y="7"/>
                </a:cxn>
                <a:cxn ang="0">
                  <a:pos x="27" y="0"/>
                </a:cxn>
                <a:cxn ang="0">
                  <a:pos x="22" y="0"/>
                </a:cxn>
                <a:cxn ang="0">
                  <a:pos x="18" y="1"/>
                </a:cxn>
                <a:cxn ang="0">
                  <a:pos x="13" y="2"/>
                </a:cxn>
                <a:cxn ang="0">
                  <a:pos x="10" y="4"/>
                </a:cxn>
                <a:cxn ang="0">
                  <a:pos x="5" y="8"/>
                </a:cxn>
                <a:cxn ang="0">
                  <a:pos x="0" y="12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989388" y="4093394"/>
              <a:ext cx="23812" cy="57150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1" y="39"/>
                </a:cxn>
                <a:cxn ang="0">
                  <a:pos x="2" y="41"/>
                </a:cxn>
                <a:cxn ang="0">
                  <a:pos x="4" y="43"/>
                </a:cxn>
                <a:cxn ang="0">
                  <a:pos x="6" y="45"/>
                </a:cxn>
                <a:cxn ang="0">
                  <a:pos x="12" y="48"/>
                </a:cxn>
                <a:cxn ang="0">
                  <a:pos x="14" y="49"/>
                </a:cxn>
                <a:cxn ang="0">
                  <a:pos x="18" y="49"/>
                </a:cxn>
                <a:cxn ang="0">
                  <a:pos x="24" y="46"/>
                </a:cxn>
                <a:cxn ang="0">
                  <a:pos x="29" y="42"/>
                </a:cxn>
                <a:cxn ang="0">
                  <a:pos x="35" y="39"/>
                </a:cxn>
                <a:cxn ang="0">
                  <a:pos x="39" y="35"/>
                </a:cxn>
                <a:cxn ang="0">
                  <a:pos x="44" y="31"/>
                </a:cxn>
                <a:cxn ang="0">
                  <a:pos x="46" y="27"/>
                </a:cxn>
                <a:cxn ang="0">
                  <a:pos x="47" y="24"/>
                </a:cxn>
                <a:cxn ang="0">
                  <a:pos x="47" y="12"/>
                </a:cxn>
                <a:cxn ang="0">
                  <a:pos x="47" y="0"/>
                </a:cxn>
                <a:cxn ang="0">
                  <a:pos x="27" y="0"/>
                </a:cxn>
                <a:cxn ang="0">
                  <a:pos x="17" y="8"/>
                </a:cxn>
                <a:cxn ang="0">
                  <a:pos x="9" y="16"/>
                </a:cxn>
                <a:cxn ang="0">
                  <a:pos x="5" y="20"/>
                </a:cxn>
                <a:cxn ang="0">
                  <a:pos x="2" y="25"/>
                </a:cxn>
                <a:cxn ang="0">
                  <a:pos x="1" y="30"/>
                </a:cxn>
                <a:cxn ang="0">
                  <a:pos x="0" y="36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08438" y="4069582"/>
              <a:ext cx="12700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3" y="7"/>
                </a:cxn>
                <a:cxn ang="0">
                  <a:pos x="6" y="8"/>
                </a:cxn>
                <a:cxn ang="0">
                  <a:pos x="11" y="9"/>
                </a:cxn>
                <a:cxn ang="0">
                  <a:pos x="15" y="8"/>
                </a:cxn>
                <a:cxn ang="0">
                  <a:pos x="20" y="7"/>
                </a:cxn>
                <a:cxn ang="0">
                  <a:pos x="23" y="4"/>
                </a:cxn>
                <a:cxn ang="0">
                  <a:pos x="26" y="0"/>
                </a:cxn>
                <a:cxn ang="0">
                  <a:pos x="0" y="0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490914" y="3740969"/>
              <a:ext cx="15875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6" y="18"/>
                </a:cxn>
                <a:cxn ang="0">
                  <a:pos x="13" y="18"/>
                </a:cxn>
                <a:cxn ang="0">
                  <a:pos x="23" y="17"/>
                </a:cxn>
                <a:cxn ang="0">
                  <a:pos x="30" y="14"/>
                </a:cxn>
                <a:cxn ang="0">
                  <a:pos x="34" y="12"/>
                </a:cxn>
                <a:cxn ang="0">
                  <a:pos x="37" y="10"/>
                </a:cxn>
                <a:cxn ang="0">
                  <a:pos x="38" y="8"/>
                </a:cxn>
                <a:cxn ang="0">
                  <a:pos x="39" y="6"/>
                </a:cxn>
                <a:cxn ang="0">
                  <a:pos x="29" y="5"/>
                </a:cxn>
                <a:cxn ang="0">
                  <a:pos x="19" y="3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56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616326" y="3574282"/>
              <a:ext cx="131763" cy="195262"/>
              <a:chOff x="1199" y="2121"/>
              <a:chExt cx="97" cy="123"/>
            </a:xfrm>
            <a:grpFill/>
          </p:grpSpPr>
          <p:sp>
            <p:nvSpPr>
              <p:cNvPr id="539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7" y="25"/>
                  </a:cxn>
                  <a:cxn ang="0">
                    <a:pos x="15" y="24"/>
                  </a:cxn>
                  <a:cxn ang="0">
                    <a:pos x="23" y="22"/>
                  </a:cxn>
                  <a:cxn ang="0">
                    <a:pos x="30" y="19"/>
                  </a:cxn>
                  <a:cxn ang="0">
                    <a:pos x="38" y="15"/>
                  </a:cxn>
                  <a:cxn ang="0">
                    <a:pos x="43" y="11"/>
                  </a:cxn>
                  <a:cxn ang="0">
                    <a:pos x="49" y="6"/>
                  </a:cxn>
                  <a:cxn ang="0">
                    <a:pos x="52" y="0"/>
                  </a:cxn>
                  <a:cxn ang="0">
                    <a:pos x="40" y="0"/>
                  </a:cxn>
                  <a:cxn ang="0">
                    <a:pos x="31" y="0"/>
                  </a:cxn>
                  <a:cxn ang="0">
                    <a:pos x="23" y="1"/>
                  </a:cxn>
                  <a:cxn ang="0">
                    <a:pos x="16" y="3"/>
                  </a:cxn>
                  <a:cxn ang="0">
                    <a:pos x="11" y="6"/>
                  </a:cxn>
                  <a:cxn ang="0">
                    <a:pos x="5" y="10"/>
                  </a:cxn>
                  <a:cxn ang="0">
                    <a:pos x="2" y="16"/>
                  </a:cxn>
                  <a:cxn ang="0">
                    <a:pos x="0" y="25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0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6"/>
                  </a:cxn>
                  <a:cxn ang="0">
                    <a:pos x="0" y="13"/>
                  </a:cxn>
                  <a:cxn ang="0">
                    <a:pos x="9" y="13"/>
                  </a:cxn>
                  <a:cxn ang="0">
                    <a:pos x="16" y="13"/>
                  </a:cxn>
                  <a:cxn ang="0">
                    <a:pos x="24" y="11"/>
                  </a:cxn>
                  <a:cxn ang="0">
                    <a:pos x="33" y="6"/>
                  </a:cxn>
                  <a:cxn ang="0">
                    <a:pos x="24" y="3"/>
                  </a:cxn>
                  <a:cxn ang="0">
                    <a:pos x="16" y="1"/>
                  </a:cxn>
                  <a:cxn ang="0">
                    <a:pos x="9" y="0"/>
                  </a:cxn>
                  <a:cxn ang="0">
                    <a:pos x="0" y="0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1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/>
                <a:ahLst/>
                <a:cxnLst>
                  <a:cxn ang="0">
                    <a:pos x="26" y="18"/>
                  </a:cxn>
                  <a:cxn ang="0">
                    <a:pos x="0" y="0"/>
                  </a:cxn>
                  <a:cxn ang="0">
                    <a:pos x="26" y="0"/>
                  </a:cxn>
                  <a:cxn ang="0">
                    <a:pos x="29" y="4"/>
                  </a:cxn>
                  <a:cxn ang="0">
                    <a:pos x="33" y="8"/>
                  </a:cxn>
                  <a:cxn ang="0">
                    <a:pos x="36" y="11"/>
                  </a:cxn>
                  <a:cxn ang="0">
                    <a:pos x="39" y="14"/>
                  </a:cxn>
                  <a:cxn ang="0">
                    <a:pos x="47" y="17"/>
                  </a:cxn>
                  <a:cxn ang="0">
                    <a:pos x="54" y="18"/>
                  </a:cxn>
                  <a:cxn ang="0">
                    <a:pos x="58" y="30"/>
                  </a:cxn>
                  <a:cxn ang="0">
                    <a:pos x="62" y="40"/>
                  </a:cxn>
                  <a:cxn ang="0">
                    <a:pos x="63" y="45"/>
                  </a:cxn>
                  <a:cxn ang="0">
                    <a:pos x="66" y="50"/>
                  </a:cxn>
                  <a:cxn ang="0">
                    <a:pos x="66" y="55"/>
                  </a:cxn>
                  <a:cxn ang="0">
                    <a:pos x="67" y="61"/>
                  </a:cxn>
                  <a:cxn ang="0">
                    <a:pos x="63" y="74"/>
                  </a:cxn>
                  <a:cxn ang="0">
                    <a:pos x="60" y="86"/>
                  </a:cxn>
                  <a:cxn ang="0">
                    <a:pos x="55" y="69"/>
                  </a:cxn>
                  <a:cxn ang="0">
                    <a:pos x="51" y="54"/>
                  </a:cxn>
                  <a:cxn ang="0">
                    <a:pos x="50" y="47"/>
                  </a:cxn>
                  <a:cxn ang="0">
                    <a:pos x="50" y="41"/>
                  </a:cxn>
                  <a:cxn ang="0">
                    <a:pos x="51" y="35"/>
                  </a:cxn>
                  <a:cxn ang="0">
                    <a:pos x="54" y="30"/>
                  </a:cxn>
                  <a:cxn ang="0">
                    <a:pos x="44" y="30"/>
                  </a:cxn>
                  <a:cxn ang="0">
                    <a:pos x="35" y="29"/>
                  </a:cxn>
                  <a:cxn ang="0">
                    <a:pos x="32" y="27"/>
                  </a:cxn>
                  <a:cxn ang="0">
                    <a:pos x="28" y="25"/>
                  </a:cxn>
                  <a:cxn ang="0">
                    <a:pos x="27" y="22"/>
                  </a:cxn>
                  <a:cxn ang="0">
                    <a:pos x="26" y="18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2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/>
                <a:ahLst/>
                <a:cxnLst>
                  <a:cxn ang="0">
                    <a:pos x="27" y="12"/>
                  </a:cxn>
                  <a:cxn ang="0">
                    <a:pos x="20" y="6"/>
                  </a:cxn>
                  <a:cxn ang="0">
                    <a:pos x="14" y="0"/>
                  </a:cxn>
                  <a:cxn ang="0">
                    <a:pos x="9" y="5"/>
                  </a:cxn>
                  <a:cxn ang="0">
                    <a:pos x="5" y="13"/>
                  </a:cxn>
                  <a:cxn ang="0">
                    <a:pos x="1" y="21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3" y="43"/>
                  </a:cxn>
                  <a:cxn ang="0">
                    <a:pos x="5" y="50"/>
                  </a:cxn>
                  <a:cxn ang="0">
                    <a:pos x="8" y="58"/>
                  </a:cxn>
                  <a:cxn ang="0">
                    <a:pos x="12" y="66"/>
                  </a:cxn>
                  <a:cxn ang="0">
                    <a:pos x="17" y="74"/>
                  </a:cxn>
                  <a:cxn ang="0">
                    <a:pos x="22" y="80"/>
                  </a:cxn>
                  <a:cxn ang="0">
                    <a:pos x="27" y="86"/>
                  </a:cxn>
                  <a:cxn ang="0">
                    <a:pos x="31" y="79"/>
                  </a:cxn>
                  <a:cxn ang="0">
                    <a:pos x="37" y="69"/>
                  </a:cxn>
                  <a:cxn ang="0">
                    <a:pos x="42" y="57"/>
                  </a:cxn>
                  <a:cxn ang="0">
                    <a:pos x="46" y="45"/>
                  </a:cxn>
                  <a:cxn ang="0">
                    <a:pos x="49" y="39"/>
                  </a:cxn>
                  <a:cxn ang="0">
                    <a:pos x="49" y="33"/>
                  </a:cxn>
                  <a:cxn ang="0">
                    <a:pos x="49" y="26"/>
                  </a:cxn>
                  <a:cxn ang="0">
                    <a:pos x="48" y="22"/>
                  </a:cxn>
                  <a:cxn ang="0">
                    <a:pos x="44" y="18"/>
                  </a:cxn>
                  <a:cxn ang="0">
                    <a:pos x="40" y="15"/>
                  </a:cxn>
                  <a:cxn ang="0">
                    <a:pos x="34" y="13"/>
                  </a:cxn>
                  <a:cxn ang="0">
                    <a:pos x="27" y="12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3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1" y="4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0" y="12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4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" y="9"/>
                  </a:cxn>
                  <a:cxn ang="0">
                    <a:pos x="22" y="17"/>
                  </a:cxn>
                  <a:cxn ang="0">
                    <a:pos x="32" y="24"/>
                  </a:cxn>
                  <a:cxn ang="0">
                    <a:pos x="39" y="30"/>
                  </a:cxn>
                  <a:cxn ang="0">
                    <a:pos x="36" y="39"/>
                  </a:cxn>
                  <a:cxn ang="0">
                    <a:pos x="33" y="48"/>
                  </a:cxn>
                  <a:cxn ang="0">
                    <a:pos x="18" y="36"/>
                  </a:cxn>
                  <a:cxn ang="0">
                    <a:pos x="8" y="26"/>
                  </a:cxn>
                  <a:cxn ang="0">
                    <a:pos x="4" y="21"/>
                  </a:cxn>
                  <a:cxn ang="0">
                    <a:pos x="2" y="15"/>
                  </a:cxn>
                  <a:cxn ang="0">
                    <a:pos x="0" y="8"/>
                  </a:cxn>
                  <a:cxn ang="0">
                    <a:pos x="0" y="0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5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11" y="9"/>
                  </a:cxn>
                  <a:cxn ang="0">
                    <a:pos x="15" y="16"/>
                  </a:cxn>
                  <a:cxn ang="0">
                    <a:pos x="16" y="22"/>
                  </a:cxn>
                  <a:cxn ang="0">
                    <a:pos x="16" y="27"/>
                  </a:cxn>
                  <a:cxn ang="0">
                    <a:pos x="15" y="31"/>
                  </a:cxn>
                  <a:cxn ang="0">
                    <a:pos x="11" y="35"/>
                  </a:cxn>
                  <a:cxn ang="0">
                    <a:pos x="7" y="39"/>
                  </a:cxn>
                  <a:cxn ang="0">
                    <a:pos x="0" y="43"/>
                  </a:cxn>
                  <a:cxn ang="0">
                    <a:pos x="2" y="28"/>
                  </a:cxn>
                  <a:cxn ang="0">
                    <a:pos x="4" y="18"/>
                  </a:cxn>
                  <a:cxn ang="0">
                    <a:pos x="6" y="9"/>
                  </a:cxn>
                  <a:cxn ang="0">
                    <a:pos x="7" y="0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6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/>
                <a:ahLst/>
                <a:cxnLst>
                  <a:cxn ang="0">
                    <a:pos x="24" y="36"/>
                  </a:cxn>
                  <a:cxn ang="0">
                    <a:pos x="19" y="27"/>
                  </a:cxn>
                  <a:cxn ang="0">
                    <a:pos x="15" y="18"/>
                  </a:cxn>
                  <a:cxn ang="0">
                    <a:pos x="12" y="9"/>
                  </a:cxn>
                  <a:cxn ang="0">
                    <a:pos x="11" y="0"/>
                  </a:cxn>
                  <a:cxn ang="0">
                    <a:pos x="6" y="10"/>
                  </a:cxn>
                  <a:cxn ang="0">
                    <a:pos x="3" y="19"/>
                  </a:cxn>
                  <a:cxn ang="0">
                    <a:pos x="1" y="26"/>
                  </a:cxn>
                  <a:cxn ang="0">
                    <a:pos x="0" y="31"/>
                  </a:cxn>
                  <a:cxn ang="0">
                    <a:pos x="1" y="33"/>
                  </a:cxn>
                  <a:cxn ang="0">
                    <a:pos x="2" y="35"/>
                  </a:cxn>
                  <a:cxn ang="0">
                    <a:pos x="4" y="36"/>
                  </a:cxn>
                  <a:cxn ang="0">
                    <a:pos x="6" y="37"/>
                  </a:cxn>
                  <a:cxn ang="0">
                    <a:pos x="14" y="37"/>
                  </a:cxn>
                  <a:cxn ang="0">
                    <a:pos x="24" y="36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7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4" y="13"/>
                  </a:cxn>
                  <a:cxn ang="0">
                    <a:pos x="34" y="25"/>
                  </a:cxn>
                  <a:cxn ang="0">
                    <a:pos x="33" y="32"/>
                  </a:cxn>
                  <a:cxn ang="0">
                    <a:pos x="31" y="38"/>
                  </a:cxn>
                  <a:cxn ang="0">
                    <a:pos x="29" y="43"/>
                  </a:cxn>
                  <a:cxn ang="0">
                    <a:pos x="24" y="47"/>
                  </a:cxn>
                  <a:cxn ang="0">
                    <a:pos x="20" y="51"/>
                  </a:cxn>
                  <a:cxn ang="0">
                    <a:pos x="14" y="53"/>
                  </a:cxn>
                  <a:cxn ang="0">
                    <a:pos x="8" y="55"/>
                  </a:cxn>
                  <a:cxn ang="0">
                    <a:pos x="0" y="55"/>
                  </a:cxn>
                  <a:cxn ang="0">
                    <a:pos x="9" y="36"/>
                  </a:cxn>
                  <a:cxn ang="0">
                    <a:pos x="14" y="21"/>
                  </a:cxn>
                  <a:cxn ang="0">
                    <a:pos x="18" y="16"/>
                  </a:cxn>
                  <a:cxn ang="0">
                    <a:pos x="22" y="10"/>
                  </a:cxn>
                  <a:cxn ang="0">
                    <a:pos x="28" y="5"/>
                  </a:cxn>
                  <a:cxn ang="0">
                    <a:pos x="34" y="0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8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4"/>
                  </a:cxn>
                  <a:cxn ang="0">
                    <a:pos x="6" y="7"/>
                  </a:cxn>
                  <a:cxn ang="0">
                    <a:pos x="10" y="9"/>
                  </a:cxn>
                  <a:cxn ang="0">
                    <a:pos x="14" y="11"/>
                  </a:cxn>
                  <a:cxn ang="0">
                    <a:pos x="23" y="12"/>
                  </a:cxn>
                  <a:cxn ang="0">
                    <a:pos x="33" y="12"/>
                  </a:cxn>
                  <a:cxn ang="0">
                    <a:pos x="28" y="8"/>
                  </a:cxn>
                  <a:cxn ang="0">
                    <a:pos x="19" y="4"/>
                  </a:cxn>
                  <a:cxn ang="0">
                    <a:pos x="10" y="1"/>
                  </a:cxn>
                  <a:cxn ang="0">
                    <a:pos x="0" y="0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7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9429750" y="5001444"/>
              <a:ext cx="12700" cy="57150"/>
            </a:xfrm>
            <a:custGeom>
              <a:avLst/>
              <a:gdLst/>
              <a:ahLst/>
              <a:cxnLst>
                <a:cxn ang="0">
                  <a:pos x="0" y="62"/>
                </a:cxn>
                <a:cxn ang="0">
                  <a:pos x="0" y="53"/>
                </a:cxn>
                <a:cxn ang="0">
                  <a:pos x="0" y="45"/>
                </a:cxn>
                <a:cxn ang="0">
                  <a:pos x="0" y="37"/>
                </a:cxn>
                <a:cxn ang="0">
                  <a:pos x="0" y="31"/>
                </a:cxn>
                <a:cxn ang="0">
                  <a:pos x="0" y="26"/>
                </a:cxn>
                <a:cxn ang="0">
                  <a:pos x="2" y="22"/>
                </a:cxn>
                <a:cxn ang="0">
                  <a:pos x="4" y="17"/>
                </a:cxn>
                <a:cxn ang="0">
                  <a:pos x="8" y="13"/>
                </a:cxn>
                <a:cxn ang="0">
                  <a:pos x="14" y="6"/>
                </a:cxn>
                <a:cxn ang="0">
                  <a:pos x="20" y="0"/>
                </a:cxn>
                <a:cxn ang="0">
                  <a:pos x="26" y="6"/>
                </a:cxn>
                <a:cxn ang="0">
                  <a:pos x="33" y="13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9439276" y="5091933"/>
              <a:ext cx="9525" cy="58737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0" y="0"/>
                </a:cxn>
                <a:cxn ang="0">
                  <a:pos x="26" y="0"/>
                </a:cxn>
                <a:cxn ang="0">
                  <a:pos x="6" y="12"/>
                </a:cxn>
                <a:cxn ang="0">
                  <a:pos x="6" y="6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9553575" y="5001445"/>
              <a:ext cx="77788" cy="130175"/>
            </a:xfrm>
            <a:custGeom>
              <a:avLst/>
              <a:gdLst/>
              <a:ahLst/>
              <a:cxnLst>
                <a:cxn ang="0">
                  <a:pos x="180" y="222"/>
                </a:cxn>
                <a:cxn ang="0">
                  <a:pos x="175" y="223"/>
                </a:cxn>
                <a:cxn ang="0">
                  <a:pos x="171" y="223"/>
                </a:cxn>
                <a:cxn ang="0">
                  <a:pos x="167" y="225"/>
                </a:cxn>
                <a:cxn ang="0">
                  <a:pos x="164" y="227"/>
                </a:cxn>
                <a:cxn ang="0">
                  <a:pos x="158" y="232"/>
                </a:cxn>
                <a:cxn ang="0">
                  <a:pos x="153" y="240"/>
                </a:cxn>
                <a:cxn ang="0">
                  <a:pos x="140" y="232"/>
                </a:cxn>
                <a:cxn ang="0">
                  <a:pos x="131" y="223"/>
                </a:cxn>
                <a:cxn ang="0">
                  <a:pos x="123" y="214"/>
                </a:cxn>
                <a:cxn ang="0">
                  <a:pos x="118" y="206"/>
                </a:cxn>
                <a:cxn ang="0">
                  <a:pos x="112" y="195"/>
                </a:cxn>
                <a:cxn ang="0">
                  <a:pos x="106" y="185"/>
                </a:cxn>
                <a:cxn ang="0">
                  <a:pos x="98" y="174"/>
                </a:cxn>
                <a:cxn ang="0">
                  <a:pos x="87" y="161"/>
                </a:cxn>
                <a:cxn ang="0">
                  <a:pos x="82" y="153"/>
                </a:cxn>
                <a:cxn ang="0">
                  <a:pos x="75" y="146"/>
                </a:cxn>
                <a:cxn ang="0">
                  <a:pos x="70" y="139"/>
                </a:cxn>
                <a:cxn ang="0">
                  <a:pos x="62" y="133"/>
                </a:cxn>
                <a:cxn ang="0">
                  <a:pos x="48" y="121"/>
                </a:cxn>
                <a:cxn ang="0">
                  <a:pos x="33" y="110"/>
                </a:cxn>
                <a:cxn ang="0">
                  <a:pos x="27" y="104"/>
                </a:cxn>
                <a:cxn ang="0">
                  <a:pos x="21" y="98"/>
                </a:cxn>
                <a:cxn ang="0">
                  <a:pos x="15" y="92"/>
                </a:cxn>
                <a:cxn ang="0">
                  <a:pos x="10" y="84"/>
                </a:cxn>
                <a:cxn ang="0">
                  <a:pos x="6" y="77"/>
                </a:cxn>
                <a:cxn ang="0">
                  <a:pos x="4" y="68"/>
                </a:cxn>
                <a:cxn ang="0">
                  <a:pos x="1" y="60"/>
                </a:cxn>
                <a:cxn ang="0">
                  <a:pos x="0" y="50"/>
                </a:cxn>
                <a:cxn ang="0">
                  <a:pos x="0" y="35"/>
                </a:cxn>
                <a:cxn ang="0">
                  <a:pos x="0" y="25"/>
                </a:cxn>
                <a:cxn ang="0">
                  <a:pos x="0" y="15"/>
                </a:cxn>
                <a:cxn ang="0">
                  <a:pos x="0" y="0"/>
                </a:cxn>
                <a:cxn ang="0">
                  <a:pos x="10" y="8"/>
                </a:cxn>
                <a:cxn ang="0">
                  <a:pos x="19" y="17"/>
                </a:cxn>
                <a:cxn ang="0">
                  <a:pos x="27" y="27"/>
                </a:cxn>
                <a:cxn ang="0">
                  <a:pos x="34" y="38"/>
                </a:cxn>
                <a:cxn ang="0">
                  <a:pos x="41" y="48"/>
                </a:cxn>
                <a:cxn ang="0">
                  <a:pos x="46" y="58"/>
                </a:cxn>
                <a:cxn ang="0">
                  <a:pos x="51" y="66"/>
                </a:cxn>
                <a:cxn ang="0">
                  <a:pos x="54" y="74"/>
                </a:cxn>
                <a:cxn ang="0">
                  <a:pos x="60" y="86"/>
                </a:cxn>
                <a:cxn ang="0">
                  <a:pos x="66" y="98"/>
                </a:cxn>
                <a:cxn ang="0">
                  <a:pos x="74" y="107"/>
                </a:cxn>
                <a:cxn ang="0">
                  <a:pos x="82" y="116"/>
                </a:cxn>
                <a:cxn ang="0">
                  <a:pos x="100" y="133"/>
                </a:cxn>
                <a:cxn ang="0">
                  <a:pos x="119" y="149"/>
                </a:cxn>
                <a:cxn ang="0">
                  <a:pos x="139" y="164"/>
                </a:cxn>
                <a:cxn ang="0">
                  <a:pos x="155" y="180"/>
                </a:cxn>
                <a:cxn ang="0">
                  <a:pos x="163" y="189"/>
                </a:cxn>
                <a:cxn ang="0">
                  <a:pos x="169" y="199"/>
                </a:cxn>
                <a:cxn ang="0">
                  <a:pos x="175" y="210"/>
                </a:cxn>
                <a:cxn ang="0">
                  <a:pos x="180" y="222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553575" y="4974457"/>
              <a:ext cx="14288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5"/>
                </a:cxn>
                <a:cxn ang="0">
                  <a:pos x="3" y="11"/>
                </a:cxn>
                <a:cxn ang="0">
                  <a:pos x="4" y="14"/>
                </a:cxn>
                <a:cxn ang="0">
                  <a:pos x="4" y="19"/>
                </a:cxn>
                <a:cxn ang="0">
                  <a:pos x="3" y="24"/>
                </a:cxn>
                <a:cxn ang="0">
                  <a:pos x="0" y="30"/>
                </a:cxn>
                <a:cxn ang="0">
                  <a:pos x="17" y="27"/>
                </a:cxn>
                <a:cxn ang="0">
                  <a:pos x="27" y="24"/>
                </a:cxn>
                <a:cxn ang="0">
                  <a:pos x="23" y="20"/>
                </a:cxn>
                <a:cxn ang="0">
                  <a:pos x="17" y="12"/>
                </a:cxn>
                <a:cxn ang="0">
                  <a:pos x="11" y="8"/>
                </a:cxn>
                <a:cxn ang="0">
                  <a:pos x="7" y="4"/>
                </a:cxn>
                <a:cxn ang="0">
                  <a:pos x="4" y="1"/>
                </a:cxn>
                <a:cxn ang="0">
                  <a:pos x="0" y="0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1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9244014" y="5495157"/>
              <a:ext cx="458787" cy="404812"/>
              <a:chOff x="5372" y="3323"/>
              <a:chExt cx="341" cy="253"/>
            </a:xfrm>
            <a:grpFill/>
          </p:grpSpPr>
          <p:sp>
            <p:nvSpPr>
              <p:cNvPr id="536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/>
                <a:ahLst/>
                <a:cxnLst>
                  <a:cxn ang="0">
                    <a:pos x="0" y="31"/>
                  </a:cxn>
                  <a:cxn ang="0">
                    <a:pos x="4" y="26"/>
                  </a:cxn>
                  <a:cxn ang="0">
                    <a:pos x="8" y="21"/>
                  </a:cxn>
                  <a:cxn ang="0">
                    <a:pos x="15" y="16"/>
                  </a:cxn>
                  <a:cxn ang="0">
                    <a:pos x="21" y="11"/>
                  </a:cxn>
                  <a:cxn ang="0">
                    <a:pos x="29" y="7"/>
                  </a:cxn>
                  <a:cxn ang="0">
                    <a:pos x="38" y="3"/>
                  </a:cxn>
                  <a:cxn ang="0">
                    <a:pos x="45" y="1"/>
                  </a:cxn>
                  <a:cxn ang="0">
                    <a:pos x="53" y="0"/>
                  </a:cxn>
                  <a:cxn ang="0">
                    <a:pos x="53" y="18"/>
                  </a:cxn>
                  <a:cxn ang="0">
                    <a:pos x="38" y="24"/>
                  </a:cxn>
                  <a:cxn ang="0">
                    <a:pos x="27" y="30"/>
                  </a:cxn>
                  <a:cxn ang="0">
                    <a:pos x="21" y="32"/>
                  </a:cxn>
                  <a:cxn ang="0">
                    <a:pos x="16" y="33"/>
                  </a:cxn>
                  <a:cxn ang="0">
                    <a:pos x="9" y="33"/>
                  </a:cxn>
                  <a:cxn ang="0">
                    <a:pos x="0" y="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7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/>
                <a:ahLst/>
                <a:cxnLst>
                  <a:cxn ang="0">
                    <a:pos x="24" y="296"/>
                  </a:cxn>
                  <a:cxn ang="0">
                    <a:pos x="50" y="290"/>
                  </a:cxn>
                  <a:cxn ang="0">
                    <a:pos x="65" y="277"/>
                  </a:cxn>
                  <a:cxn ang="0">
                    <a:pos x="79" y="253"/>
                  </a:cxn>
                  <a:cxn ang="0">
                    <a:pos x="100" y="256"/>
                  </a:cxn>
                  <a:cxn ang="0">
                    <a:pos x="126" y="253"/>
                  </a:cxn>
                  <a:cxn ang="0">
                    <a:pos x="141" y="247"/>
                  </a:cxn>
                  <a:cxn ang="0">
                    <a:pos x="162" y="229"/>
                  </a:cxn>
                  <a:cxn ang="0">
                    <a:pos x="180" y="208"/>
                  </a:cxn>
                  <a:cxn ang="0">
                    <a:pos x="211" y="192"/>
                  </a:cxn>
                  <a:cxn ang="0">
                    <a:pos x="260" y="175"/>
                  </a:cxn>
                  <a:cxn ang="0">
                    <a:pos x="329" y="152"/>
                  </a:cxn>
                  <a:cxn ang="0">
                    <a:pos x="361" y="137"/>
                  </a:cxn>
                  <a:cxn ang="0">
                    <a:pos x="392" y="130"/>
                  </a:cxn>
                  <a:cxn ang="0">
                    <a:pos x="406" y="127"/>
                  </a:cxn>
                  <a:cxn ang="0">
                    <a:pos x="440" y="107"/>
                  </a:cxn>
                  <a:cxn ang="0">
                    <a:pos x="469" y="80"/>
                  </a:cxn>
                  <a:cxn ang="0">
                    <a:pos x="478" y="63"/>
                  </a:cxn>
                  <a:cxn ang="0">
                    <a:pos x="504" y="58"/>
                  </a:cxn>
                  <a:cxn ang="0">
                    <a:pos x="537" y="36"/>
                  </a:cxn>
                  <a:cxn ang="0">
                    <a:pos x="568" y="11"/>
                  </a:cxn>
                  <a:cxn ang="0">
                    <a:pos x="591" y="0"/>
                  </a:cxn>
                  <a:cxn ang="0">
                    <a:pos x="602" y="22"/>
                  </a:cxn>
                  <a:cxn ang="0">
                    <a:pos x="617" y="30"/>
                  </a:cxn>
                  <a:cxn ang="0">
                    <a:pos x="625" y="46"/>
                  </a:cxn>
                  <a:cxn ang="0">
                    <a:pos x="601" y="88"/>
                  </a:cxn>
                  <a:cxn ang="0">
                    <a:pos x="568" y="125"/>
                  </a:cxn>
                  <a:cxn ang="0">
                    <a:pos x="529" y="154"/>
                  </a:cxn>
                  <a:cxn ang="0">
                    <a:pos x="487" y="173"/>
                  </a:cxn>
                  <a:cxn ang="0">
                    <a:pos x="445" y="180"/>
                  </a:cxn>
                  <a:cxn ang="0">
                    <a:pos x="438" y="197"/>
                  </a:cxn>
                  <a:cxn ang="0">
                    <a:pos x="433" y="200"/>
                  </a:cxn>
                  <a:cxn ang="0">
                    <a:pos x="395" y="199"/>
                  </a:cxn>
                  <a:cxn ang="0">
                    <a:pos x="367" y="210"/>
                  </a:cxn>
                  <a:cxn ang="0">
                    <a:pos x="347" y="212"/>
                  </a:cxn>
                  <a:cxn ang="0">
                    <a:pos x="338" y="204"/>
                  </a:cxn>
                  <a:cxn ang="0">
                    <a:pos x="313" y="241"/>
                  </a:cxn>
                  <a:cxn ang="0">
                    <a:pos x="272" y="280"/>
                  </a:cxn>
                  <a:cxn ang="0">
                    <a:pos x="220" y="315"/>
                  </a:cxn>
                  <a:cxn ang="0">
                    <a:pos x="164" y="343"/>
                  </a:cxn>
                  <a:cxn ang="0">
                    <a:pos x="110" y="357"/>
                  </a:cxn>
                  <a:cxn ang="0">
                    <a:pos x="71" y="356"/>
                  </a:cxn>
                  <a:cxn ang="0">
                    <a:pos x="56" y="348"/>
                  </a:cxn>
                  <a:cxn ang="0">
                    <a:pos x="33" y="340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8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/>
                <a:ahLst/>
                <a:cxnLst>
                  <a:cxn ang="0">
                    <a:pos x="60" y="288"/>
                  </a:cxn>
                  <a:cxn ang="0">
                    <a:pos x="95" y="269"/>
                  </a:cxn>
                  <a:cxn ang="0">
                    <a:pos x="165" y="209"/>
                  </a:cxn>
                  <a:cxn ang="0">
                    <a:pos x="172" y="168"/>
                  </a:cxn>
                  <a:cxn ang="0">
                    <a:pos x="180" y="149"/>
                  </a:cxn>
                  <a:cxn ang="0">
                    <a:pos x="193" y="137"/>
                  </a:cxn>
                  <a:cxn ang="0">
                    <a:pos x="190" y="126"/>
                  </a:cxn>
                  <a:cxn ang="0">
                    <a:pos x="179" y="94"/>
                  </a:cxn>
                  <a:cxn ang="0">
                    <a:pos x="173" y="34"/>
                  </a:cxn>
                  <a:cxn ang="0">
                    <a:pos x="182" y="0"/>
                  </a:cxn>
                  <a:cxn ang="0">
                    <a:pos x="194" y="11"/>
                  </a:cxn>
                  <a:cxn ang="0">
                    <a:pos x="207" y="29"/>
                  </a:cxn>
                  <a:cxn ang="0">
                    <a:pos x="231" y="56"/>
                  </a:cxn>
                  <a:cxn ang="0">
                    <a:pos x="238" y="73"/>
                  </a:cxn>
                  <a:cxn ang="0">
                    <a:pos x="237" y="88"/>
                  </a:cxn>
                  <a:cxn ang="0">
                    <a:pos x="226" y="102"/>
                  </a:cxn>
                  <a:cxn ang="0">
                    <a:pos x="205" y="120"/>
                  </a:cxn>
                  <a:cxn ang="0">
                    <a:pos x="199" y="131"/>
                  </a:cxn>
                  <a:cxn ang="0">
                    <a:pos x="199" y="149"/>
                  </a:cxn>
                  <a:cxn ang="0">
                    <a:pos x="205" y="159"/>
                  </a:cxn>
                  <a:cxn ang="0">
                    <a:pos x="226" y="160"/>
                  </a:cxn>
                  <a:cxn ang="0">
                    <a:pos x="233" y="153"/>
                  </a:cxn>
                  <a:cxn ang="0">
                    <a:pos x="232" y="135"/>
                  </a:cxn>
                  <a:cxn ang="0">
                    <a:pos x="259" y="193"/>
                  </a:cxn>
                  <a:cxn ang="0">
                    <a:pos x="271" y="208"/>
                  </a:cxn>
                  <a:cxn ang="0">
                    <a:pos x="291" y="219"/>
                  </a:cxn>
                  <a:cxn ang="0">
                    <a:pos x="300" y="217"/>
                  </a:cxn>
                  <a:cxn ang="0">
                    <a:pos x="312" y="206"/>
                  </a:cxn>
                  <a:cxn ang="0">
                    <a:pos x="341" y="194"/>
                  </a:cxn>
                  <a:cxn ang="0">
                    <a:pos x="355" y="206"/>
                  </a:cxn>
                  <a:cxn ang="0">
                    <a:pos x="342" y="240"/>
                  </a:cxn>
                  <a:cxn ang="0">
                    <a:pos x="321" y="261"/>
                  </a:cxn>
                  <a:cxn ang="0">
                    <a:pos x="295" y="275"/>
                  </a:cxn>
                  <a:cxn ang="0">
                    <a:pos x="247" y="288"/>
                  </a:cxn>
                  <a:cxn ang="0">
                    <a:pos x="208" y="299"/>
                  </a:cxn>
                  <a:cxn ang="0">
                    <a:pos x="193" y="308"/>
                  </a:cxn>
                  <a:cxn ang="0">
                    <a:pos x="179" y="339"/>
                  </a:cxn>
                  <a:cxn ang="0">
                    <a:pos x="163" y="356"/>
                  </a:cxn>
                  <a:cxn ang="0">
                    <a:pos x="109" y="394"/>
                  </a:cxn>
                  <a:cxn ang="0">
                    <a:pos x="48" y="424"/>
                  </a:cxn>
                  <a:cxn ang="0">
                    <a:pos x="19" y="431"/>
                  </a:cxn>
                  <a:cxn ang="0">
                    <a:pos x="7" y="426"/>
                  </a:cxn>
                  <a:cxn ang="0">
                    <a:pos x="1" y="415"/>
                  </a:cxn>
                  <a:cxn ang="0">
                    <a:pos x="1" y="402"/>
                  </a:cxn>
                  <a:cxn ang="0">
                    <a:pos x="9" y="391"/>
                  </a:cxn>
                  <a:cxn ang="0">
                    <a:pos x="56" y="374"/>
                  </a:cxn>
                  <a:cxn ang="0">
                    <a:pos x="73" y="351"/>
                  </a:cxn>
                  <a:cxn ang="0">
                    <a:pos x="71" y="335"/>
                  </a:cxn>
                  <a:cxn ang="0">
                    <a:pos x="64" y="326"/>
                  </a:cxn>
                  <a:cxn ang="0">
                    <a:pos x="51" y="320"/>
                  </a:cxn>
                  <a:cxn ang="0">
                    <a:pos x="19" y="320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2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886826" y="4152132"/>
              <a:ext cx="9525" cy="57150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1" y="29"/>
                </a:cxn>
                <a:cxn ang="0">
                  <a:pos x="3" y="17"/>
                </a:cxn>
                <a:cxn ang="0">
                  <a:pos x="4" y="11"/>
                </a:cxn>
                <a:cxn ang="0">
                  <a:pos x="6" y="7"/>
                </a:cxn>
                <a:cxn ang="0">
                  <a:pos x="9" y="3"/>
                </a:cxn>
                <a:cxn ang="0">
                  <a:pos x="15" y="0"/>
                </a:cxn>
                <a:cxn ang="0">
                  <a:pos x="15" y="15"/>
                </a:cxn>
                <a:cxn ang="0">
                  <a:pos x="18" y="31"/>
                </a:cxn>
                <a:cxn ang="0">
                  <a:pos x="20" y="44"/>
                </a:cxn>
                <a:cxn ang="0">
                  <a:pos x="21" y="49"/>
                </a:cxn>
                <a:cxn ang="0">
                  <a:pos x="10" y="55"/>
                </a:cxn>
                <a:cxn ang="0">
                  <a:pos x="0" y="62"/>
                </a:cxn>
                <a:cxn ang="0">
                  <a:pos x="0" y="43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613900" y="5053832"/>
              <a:ext cx="14288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5"/>
                </a:cxn>
                <a:cxn ang="0">
                  <a:pos x="10" y="10"/>
                </a:cxn>
                <a:cxn ang="0">
                  <a:pos x="11" y="13"/>
                </a:cxn>
                <a:cxn ang="0">
                  <a:pos x="12" y="16"/>
                </a:cxn>
                <a:cxn ang="0">
                  <a:pos x="13" y="20"/>
                </a:cxn>
                <a:cxn ang="0">
                  <a:pos x="13" y="24"/>
                </a:cxn>
                <a:cxn ang="0">
                  <a:pos x="33" y="0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636126" y="5063358"/>
              <a:ext cx="17463" cy="58737"/>
            </a:xfrm>
            <a:custGeom>
              <a:avLst/>
              <a:gdLst/>
              <a:ahLst/>
              <a:cxnLst>
                <a:cxn ang="0">
                  <a:pos x="26" y="25"/>
                </a:cxn>
                <a:cxn ang="0">
                  <a:pos x="29" y="22"/>
                </a:cxn>
                <a:cxn ang="0">
                  <a:pos x="33" y="18"/>
                </a:cxn>
                <a:cxn ang="0">
                  <a:pos x="33" y="0"/>
                </a:cxn>
                <a:cxn ang="0">
                  <a:pos x="25" y="0"/>
                </a:cxn>
                <a:cxn ang="0">
                  <a:pos x="16" y="0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26" y="25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950325" y="4141020"/>
              <a:ext cx="1588" cy="555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" y="0"/>
                </a:cxn>
                <a:cxn ang="0">
                  <a:pos x="0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9009063" y="4085457"/>
              <a:ext cx="6350" cy="5715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6"/>
                </a:cxn>
                <a:cxn ang="0">
                  <a:pos x="14" y="13"/>
                </a:cxn>
                <a:cxn ang="0">
                  <a:pos x="13" y="16"/>
                </a:cxn>
                <a:cxn ang="0">
                  <a:pos x="11" y="20"/>
                </a:cxn>
                <a:cxn ang="0">
                  <a:pos x="7" y="23"/>
                </a:cxn>
                <a:cxn ang="0">
                  <a:pos x="3" y="25"/>
                </a:cxn>
                <a:cxn ang="0">
                  <a:pos x="1" y="24"/>
                </a:cxn>
                <a:cxn ang="0">
                  <a:pos x="0" y="21"/>
                </a:cxn>
                <a:cxn ang="0">
                  <a:pos x="1" y="18"/>
                </a:cxn>
                <a:cxn ang="0">
                  <a:pos x="2" y="13"/>
                </a:cxn>
                <a:cxn ang="0">
                  <a:pos x="4" y="9"/>
                </a:cxn>
                <a:cxn ang="0">
                  <a:pos x="7" y="4"/>
                </a:cxn>
                <a:cxn ang="0">
                  <a:pos x="11" y="1"/>
                </a:cxn>
                <a:cxn ang="0">
                  <a:pos x="16" y="0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9121776" y="3974332"/>
              <a:ext cx="4763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1"/>
                </a:cxn>
                <a:cxn ang="0">
                  <a:pos x="5" y="2"/>
                </a:cxn>
                <a:cxn ang="0">
                  <a:pos x="7" y="4"/>
                </a:cxn>
                <a:cxn ang="0">
                  <a:pos x="9" y="7"/>
                </a:cxn>
                <a:cxn ang="0">
                  <a:pos x="13" y="13"/>
                </a:cxn>
                <a:cxn ang="0">
                  <a:pos x="14" y="18"/>
                </a:cxn>
                <a:cxn ang="0">
                  <a:pos x="0" y="0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274175" y="4672833"/>
              <a:ext cx="26988" cy="587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7"/>
                </a:cxn>
                <a:cxn ang="0">
                  <a:pos x="3" y="30"/>
                </a:cxn>
                <a:cxn ang="0">
                  <a:pos x="7" y="41"/>
                </a:cxn>
                <a:cxn ang="0">
                  <a:pos x="12" y="50"/>
                </a:cxn>
                <a:cxn ang="0">
                  <a:pos x="17" y="58"/>
                </a:cxn>
                <a:cxn ang="0">
                  <a:pos x="23" y="64"/>
                </a:cxn>
                <a:cxn ang="0">
                  <a:pos x="28" y="69"/>
                </a:cxn>
                <a:cxn ang="0">
                  <a:pos x="33" y="74"/>
                </a:cxn>
                <a:cxn ang="0">
                  <a:pos x="44" y="65"/>
                </a:cxn>
                <a:cxn ang="0">
                  <a:pos x="55" y="55"/>
                </a:cxn>
                <a:cxn ang="0">
                  <a:pos x="59" y="49"/>
                </a:cxn>
                <a:cxn ang="0">
                  <a:pos x="63" y="43"/>
                </a:cxn>
                <a:cxn ang="0">
                  <a:pos x="66" y="37"/>
                </a:cxn>
                <a:cxn ang="0">
                  <a:pos x="67" y="30"/>
                </a:cxn>
                <a:cxn ang="0">
                  <a:pos x="67" y="25"/>
                </a:cxn>
                <a:cxn ang="0">
                  <a:pos x="67" y="18"/>
                </a:cxn>
                <a:cxn ang="0">
                  <a:pos x="67" y="9"/>
                </a:cxn>
                <a:cxn ang="0">
                  <a:pos x="67" y="0"/>
                </a:cxn>
                <a:cxn ang="0">
                  <a:pos x="48" y="0"/>
                </a:cxn>
                <a:cxn ang="0">
                  <a:pos x="33" y="0"/>
                </a:cxn>
                <a:cxn ang="0">
                  <a:pos x="17" y="0"/>
                </a:cxn>
                <a:cxn ang="0">
                  <a:pos x="0" y="0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9337675" y="4687119"/>
              <a:ext cx="12700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3"/>
                </a:cxn>
                <a:cxn ang="0">
                  <a:pos x="4" y="7"/>
                </a:cxn>
                <a:cxn ang="0">
                  <a:pos x="5" y="11"/>
                </a:cxn>
                <a:cxn ang="0">
                  <a:pos x="6" y="16"/>
                </a:cxn>
                <a:cxn ang="0">
                  <a:pos x="10" y="28"/>
                </a:cxn>
                <a:cxn ang="0">
                  <a:pos x="13" y="38"/>
                </a:cxn>
                <a:cxn ang="0">
                  <a:pos x="16" y="37"/>
                </a:cxn>
                <a:cxn ang="0">
                  <a:pos x="20" y="36"/>
                </a:cxn>
                <a:cxn ang="0">
                  <a:pos x="23" y="34"/>
                </a:cxn>
                <a:cxn ang="0">
                  <a:pos x="26" y="31"/>
                </a:cxn>
                <a:cxn ang="0">
                  <a:pos x="28" y="28"/>
                </a:cxn>
                <a:cxn ang="0">
                  <a:pos x="32" y="24"/>
                </a:cxn>
                <a:cxn ang="0">
                  <a:pos x="33" y="21"/>
                </a:cxn>
                <a:cxn ang="0">
                  <a:pos x="34" y="19"/>
                </a:cxn>
                <a:cxn ang="0">
                  <a:pos x="31" y="18"/>
                </a:cxn>
                <a:cxn ang="0">
                  <a:pos x="28" y="17"/>
                </a:cxn>
                <a:cxn ang="0">
                  <a:pos x="26" y="14"/>
                </a:cxn>
                <a:cxn ang="0">
                  <a:pos x="24" y="12"/>
                </a:cxn>
                <a:cxn ang="0">
                  <a:pos x="19" y="6"/>
                </a:cxn>
                <a:cxn ang="0">
                  <a:pos x="13" y="0"/>
                </a:cxn>
                <a:cxn ang="0">
                  <a:pos x="6" y="0"/>
                </a:cxn>
                <a:cxn ang="0">
                  <a:pos x="0" y="0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9194800" y="4463282"/>
              <a:ext cx="25400" cy="55562"/>
            </a:xfrm>
            <a:custGeom>
              <a:avLst/>
              <a:gdLst/>
              <a:ahLst/>
              <a:cxnLst>
                <a:cxn ang="0">
                  <a:pos x="53" y="23"/>
                </a:cxn>
                <a:cxn ang="0">
                  <a:pos x="53" y="4"/>
                </a:cxn>
                <a:cxn ang="0">
                  <a:pos x="49" y="2"/>
                </a:cxn>
                <a:cxn ang="0">
                  <a:pos x="45" y="1"/>
                </a:cxn>
                <a:cxn ang="0">
                  <a:pos x="42" y="0"/>
                </a:cxn>
                <a:cxn ang="0">
                  <a:pos x="38" y="0"/>
                </a:cxn>
                <a:cxn ang="0">
                  <a:pos x="31" y="1"/>
                </a:cxn>
                <a:cxn ang="0">
                  <a:pos x="24" y="4"/>
                </a:cxn>
                <a:cxn ang="0">
                  <a:pos x="11" y="13"/>
                </a:cxn>
                <a:cxn ang="0">
                  <a:pos x="0" y="23"/>
                </a:cxn>
                <a:cxn ang="0">
                  <a:pos x="53" y="23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9137651" y="4437882"/>
              <a:ext cx="11113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4"/>
                </a:cxn>
                <a:cxn ang="0">
                  <a:pos x="11" y="8"/>
                </a:cxn>
                <a:cxn ang="0">
                  <a:pos x="14" y="9"/>
                </a:cxn>
                <a:cxn ang="0">
                  <a:pos x="18" y="11"/>
                </a:cxn>
                <a:cxn ang="0">
                  <a:pos x="22" y="11"/>
                </a:cxn>
                <a:cxn ang="0">
                  <a:pos x="26" y="12"/>
                </a:cxn>
                <a:cxn ang="0">
                  <a:pos x="21" y="7"/>
                </a:cxn>
                <a:cxn ang="0">
                  <a:pos x="13" y="3"/>
                </a:cxn>
                <a:cxn ang="0">
                  <a:pos x="5" y="1"/>
                </a:cxn>
                <a:cxn ang="0">
                  <a:pos x="0" y="0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9337675" y="4769669"/>
              <a:ext cx="31750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" y="0"/>
                </a:cxn>
                <a:cxn ang="0">
                  <a:pos x="37" y="0"/>
                </a:cxn>
                <a:cxn ang="0">
                  <a:pos x="55" y="0"/>
                </a:cxn>
                <a:cxn ang="0">
                  <a:pos x="73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9293226" y="4758557"/>
              <a:ext cx="22225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0"/>
                </a:cxn>
                <a:cxn ang="0">
                  <a:pos x="27" y="3"/>
                </a:cxn>
                <a:cxn ang="0">
                  <a:pos x="32" y="3"/>
                </a:cxn>
                <a:cxn ang="0">
                  <a:pos x="39" y="3"/>
                </a:cxn>
                <a:cxn ang="0">
                  <a:pos x="45" y="1"/>
                </a:cxn>
                <a:cxn ang="0">
                  <a:pos x="53" y="0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9326564" y="4744269"/>
              <a:ext cx="20637" cy="635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9347200" y="4750619"/>
              <a:ext cx="1588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0" y="13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9301164" y="4744269"/>
              <a:ext cx="14287" cy="587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" y="0"/>
                </a:cxn>
                <a:cxn ang="0">
                  <a:pos x="26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9294813" y="4725220"/>
              <a:ext cx="6350" cy="60325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13"/>
                </a:cxn>
                <a:cxn ang="0">
                  <a:pos x="4" y="18"/>
                </a:cxn>
                <a:cxn ang="0">
                  <a:pos x="10" y="21"/>
                </a:cxn>
                <a:cxn ang="0">
                  <a:pos x="14" y="24"/>
                </a:cxn>
                <a:cxn ang="0">
                  <a:pos x="20" y="25"/>
                </a:cxn>
                <a:cxn ang="0">
                  <a:pos x="20" y="0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9375775" y="4452169"/>
              <a:ext cx="1588" cy="57150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0" y="0"/>
                </a:cxn>
                <a:cxn ang="0">
                  <a:pos x="6" y="12"/>
                </a:cxn>
                <a:cxn ang="0">
                  <a:pos x="0" y="24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79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9250363" y="4123557"/>
              <a:ext cx="163512" cy="114300"/>
              <a:chOff x="5379" y="2466"/>
              <a:chExt cx="122" cy="71"/>
            </a:xfrm>
            <a:grpFill/>
          </p:grpSpPr>
          <p:sp>
            <p:nvSpPr>
              <p:cNvPr id="527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/>
                <a:ahLst/>
                <a:cxnLst>
                  <a:cxn ang="0">
                    <a:pos x="19" y="25"/>
                  </a:cxn>
                  <a:cxn ang="0">
                    <a:pos x="18" y="20"/>
                  </a:cxn>
                  <a:cxn ang="0">
                    <a:pos x="17" y="12"/>
                  </a:cxn>
                  <a:cxn ang="0">
                    <a:pos x="16" y="9"/>
                  </a:cxn>
                  <a:cxn ang="0">
                    <a:pos x="17" y="6"/>
                  </a:cxn>
                  <a:cxn ang="0">
                    <a:pos x="17" y="3"/>
                  </a:cxn>
                  <a:cxn ang="0">
                    <a:pos x="19" y="0"/>
                  </a:cxn>
                  <a:cxn ang="0">
                    <a:pos x="0" y="0"/>
                  </a:cxn>
                  <a:cxn ang="0">
                    <a:pos x="1" y="7"/>
                  </a:cxn>
                  <a:cxn ang="0">
                    <a:pos x="5" y="15"/>
                  </a:cxn>
                  <a:cxn ang="0">
                    <a:pos x="7" y="19"/>
                  </a:cxn>
                  <a:cxn ang="0">
                    <a:pos x="11" y="23"/>
                  </a:cxn>
                  <a:cxn ang="0">
                    <a:pos x="15" y="25"/>
                  </a:cxn>
                  <a:cxn ang="0">
                    <a:pos x="19" y="25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8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/>
                <a:ahLst/>
                <a:cxnLst>
                  <a:cxn ang="0">
                    <a:pos x="26" y="18"/>
                  </a:cxn>
                  <a:cxn ang="0">
                    <a:pos x="7" y="18"/>
                  </a:cxn>
                  <a:cxn ang="0">
                    <a:pos x="3" y="9"/>
                  </a:cxn>
                  <a:cxn ang="0">
                    <a:pos x="0" y="0"/>
                  </a:cxn>
                  <a:cxn ang="0">
                    <a:pos x="6" y="2"/>
                  </a:cxn>
                  <a:cxn ang="0">
                    <a:pos x="13" y="6"/>
                  </a:cxn>
                  <a:cxn ang="0">
                    <a:pos x="20" y="12"/>
                  </a:cxn>
                  <a:cxn ang="0">
                    <a:pos x="26" y="18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9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13" y="0"/>
                  </a:cxn>
                  <a:cxn ang="0">
                    <a:pos x="0" y="18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0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3" y="23"/>
                  </a:cxn>
                  <a:cxn ang="0">
                    <a:pos x="7" y="22"/>
                  </a:cxn>
                  <a:cxn ang="0">
                    <a:pos x="11" y="19"/>
                  </a:cxn>
                  <a:cxn ang="0">
                    <a:pos x="16" y="16"/>
                  </a:cxn>
                  <a:cxn ang="0">
                    <a:pos x="20" y="13"/>
                  </a:cxn>
                  <a:cxn ang="0">
                    <a:pos x="23" y="9"/>
                  </a:cxn>
                  <a:cxn ang="0">
                    <a:pos x="25" y="4"/>
                  </a:cxn>
                  <a:cxn ang="0">
                    <a:pos x="26" y="0"/>
                  </a:cxn>
                  <a:cxn ang="0">
                    <a:pos x="0" y="24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1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10" y="6"/>
                  </a:cxn>
                  <a:cxn ang="0">
                    <a:pos x="17" y="5"/>
                  </a:cxn>
                  <a:cxn ang="0">
                    <a:pos x="25" y="4"/>
                  </a:cxn>
                  <a:cxn ang="0">
                    <a:pos x="34" y="0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2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3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/>
                <a:ahLst/>
                <a:cxnLst>
                  <a:cxn ang="0">
                    <a:pos x="0" y="19"/>
                  </a:cxn>
                  <a:cxn ang="0">
                    <a:pos x="0" y="9"/>
                  </a:cxn>
                  <a:cxn ang="0">
                    <a:pos x="0" y="0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4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5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7" y="3"/>
                  </a:cxn>
                  <a:cxn ang="0">
                    <a:pos x="0" y="6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80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834313" y="3985444"/>
              <a:ext cx="6350" cy="57150"/>
            </a:xfrm>
            <a:custGeom>
              <a:avLst/>
              <a:gdLst/>
              <a:ahLst/>
              <a:cxnLst>
                <a:cxn ang="0">
                  <a:pos x="13" y="111"/>
                </a:cxn>
                <a:cxn ang="0">
                  <a:pos x="9" y="103"/>
                </a:cxn>
                <a:cxn ang="0">
                  <a:pos x="4" y="95"/>
                </a:cxn>
                <a:cxn ang="0">
                  <a:pos x="2" y="91"/>
                </a:cxn>
                <a:cxn ang="0">
                  <a:pos x="1" y="87"/>
                </a:cxn>
                <a:cxn ang="0">
                  <a:pos x="0" y="80"/>
                </a:cxn>
                <a:cxn ang="0">
                  <a:pos x="0" y="74"/>
                </a:cxn>
                <a:cxn ang="0">
                  <a:pos x="0" y="61"/>
                </a:cxn>
                <a:cxn ang="0">
                  <a:pos x="1" y="51"/>
                </a:cxn>
                <a:cxn ang="0">
                  <a:pos x="3" y="41"/>
                </a:cxn>
                <a:cxn ang="0">
                  <a:pos x="5" y="33"/>
                </a:cxn>
                <a:cxn ang="0">
                  <a:pos x="9" y="24"/>
                </a:cxn>
                <a:cxn ang="0">
                  <a:pos x="14" y="17"/>
                </a:cxn>
                <a:cxn ang="0">
                  <a:pos x="20" y="9"/>
                </a:cxn>
                <a:cxn ang="0">
                  <a:pos x="26" y="0"/>
                </a:cxn>
                <a:cxn ang="0">
                  <a:pos x="26" y="6"/>
                </a:cxn>
                <a:cxn ang="0">
                  <a:pos x="26" y="13"/>
                </a:cxn>
                <a:cxn ang="0">
                  <a:pos x="26" y="22"/>
                </a:cxn>
                <a:cxn ang="0">
                  <a:pos x="26" y="32"/>
                </a:cxn>
                <a:cxn ang="0">
                  <a:pos x="25" y="44"/>
                </a:cxn>
                <a:cxn ang="0">
                  <a:pos x="22" y="56"/>
                </a:cxn>
                <a:cxn ang="0">
                  <a:pos x="18" y="67"/>
                </a:cxn>
                <a:cxn ang="0">
                  <a:pos x="13" y="80"/>
                </a:cxn>
                <a:cxn ang="0">
                  <a:pos x="13" y="111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33926" y="6125394"/>
              <a:ext cx="53975" cy="58738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11" y="20"/>
                </a:cxn>
                <a:cxn ang="0">
                  <a:pos x="21" y="21"/>
                </a:cxn>
                <a:cxn ang="0">
                  <a:pos x="29" y="23"/>
                </a:cxn>
                <a:cxn ang="0">
                  <a:pos x="36" y="26"/>
                </a:cxn>
                <a:cxn ang="0">
                  <a:pos x="50" y="33"/>
                </a:cxn>
                <a:cxn ang="0">
                  <a:pos x="61" y="40"/>
                </a:cxn>
                <a:cxn ang="0">
                  <a:pos x="70" y="48"/>
                </a:cxn>
                <a:cxn ang="0">
                  <a:pos x="79" y="55"/>
                </a:cxn>
                <a:cxn ang="0">
                  <a:pos x="84" y="58"/>
                </a:cxn>
                <a:cxn ang="0">
                  <a:pos x="89" y="60"/>
                </a:cxn>
                <a:cxn ang="0">
                  <a:pos x="95" y="61"/>
                </a:cxn>
                <a:cxn ang="0">
                  <a:pos x="100" y="62"/>
                </a:cxn>
                <a:cxn ang="0">
                  <a:pos x="105" y="61"/>
                </a:cxn>
                <a:cxn ang="0">
                  <a:pos x="109" y="60"/>
                </a:cxn>
                <a:cxn ang="0">
                  <a:pos x="113" y="58"/>
                </a:cxn>
                <a:cxn ang="0">
                  <a:pos x="117" y="56"/>
                </a:cxn>
                <a:cxn ang="0">
                  <a:pos x="122" y="51"/>
                </a:cxn>
                <a:cxn ang="0">
                  <a:pos x="126" y="49"/>
                </a:cxn>
                <a:cxn ang="0">
                  <a:pos x="110" y="33"/>
                </a:cxn>
                <a:cxn ang="0">
                  <a:pos x="96" y="21"/>
                </a:cxn>
                <a:cxn ang="0">
                  <a:pos x="89" y="15"/>
                </a:cxn>
                <a:cxn ang="0">
                  <a:pos x="81" y="9"/>
                </a:cxn>
                <a:cxn ang="0">
                  <a:pos x="72" y="5"/>
                </a:cxn>
                <a:cxn ang="0">
                  <a:pos x="61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9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035801" y="5963470"/>
              <a:ext cx="30163" cy="555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" y="1"/>
                </a:cxn>
                <a:cxn ang="0">
                  <a:pos x="23" y="2"/>
                </a:cxn>
                <a:cxn ang="0">
                  <a:pos x="32" y="4"/>
                </a:cxn>
                <a:cxn ang="0">
                  <a:pos x="38" y="7"/>
                </a:cxn>
                <a:cxn ang="0">
                  <a:pos x="44" y="9"/>
                </a:cxn>
                <a:cxn ang="0">
                  <a:pos x="50" y="11"/>
                </a:cxn>
                <a:cxn ang="0">
                  <a:pos x="57" y="12"/>
                </a:cxn>
                <a:cxn ang="0">
                  <a:pos x="66" y="13"/>
                </a:cxn>
                <a:cxn ang="0">
                  <a:pos x="65" y="17"/>
                </a:cxn>
                <a:cxn ang="0">
                  <a:pos x="62" y="21"/>
                </a:cxn>
                <a:cxn ang="0">
                  <a:pos x="60" y="25"/>
                </a:cxn>
                <a:cxn ang="0">
                  <a:pos x="57" y="28"/>
                </a:cxn>
                <a:cxn ang="0">
                  <a:pos x="49" y="34"/>
                </a:cxn>
                <a:cxn ang="0">
                  <a:pos x="40" y="39"/>
                </a:cxn>
                <a:cxn ang="0">
                  <a:pos x="31" y="42"/>
                </a:cxn>
                <a:cxn ang="0">
                  <a:pos x="21" y="44"/>
                </a:cxn>
                <a:cxn ang="0">
                  <a:pos x="10" y="44"/>
                </a:cxn>
                <a:cxn ang="0">
                  <a:pos x="0" y="43"/>
                </a:cxn>
                <a:cxn ang="0">
                  <a:pos x="0" y="31"/>
                </a:cxn>
                <a:cxn ang="0">
                  <a:pos x="0" y="22"/>
                </a:cxn>
                <a:cxn ang="0">
                  <a:pos x="0" y="12"/>
                </a:cxn>
                <a:cxn ang="0">
                  <a:pos x="0" y="0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190039" y="2734494"/>
              <a:ext cx="20637" cy="57150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40" y="7"/>
                </a:cxn>
                <a:cxn ang="0">
                  <a:pos x="35" y="13"/>
                </a:cxn>
                <a:cxn ang="0">
                  <a:pos x="31" y="14"/>
                </a:cxn>
                <a:cxn ang="0">
                  <a:pos x="29" y="15"/>
                </a:cxn>
                <a:cxn ang="0">
                  <a:pos x="26" y="16"/>
                </a:cxn>
                <a:cxn ang="0">
                  <a:pos x="23" y="16"/>
                </a:cxn>
                <a:cxn ang="0">
                  <a:pos x="16" y="14"/>
                </a:cxn>
                <a:cxn ang="0">
                  <a:pos x="11" y="11"/>
                </a:cxn>
                <a:cxn ang="0">
                  <a:pos x="5" y="6"/>
                </a:cxn>
                <a:cxn ang="0">
                  <a:pos x="0" y="0"/>
                </a:cxn>
                <a:cxn ang="0">
                  <a:pos x="46" y="0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366251" y="2767832"/>
              <a:ext cx="15875" cy="57150"/>
            </a:xfrm>
            <a:custGeom>
              <a:avLst/>
              <a:gdLst/>
              <a:ahLst/>
              <a:cxnLst>
                <a:cxn ang="0">
                  <a:pos x="39" y="25"/>
                </a:cxn>
                <a:cxn ang="0">
                  <a:pos x="36" y="26"/>
                </a:cxn>
                <a:cxn ang="0">
                  <a:pos x="32" y="26"/>
                </a:cxn>
                <a:cxn ang="0">
                  <a:pos x="28" y="26"/>
                </a:cxn>
                <a:cxn ang="0">
                  <a:pos x="25" y="25"/>
                </a:cxn>
                <a:cxn ang="0">
                  <a:pos x="18" y="22"/>
                </a:cxn>
                <a:cxn ang="0">
                  <a:pos x="12" y="18"/>
                </a:cxn>
                <a:cxn ang="0">
                  <a:pos x="7" y="13"/>
                </a:cxn>
                <a:cxn ang="0">
                  <a:pos x="3" y="7"/>
                </a:cxn>
                <a:cxn ang="0">
                  <a:pos x="1" y="3"/>
                </a:cxn>
                <a:cxn ang="0">
                  <a:pos x="0" y="0"/>
                </a:cxn>
                <a:cxn ang="0">
                  <a:pos x="11" y="6"/>
                </a:cxn>
                <a:cxn ang="0">
                  <a:pos x="22" y="13"/>
                </a:cxn>
                <a:cxn ang="0">
                  <a:pos x="33" y="20"/>
                </a:cxn>
                <a:cxn ang="0">
                  <a:pos x="39" y="25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815388" y="2998019"/>
              <a:ext cx="4762" cy="58738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5"/>
                </a:cxn>
                <a:cxn ang="0">
                  <a:pos x="10" y="12"/>
                </a:cxn>
                <a:cxn ang="0">
                  <a:pos x="9" y="20"/>
                </a:cxn>
                <a:cxn ang="0">
                  <a:pos x="4" y="25"/>
                </a:cxn>
                <a:cxn ang="0">
                  <a:pos x="2" y="23"/>
                </a:cxn>
                <a:cxn ang="0">
                  <a:pos x="1" y="20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1" y="9"/>
                </a:cxn>
                <a:cxn ang="0">
                  <a:pos x="3" y="5"/>
                </a:cxn>
                <a:cxn ang="0">
                  <a:pos x="6" y="2"/>
                </a:cxn>
                <a:cxn ang="0">
                  <a:pos x="11" y="0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629650" y="3559994"/>
              <a:ext cx="14288" cy="58738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16" y="12"/>
                </a:cxn>
                <a:cxn ang="0">
                  <a:pos x="10" y="20"/>
                </a:cxn>
                <a:cxn ang="0">
                  <a:pos x="5" y="26"/>
                </a:cxn>
                <a:cxn ang="0">
                  <a:pos x="0" y="31"/>
                </a:cxn>
                <a:cxn ang="0">
                  <a:pos x="0" y="25"/>
                </a:cxn>
                <a:cxn ang="0">
                  <a:pos x="1" y="19"/>
                </a:cxn>
                <a:cxn ang="0">
                  <a:pos x="2" y="13"/>
                </a:cxn>
                <a:cxn ang="0">
                  <a:pos x="5" y="9"/>
                </a:cxn>
                <a:cxn ang="0">
                  <a:pos x="8" y="6"/>
                </a:cxn>
                <a:cxn ang="0">
                  <a:pos x="11" y="3"/>
                </a:cxn>
                <a:cxn ang="0">
                  <a:pos x="16" y="0"/>
                </a:cxn>
                <a:cxn ang="0">
                  <a:pos x="20" y="0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647114" y="3494907"/>
              <a:ext cx="15875" cy="57150"/>
            </a:xfrm>
            <a:custGeom>
              <a:avLst/>
              <a:gdLst/>
              <a:ahLst/>
              <a:cxnLst>
                <a:cxn ang="0">
                  <a:pos x="13" y="37"/>
                </a:cxn>
                <a:cxn ang="0">
                  <a:pos x="0" y="12"/>
                </a:cxn>
                <a:cxn ang="0">
                  <a:pos x="6" y="7"/>
                </a:cxn>
                <a:cxn ang="0">
                  <a:pos x="13" y="4"/>
                </a:cxn>
                <a:cxn ang="0">
                  <a:pos x="21" y="1"/>
                </a:cxn>
                <a:cxn ang="0">
                  <a:pos x="26" y="0"/>
                </a:cxn>
                <a:cxn ang="0">
                  <a:pos x="26" y="6"/>
                </a:cxn>
                <a:cxn ang="0">
                  <a:pos x="25" y="11"/>
                </a:cxn>
                <a:cxn ang="0">
                  <a:pos x="24" y="17"/>
                </a:cxn>
                <a:cxn ang="0">
                  <a:pos x="23" y="21"/>
                </a:cxn>
                <a:cxn ang="0">
                  <a:pos x="18" y="29"/>
                </a:cxn>
                <a:cxn ang="0">
                  <a:pos x="13" y="37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535989" y="3344095"/>
              <a:ext cx="1587" cy="60325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0" y="0"/>
                </a:cxn>
                <a:cxn ang="0">
                  <a:pos x="7" y="12"/>
                </a:cxn>
                <a:cxn ang="0">
                  <a:pos x="0" y="18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387976" y="2470969"/>
              <a:ext cx="9525" cy="57150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19" y="0"/>
                </a:cxn>
                <a:cxn ang="0">
                  <a:pos x="24" y="5"/>
                </a:cxn>
                <a:cxn ang="0">
                  <a:pos x="28" y="12"/>
                </a:cxn>
                <a:cxn ang="0">
                  <a:pos x="32" y="22"/>
                </a:cxn>
                <a:cxn ang="0">
                  <a:pos x="33" y="31"/>
                </a:cxn>
                <a:cxn ang="0">
                  <a:pos x="27" y="30"/>
                </a:cxn>
                <a:cxn ang="0">
                  <a:pos x="22" y="28"/>
                </a:cxn>
                <a:cxn ang="0">
                  <a:pos x="16" y="25"/>
                </a:cxn>
                <a:cxn ang="0">
                  <a:pos x="11" y="22"/>
                </a:cxn>
                <a:cxn ang="0">
                  <a:pos x="3" y="15"/>
                </a:cxn>
                <a:cxn ang="0">
                  <a:pos x="0" y="12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373689" y="2239194"/>
              <a:ext cx="3175" cy="57150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0" y="6"/>
                </a:cxn>
                <a:cxn ang="0">
                  <a:pos x="14" y="0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854825" y="4017195"/>
              <a:ext cx="25400" cy="55563"/>
            </a:xfrm>
            <a:custGeom>
              <a:avLst/>
              <a:gdLst/>
              <a:ahLst/>
              <a:cxnLst>
                <a:cxn ang="0">
                  <a:pos x="59" y="6"/>
                </a:cxn>
                <a:cxn ang="0">
                  <a:pos x="57" y="11"/>
                </a:cxn>
                <a:cxn ang="0">
                  <a:pos x="53" y="15"/>
                </a:cxn>
                <a:cxn ang="0">
                  <a:pos x="49" y="19"/>
                </a:cxn>
                <a:cxn ang="0">
                  <a:pos x="45" y="24"/>
                </a:cxn>
                <a:cxn ang="0">
                  <a:pos x="40" y="27"/>
                </a:cxn>
                <a:cxn ang="0">
                  <a:pos x="36" y="29"/>
                </a:cxn>
                <a:cxn ang="0">
                  <a:pos x="30" y="31"/>
                </a:cxn>
                <a:cxn ang="0">
                  <a:pos x="26" y="31"/>
                </a:cxn>
                <a:cxn ang="0">
                  <a:pos x="21" y="31"/>
                </a:cxn>
                <a:cxn ang="0">
                  <a:pos x="17" y="30"/>
                </a:cxn>
                <a:cxn ang="0">
                  <a:pos x="14" y="29"/>
                </a:cxn>
                <a:cxn ang="0">
                  <a:pos x="11" y="27"/>
                </a:cxn>
                <a:cxn ang="0">
                  <a:pos x="4" y="20"/>
                </a:cxn>
                <a:cxn ang="0">
                  <a:pos x="0" y="12"/>
                </a:cxn>
                <a:cxn ang="0">
                  <a:pos x="1" y="9"/>
                </a:cxn>
                <a:cxn ang="0">
                  <a:pos x="3" y="6"/>
                </a:cxn>
                <a:cxn ang="0">
                  <a:pos x="5" y="4"/>
                </a:cxn>
                <a:cxn ang="0">
                  <a:pos x="8" y="3"/>
                </a:cxn>
                <a:cxn ang="0">
                  <a:pos x="16" y="1"/>
                </a:cxn>
                <a:cxn ang="0">
                  <a:pos x="24" y="0"/>
                </a:cxn>
                <a:cxn ang="0">
                  <a:pos x="34" y="0"/>
                </a:cxn>
                <a:cxn ang="0">
                  <a:pos x="42" y="2"/>
                </a:cxn>
                <a:cxn ang="0">
                  <a:pos x="51" y="4"/>
                </a:cxn>
                <a:cxn ang="0">
                  <a:pos x="59" y="6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557963" y="3879083"/>
              <a:ext cx="19050" cy="58737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8" y="10"/>
                </a:cxn>
                <a:cxn ang="0">
                  <a:pos x="4" y="19"/>
                </a:cxn>
                <a:cxn ang="0">
                  <a:pos x="2" y="28"/>
                </a:cxn>
                <a:cxn ang="0">
                  <a:pos x="0" y="37"/>
                </a:cxn>
                <a:cxn ang="0">
                  <a:pos x="0" y="42"/>
                </a:cxn>
                <a:cxn ang="0">
                  <a:pos x="2" y="47"/>
                </a:cxn>
                <a:cxn ang="0">
                  <a:pos x="3" y="51"/>
                </a:cxn>
                <a:cxn ang="0">
                  <a:pos x="5" y="55"/>
                </a:cxn>
                <a:cxn ang="0">
                  <a:pos x="7" y="58"/>
                </a:cxn>
                <a:cxn ang="0">
                  <a:pos x="9" y="60"/>
                </a:cxn>
                <a:cxn ang="0">
                  <a:pos x="13" y="62"/>
                </a:cxn>
                <a:cxn ang="0">
                  <a:pos x="16" y="64"/>
                </a:cxn>
                <a:cxn ang="0">
                  <a:pos x="22" y="67"/>
                </a:cxn>
                <a:cxn ang="0">
                  <a:pos x="31" y="68"/>
                </a:cxn>
                <a:cxn ang="0">
                  <a:pos x="39" y="68"/>
                </a:cxn>
                <a:cxn ang="0">
                  <a:pos x="47" y="68"/>
                </a:cxn>
                <a:cxn ang="0">
                  <a:pos x="41" y="58"/>
                </a:cxn>
                <a:cxn ang="0">
                  <a:pos x="38" y="48"/>
                </a:cxn>
                <a:cxn ang="0">
                  <a:pos x="36" y="43"/>
                </a:cxn>
                <a:cxn ang="0">
                  <a:pos x="35" y="38"/>
                </a:cxn>
                <a:cxn ang="0">
                  <a:pos x="33" y="31"/>
                </a:cxn>
                <a:cxn ang="0">
                  <a:pos x="33" y="25"/>
                </a:cxn>
                <a:cxn ang="0">
                  <a:pos x="24" y="13"/>
                </a:cxn>
                <a:cxn ang="0">
                  <a:pos x="14" y="0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93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329489" y="4066407"/>
              <a:ext cx="46037" cy="374650"/>
              <a:chOff x="3950" y="2430"/>
              <a:chExt cx="36" cy="234"/>
            </a:xfrm>
            <a:grpFill/>
          </p:grpSpPr>
          <p:sp>
            <p:nvSpPr>
              <p:cNvPr id="496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0"/>
                  </a:cxn>
                  <a:cxn ang="0">
                    <a:pos x="19" y="14"/>
                  </a:cxn>
                  <a:cxn ang="0">
                    <a:pos x="14" y="8"/>
                  </a:cxn>
                  <a:cxn ang="0">
                    <a:pos x="10" y="4"/>
                  </a:cxn>
                  <a:cxn ang="0">
                    <a:pos x="4" y="1"/>
                  </a:cxn>
                  <a:cxn ang="0">
                    <a:pos x="0" y="0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7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/>
                <a:ahLst/>
                <a:cxnLst>
                  <a:cxn ang="0">
                    <a:pos x="13" y="12"/>
                  </a:cxn>
                  <a:cxn ang="0">
                    <a:pos x="19" y="0"/>
                  </a:cxn>
                  <a:cxn ang="0">
                    <a:pos x="0" y="0"/>
                  </a:cxn>
                  <a:cxn ang="0">
                    <a:pos x="13" y="12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8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0"/>
                  </a:cxn>
                  <a:cxn ang="0">
                    <a:pos x="19" y="0"/>
                  </a:cxn>
                  <a:cxn ang="0">
                    <a:pos x="10" y="0"/>
                  </a:cxn>
                  <a:cxn ang="0">
                    <a:pos x="0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9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0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1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5" y="1"/>
                  </a:cxn>
                  <a:cxn ang="0">
                    <a:pos x="3" y="2"/>
                  </a:cxn>
                  <a:cxn ang="0">
                    <a:pos x="1" y="3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2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3" y="5"/>
                  </a:cxn>
                  <a:cxn ang="0">
                    <a:pos x="9" y="12"/>
                  </a:cxn>
                  <a:cxn ang="0">
                    <a:pos x="5" y="19"/>
                  </a:cxn>
                  <a:cxn ang="0">
                    <a:pos x="0" y="24"/>
                  </a:cxn>
                  <a:cxn ang="0">
                    <a:pos x="0" y="16"/>
                  </a:cxn>
                  <a:cxn ang="0">
                    <a:pos x="0" y="12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3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4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/>
                <a:ahLst/>
                <a:cxnLst>
                  <a:cxn ang="0">
                    <a:pos x="13" y="12"/>
                  </a:cxn>
                  <a:cxn ang="0">
                    <a:pos x="0" y="0"/>
                  </a:cxn>
                  <a:cxn ang="0">
                    <a:pos x="13" y="12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5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9"/>
                  </a:cxn>
                  <a:cxn ang="0">
                    <a:pos x="0" y="0"/>
                  </a:cxn>
                  <a:cxn ang="0">
                    <a:pos x="7" y="0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6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7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8" y="6"/>
                  </a:cxn>
                  <a:cxn ang="0">
                    <a:pos x="0" y="0"/>
                  </a:cxn>
                  <a:cxn ang="0">
                    <a:pos x="0" y="18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8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9"/>
                  </a:cxn>
                  <a:cxn ang="0">
                    <a:pos x="6" y="13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9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9"/>
                  </a:cxn>
                  <a:cxn ang="0">
                    <a:pos x="28" y="19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0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/>
                <a:ahLst/>
                <a:cxnLst>
                  <a:cxn ang="0">
                    <a:pos x="15" y="19"/>
                  </a:cxn>
                  <a:cxn ang="0">
                    <a:pos x="8" y="9"/>
                  </a:cxn>
                  <a:cxn ang="0">
                    <a:pos x="0" y="0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1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0"/>
                  </a:cxn>
                  <a:cxn ang="0">
                    <a:pos x="19" y="14"/>
                  </a:cxn>
                  <a:cxn ang="0">
                    <a:pos x="14" y="8"/>
                  </a:cxn>
                  <a:cxn ang="0">
                    <a:pos x="10" y="4"/>
                  </a:cxn>
                  <a:cxn ang="0">
                    <a:pos x="4" y="1"/>
                  </a:cxn>
                  <a:cxn ang="0">
                    <a:pos x="0" y="0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2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/>
                <a:ahLst/>
                <a:cxnLst>
                  <a:cxn ang="0">
                    <a:pos x="13" y="12"/>
                  </a:cxn>
                  <a:cxn ang="0">
                    <a:pos x="19" y="0"/>
                  </a:cxn>
                  <a:cxn ang="0">
                    <a:pos x="0" y="0"/>
                  </a:cxn>
                  <a:cxn ang="0">
                    <a:pos x="13" y="12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3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" y="0"/>
                  </a:cxn>
                  <a:cxn ang="0">
                    <a:pos x="19" y="0"/>
                  </a:cxn>
                  <a:cxn ang="0">
                    <a:pos x="10" y="0"/>
                  </a:cxn>
                  <a:cxn ang="0">
                    <a:pos x="0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4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5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6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5" y="1"/>
                  </a:cxn>
                  <a:cxn ang="0">
                    <a:pos x="3" y="2"/>
                  </a:cxn>
                  <a:cxn ang="0">
                    <a:pos x="1" y="3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7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3" y="5"/>
                  </a:cxn>
                  <a:cxn ang="0">
                    <a:pos x="9" y="12"/>
                  </a:cxn>
                  <a:cxn ang="0">
                    <a:pos x="5" y="19"/>
                  </a:cxn>
                  <a:cxn ang="0">
                    <a:pos x="0" y="24"/>
                  </a:cxn>
                  <a:cxn ang="0">
                    <a:pos x="0" y="16"/>
                  </a:cxn>
                  <a:cxn ang="0">
                    <a:pos x="0" y="12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8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9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/>
                <a:ahLst/>
                <a:cxnLst>
                  <a:cxn ang="0">
                    <a:pos x="13" y="12"/>
                  </a:cxn>
                  <a:cxn ang="0">
                    <a:pos x="0" y="0"/>
                  </a:cxn>
                  <a:cxn ang="0">
                    <a:pos x="13" y="12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0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9"/>
                  </a:cxn>
                  <a:cxn ang="0">
                    <a:pos x="0" y="0"/>
                  </a:cxn>
                  <a:cxn ang="0">
                    <a:pos x="7" y="0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1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2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8" y="6"/>
                  </a:cxn>
                  <a:cxn ang="0">
                    <a:pos x="0" y="0"/>
                  </a:cxn>
                  <a:cxn ang="0">
                    <a:pos x="0" y="18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3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9"/>
                  </a:cxn>
                  <a:cxn ang="0">
                    <a:pos x="6" y="13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4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9"/>
                  </a:cxn>
                  <a:cxn ang="0">
                    <a:pos x="28" y="19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5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/>
                <a:ahLst/>
                <a:cxnLst>
                  <a:cxn ang="0">
                    <a:pos x="15" y="19"/>
                  </a:cxn>
                  <a:cxn ang="0">
                    <a:pos x="8" y="9"/>
                  </a:cxn>
                  <a:cxn ang="0">
                    <a:pos x="0" y="0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6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/>
                <a:ahLst/>
                <a:cxnLst>
                  <a:cxn ang="0">
                    <a:pos x="13" y="18"/>
                  </a:cxn>
                  <a:cxn ang="0">
                    <a:pos x="20" y="0"/>
                  </a:cxn>
                  <a:cxn ang="0">
                    <a:pos x="0" y="0"/>
                  </a:cxn>
                  <a:cxn ang="0">
                    <a:pos x="13" y="18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94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9394825" y="4566470"/>
              <a:ext cx="185738" cy="214313"/>
              <a:chOff x="5486" y="2743"/>
              <a:chExt cx="137" cy="132"/>
            </a:xfrm>
            <a:grpFill/>
          </p:grpSpPr>
          <p:sp>
            <p:nvSpPr>
              <p:cNvPr id="487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/>
                <a:ahLst/>
                <a:cxnLst>
                  <a:cxn ang="0">
                    <a:pos x="0" y="31"/>
                  </a:cxn>
                  <a:cxn ang="0">
                    <a:pos x="0" y="42"/>
                  </a:cxn>
                  <a:cxn ang="0">
                    <a:pos x="2" y="51"/>
                  </a:cxn>
                  <a:cxn ang="0">
                    <a:pos x="5" y="59"/>
                  </a:cxn>
                  <a:cxn ang="0">
                    <a:pos x="10" y="66"/>
                  </a:cxn>
                  <a:cxn ang="0">
                    <a:pos x="15" y="72"/>
                  </a:cxn>
                  <a:cxn ang="0">
                    <a:pos x="22" y="77"/>
                  </a:cxn>
                  <a:cxn ang="0">
                    <a:pos x="31" y="82"/>
                  </a:cxn>
                  <a:cxn ang="0">
                    <a:pos x="40" y="87"/>
                  </a:cxn>
                  <a:cxn ang="0">
                    <a:pos x="35" y="82"/>
                  </a:cxn>
                  <a:cxn ang="0">
                    <a:pos x="32" y="77"/>
                  </a:cxn>
                  <a:cxn ang="0">
                    <a:pos x="29" y="71"/>
                  </a:cxn>
                  <a:cxn ang="0">
                    <a:pos x="26" y="65"/>
                  </a:cxn>
                  <a:cxn ang="0">
                    <a:pos x="22" y="52"/>
                  </a:cxn>
                  <a:cxn ang="0">
                    <a:pos x="20" y="39"/>
                  </a:cxn>
                  <a:cxn ang="0">
                    <a:pos x="18" y="27"/>
                  </a:cxn>
                  <a:cxn ang="0">
                    <a:pos x="13" y="16"/>
                  </a:cxn>
                  <a:cxn ang="0">
                    <a:pos x="11" y="11"/>
                  </a:cxn>
                  <a:cxn ang="0">
                    <a:pos x="8" y="6"/>
                  </a:cxn>
                  <a:cxn ang="0">
                    <a:pos x="4" y="3"/>
                  </a:cxn>
                  <a:cxn ang="0">
                    <a:pos x="0" y="0"/>
                  </a:cxn>
                  <a:cxn ang="0">
                    <a:pos x="0" y="9"/>
                  </a:cxn>
                  <a:cxn ang="0">
                    <a:pos x="0" y="16"/>
                  </a:cxn>
                  <a:cxn ang="0">
                    <a:pos x="0" y="23"/>
                  </a:cxn>
                  <a:cxn ang="0">
                    <a:pos x="0" y="31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8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/>
                <a:ahLst/>
                <a:cxnLst>
                  <a:cxn ang="0">
                    <a:pos x="0" y="31"/>
                  </a:cxn>
                  <a:cxn ang="0">
                    <a:pos x="19" y="32"/>
                  </a:cxn>
                  <a:cxn ang="0">
                    <a:pos x="35" y="34"/>
                  </a:cxn>
                  <a:cxn ang="0">
                    <a:pos x="49" y="36"/>
                  </a:cxn>
                  <a:cxn ang="0">
                    <a:pos x="61" y="37"/>
                  </a:cxn>
                  <a:cxn ang="0">
                    <a:pos x="55" y="29"/>
                  </a:cxn>
                  <a:cxn ang="0">
                    <a:pos x="49" y="22"/>
                  </a:cxn>
                  <a:cxn ang="0">
                    <a:pos x="42" y="17"/>
                  </a:cxn>
                  <a:cxn ang="0">
                    <a:pos x="35" y="12"/>
                  </a:cxn>
                  <a:cxn ang="0">
                    <a:pos x="28" y="9"/>
                  </a:cxn>
                  <a:cxn ang="0">
                    <a:pos x="19" y="5"/>
                  </a:cxn>
                  <a:cxn ang="0">
                    <a:pos x="10" y="2"/>
                  </a:cxn>
                  <a:cxn ang="0">
                    <a:pos x="0" y="0"/>
                  </a:cxn>
                  <a:cxn ang="0">
                    <a:pos x="0" y="31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9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/>
                <a:ahLst/>
                <a:cxnLst>
                  <a:cxn ang="0">
                    <a:pos x="40" y="30"/>
                  </a:cxn>
                  <a:cxn ang="0">
                    <a:pos x="33" y="28"/>
                  </a:cxn>
                  <a:cxn ang="0">
                    <a:pos x="26" y="25"/>
                  </a:cxn>
                  <a:cxn ang="0">
                    <a:pos x="21" y="22"/>
                  </a:cxn>
                  <a:cxn ang="0">
                    <a:pos x="15" y="19"/>
                  </a:cxn>
                  <a:cxn ang="0">
                    <a:pos x="11" y="16"/>
                  </a:cxn>
                  <a:cxn ang="0">
                    <a:pos x="6" y="11"/>
                  </a:cxn>
                  <a:cxn ang="0">
                    <a:pos x="3" y="6"/>
                  </a:cxn>
                  <a:cxn ang="0">
                    <a:pos x="0" y="0"/>
                  </a:cxn>
                  <a:cxn ang="0">
                    <a:pos x="8" y="2"/>
                  </a:cxn>
                  <a:cxn ang="0">
                    <a:pos x="15" y="6"/>
                  </a:cxn>
                  <a:cxn ang="0">
                    <a:pos x="22" y="10"/>
                  </a:cxn>
                  <a:cxn ang="0">
                    <a:pos x="27" y="15"/>
                  </a:cxn>
                  <a:cxn ang="0">
                    <a:pos x="33" y="19"/>
                  </a:cxn>
                  <a:cxn ang="0">
                    <a:pos x="36" y="23"/>
                  </a:cxn>
                  <a:cxn ang="0">
                    <a:pos x="39" y="27"/>
                  </a:cxn>
                  <a:cxn ang="0">
                    <a:pos x="40" y="30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0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/>
                <a:ahLst/>
                <a:cxnLst>
                  <a:cxn ang="0">
                    <a:pos x="74" y="80"/>
                  </a:cxn>
                  <a:cxn ang="0">
                    <a:pos x="72" y="73"/>
                  </a:cxn>
                  <a:cxn ang="0">
                    <a:pos x="71" y="66"/>
                  </a:cxn>
                  <a:cxn ang="0">
                    <a:pos x="69" y="60"/>
                  </a:cxn>
                  <a:cxn ang="0">
                    <a:pos x="66" y="53"/>
                  </a:cxn>
                  <a:cxn ang="0">
                    <a:pos x="58" y="42"/>
                  </a:cxn>
                  <a:cxn ang="0">
                    <a:pos x="48" y="33"/>
                  </a:cxn>
                  <a:cxn ang="0">
                    <a:pos x="38" y="25"/>
                  </a:cxn>
                  <a:cxn ang="0">
                    <a:pos x="29" y="17"/>
                  </a:cxn>
                  <a:cxn ang="0">
                    <a:pos x="20" y="9"/>
                  </a:cxn>
                  <a:cxn ang="0">
                    <a:pos x="13" y="0"/>
                  </a:cxn>
                  <a:cxn ang="0">
                    <a:pos x="9" y="5"/>
                  </a:cxn>
                  <a:cxn ang="0">
                    <a:pos x="4" y="10"/>
                  </a:cxn>
                  <a:cxn ang="0">
                    <a:pos x="1" y="14"/>
                  </a:cxn>
                  <a:cxn ang="0">
                    <a:pos x="0" y="19"/>
                  </a:cxn>
                  <a:cxn ang="0">
                    <a:pos x="0" y="25"/>
                  </a:cxn>
                  <a:cxn ang="0">
                    <a:pos x="2" y="30"/>
                  </a:cxn>
                  <a:cxn ang="0">
                    <a:pos x="4" y="36"/>
                  </a:cxn>
                  <a:cxn ang="0">
                    <a:pos x="7" y="41"/>
                  </a:cxn>
                  <a:cxn ang="0">
                    <a:pos x="10" y="46"/>
                  </a:cxn>
                  <a:cxn ang="0">
                    <a:pos x="14" y="51"/>
                  </a:cxn>
                  <a:cxn ang="0">
                    <a:pos x="19" y="56"/>
                  </a:cxn>
                  <a:cxn ang="0">
                    <a:pos x="24" y="61"/>
                  </a:cxn>
                  <a:cxn ang="0">
                    <a:pos x="30" y="66"/>
                  </a:cxn>
                  <a:cxn ang="0">
                    <a:pos x="35" y="69"/>
                  </a:cxn>
                  <a:cxn ang="0">
                    <a:pos x="42" y="72"/>
                  </a:cxn>
                  <a:cxn ang="0">
                    <a:pos x="47" y="75"/>
                  </a:cxn>
                  <a:cxn ang="0">
                    <a:pos x="54" y="77"/>
                  </a:cxn>
                  <a:cxn ang="0">
                    <a:pos x="60" y="79"/>
                  </a:cxn>
                  <a:cxn ang="0">
                    <a:pos x="67" y="80"/>
                  </a:cxn>
                  <a:cxn ang="0">
                    <a:pos x="74" y="80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1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/>
                <a:ahLst/>
                <a:cxnLst>
                  <a:cxn ang="0">
                    <a:pos x="52" y="80"/>
                  </a:cxn>
                  <a:cxn ang="0">
                    <a:pos x="86" y="80"/>
                  </a:cxn>
                  <a:cxn ang="0">
                    <a:pos x="86" y="61"/>
                  </a:cxn>
                  <a:cxn ang="0">
                    <a:pos x="79" y="59"/>
                  </a:cxn>
                  <a:cxn ang="0">
                    <a:pos x="72" y="56"/>
                  </a:cxn>
                  <a:cxn ang="0">
                    <a:pos x="67" y="53"/>
                  </a:cxn>
                  <a:cxn ang="0">
                    <a:pos x="61" y="49"/>
                  </a:cxn>
                  <a:cxn ang="0">
                    <a:pos x="51" y="41"/>
                  </a:cxn>
                  <a:cxn ang="0">
                    <a:pos x="43" y="33"/>
                  </a:cxn>
                  <a:cxn ang="0">
                    <a:pos x="34" y="25"/>
                  </a:cxn>
                  <a:cxn ang="0">
                    <a:pos x="24" y="16"/>
                  </a:cxn>
                  <a:cxn ang="0">
                    <a:pos x="13" y="7"/>
                  </a:cxn>
                  <a:cxn ang="0">
                    <a:pos x="0" y="0"/>
                  </a:cxn>
                  <a:cxn ang="0">
                    <a:pos x="1" y="8"/>
                  </a:cxn>
                  <a:cxn ang="0">
                    <a:pos x="5" y="20"/>
                  </a:cxn>
                  <a:cxn ang="0">
                    <a:pos x="11" y="32"/>
                  </a:cxn>
                  <a:cxn ang="0">
                    <a:pos x="18" y="44"/>
                  </a:cxn>
                  <a:cxn ang="0">
                    <a:pos x="27" y="57"/>
                  </a:cxn>
                  <a:cxn ang="0">
                    <a:pos x="36" y="67"/>
                  </a:cxn>
                  <a:cxn ang="0">
                    <a:pos x="40" y="72"/>
                  </a:cxn>
                  <a:cxn ang="0">
                    <a:pos x="45" y="76"/>
                  </a:cxn>
                  <a:cxn ang="0">
                    <a:pos x="49" y="79"/>
                  </a:cxn>
                  <a:cxn ang="0">
                    <a:pos x="52" y="80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2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3" y="11"/>
                  </a:cxn>
                  <a:cxn ang="0">
                    <a:pos x="5" y="15"/>
                  </a:cxn>
                  <a:cxn ang="0">
                    <a:pos x="9" y="18"/>
                  </a:cxn>
                  <a:cxn ang="0">
                    <a:pos x="14" y="21"/>
                  </a:cxn>
                  <a:cxn ang="0">
                    <a:pos x="18" y="24"/>
                  </a:cxn>
                  <a:cxn ang="0">
                    <a:pos x="23" y="26"/>
                  </a:cxn>
                  <a:cxn ang="0">
                    <a:pos x="29" y="28"/>
                  </a:cxn>
                  <a:cxn ang="0">
                    <a:pos x="34" y="29"/>
                  </a:cxn>
                  <a:cxn ang="0">
                    <a:pos x="47" y="31"/>
                  </a:cxn>
                  <a:cxn ang="0">
                    <a:pos x="58" y="31"/>
                  </a:cxn>
                  <a:cxn ang="0">
                    <a:pos x="63" y="30"/>
                  </a:cxn>
                  <a:cxn ang="0">
                    <a:pos x="67" y="29"/>
                  </a:cxn>
                  <a:cxn ang="0">
                    <a:pos x="71" y="27"/>
                  </a:cxn>
                  <a:cxn ang="0">
                    <a:pos x="74" y="25"/>
                  </a:cxn>
                  <a:cxn ang="0">
                    <a:pos x="64" y="18"/>
                  </a:cxn>
                  <a:cxn ang="0">
                    <a:pos x="55" y="13"/>
                  </a:cxn>
                  <a:cxn ang="0">
                    <a:pos x="51" y="10"/>
                  </a:cxn>
                  <a:cxn ang="0">
                    <a:pos x="47" y="8"/>
                  </a:cxn>
                  <a:cxn ang="0">
                    <a:pos x="43" y="5"/>
                  </a:cxn>
                  <a:cxn ang="0">
                    <a:pos x="41" y="0"/>
                  </a:cxn>
                  <a:cxn ang="0">
                    <a:pos x="33" y="1"/>
                  </a:cxn>
                  <a:cxn ang="0">
                    <a:pos x="28" y="1"/>
                  </a:cxn>
                  <a:cxn ang="0">
                    <a:pos x="22" y="1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0"/>
                  </a:cxn>
                  <a:cxn ang="0">
                    <a:pos x="6" y="3"/>
                  </a:cxn>
                  <a:cxn ang="0">
                    <a:pos x="0" y="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3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0" y="0"/>
                  </a:cxn>
                  <a:cxn ang="0">
                    <a:pos x="10" y="0"/>
                  </a:cxn>
                  <a:cxn ang="0">
                    <a:pos x="20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4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/>
                <a:ahLst/>
                <a:cxnLst>
                  <a:cxn ang="0">
                    <a:pos x="7" y="25"/>
                  </a:cxn>
                  <a:cxn ang="0">
                    <a:pos x="35" y="40"/>
                  </a:cxn>
                  <a:cxn ang="0">
                    <a:pos x="61" y="55"/>
                  </a:cxn>
                  <a:cxn ang="0">
                    <a:pos x="72" y="60"/>
                  </a:cxn>
                  <a:cxn ang="0">
                    <a:pos x="83" y="65"/>
                  </a:cxn>
                  <a:cxn ang="0">
                    <a:pos x="87" y="65"/>
                  </a:cxn>
                  <a:cxn ang="0">
                    <a:pos x="91" y="65"/>
                  </a:cxn>
                  <a:cxn ang="0">
                    <a:pos x="96" y="65"/>
                  </a:cxn>
                  <a:cxn ang="0">
                    <a:pos x="100" y="62"/>
                  </a:cxn>
                  <a:cxn ang="0">
                    <a:pos x="94" y="60"/>
                  </a:cxn>
                  <a:cxn ang="0">
                    <a:pos x="88" y="56"/>
                  </a:cxn>
                  <a:cxn ang="0">
                    <a:pos x="83" y="52"/>
                  </a:cxn>
                  <a:cxn ang="0">
                    <a:pos x="78" y="46"/>
                  </a:cxn>
                  <a:cxn ang="0">
                    <a:pos x="67" y="34"/>
                  </a:cxn>
                  <a:cxn ang="0">
                    <a:pos x="57" y="21"/>
                  </a:cxn>
                  <a:cxn ang="0">
                    <a:pos x="52" y="15"/>
                  </a:cxn>
                  <a:cxn ang="0">
                    <a:pos x="46" y="10"/>
                  </a:cxn>
                  <a:cxn ang="0">
                    <a:pos x="40" y="4"/>
                  </a:cxn>
                  <a:cxn ang="0">
                    <a:pos x="33" y="1"/>
                  </a:cxn>
                  <a:cxn ang="0">
                    <a:pos x="27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0" y="6"/>
                  </a:cxn>
                  <a:cxn ang="0">
                    <a:pos x="7" y="25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5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/>
                <a:ahLst/>
                <a:cxnLst>
                  <a:cxn ang="0">
                    <a:pos x="72" y="85"/>
                  </a:cxn>
                  <a:cxn ang="0">
                    <a:pos x="56" y="61"/>
                  </a:cxn>
                  <a:cxn ang="0">
                    <a:pos x="43" y="41"/>
                  </a:cxn>
                  <a:cxn ang="0">
                    <a:pos x="29" y="20"/>
                  </a:cxn>
                  <a:cxn ang="0">
                    <a:pos x="12" y="0"/>
                  </a:cxn>
                  <a:cxn ang="0">
                    <a:pos x="6" y="16"/>
                  </a:cxn>
                  <a:cxn ang="0">
                    <a:pos x="2" y="33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55"/>
                  </a:cxn>
                  <a:cxn ang="0">
                    <a:pos x="0" y="62"/>
                  </a:cxn>
                  <a:cxn ang="0">
                    <a:pos x="1" y="68"/>
                  </a:cxn>
                  <a:cxn ang="0">
                    <a:pos x="3" y="74"/>
                  </a:cxn>
                  <a:cxn ang="0">
                    <a:pos x="6" y="79"/>
                  </a:cxn>
                  <a:cxn ang="0">
                    <a:pos x="10" y="83"/>
                  </a:cxn>
                  <a:cxn ang="0">
                    <a:pos x="14" y="88"/>
                  </a:cxn>
                  <a:cxn ang="0">
                    <a:pos x="20" y="90"/>
                  </a:cxn>
                  <a:cxn ang="0">
                    <a:pos x="25" y="92"/>
                  </a:cxn>
                  <a:cxn ang="0">
                    <a:pos x="33" y="92"/>
                  </a:cxn>
                  <a:cxn ang="0">
                    <a:pos x="43" y="93"/>
                  </a:cxn>
                  <a:cxn ang="0">
                    <a:pos x="54" y="96"/>
                  </a:cxn>
                  <a:cxn ang="0">
                    <a:pos x="65" y="100"/>
                  </a:cxn>
                  <a:cxn ang="0">
                    <a:pos x="79" y="104"/>
                  </a:cxn>
                  <a:cxn ang="0">
                    <a:pos x="72" y="85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95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40401" y="4304532"/>
              <a:ext cx="11113" cy="55562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27" y="12"/>
                </a:cxn>
                <a:cxn ang="0">
                  <a:pos x="27" y="19"/>
                </a:cxn>
                <a:cxn ang="0">
                  <a:pos x="9" y="19"/>
                </a:cxn>
                <a:cxn ang="0">
                  <a:pos x="0" y="19"/>
                </a:cxn>
                <a:cxn ang="0">
                  <a:pos x="9" y="12"/>
                </a:cxn>
                <a:cxn ang="0">
                  <a:pos x="27" y="0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664200" y="4444232"/>
              <a:ext cx="14288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9" y="0"/>
                </a:cxn>
                <a:cxn ang="0">
                  <a:pos x="36" y="9"/>
                </a:cxn>
                <a:cxn ang="0">
                  <a:pos x="33" y="19"/>
                </a:cxn>
                <a:cxn ang="0">
                  <a:pos x="27" y="28"/>
                </a:cxn>
                <a:cxn ang="0">
                  <a:pos x="22" y="34"/>
                </a:cxn>
                <a:cxn ang="0">
                  <a:pos x="19" y="35"/>
                </a:cxn>
                <a:cxn ang="0">
                  <a:pos x="16" y="35"/>
                </a:cxn>
                <a:cxn ang="0">
                  <a:pos x="13" y="34"/>
                </a:cxn>
                <a:cxn ang="0">
                  <a:pos x="11" y="31"/>
                </a:cxn>
                <a:cxn ang="0">
                  <a:pos x="7" y="26"/>
                </a:cxn>
                <a:cxn ang="0">
                  <a:pos x="5" y="20"/>
                </a:cxn>
                <a:cxn ang="0">
                  <a:pos x="2" y="11"/>
                </a:cxn>
                <a:cxn ang="0">
                  <a:pos x="0" y="0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462838" y="2771008"/>
              <a:ext cx="728662" cy="331787"/>
            </a:xfrm>
            <a:custGeom>
              <a:avLst/>
              <a:gdLst/>
              <a:ahLst/>
              <a:cxnLst>
                <a:cxn ang="0">
                  <a:pos x="32" y="216"/>
                </a:cxn>
                <a:cxn ang="0">
                  <a:pos x="86" y="249"/>
                </a:cxn>
                <a:cxn ang="0">
                  <a:pos x="155" y="264"/>
                </a:cxn>
                <a:cxn ang="0">
                  <a:pos x="191" y="281"/>
                </a:cxn>
                <a:cxn ang="0">
                  <a:pos x="238" y="331"/>
                </a:cxn>
                <a:cxn ang="0">
                  <a:pos x="253" y="349"/>
                </a:cxn>
                <a:cxn ang="0">
                  <a:pos x="254" y="386"/>
                </a:cxn>
                <a:cxn ang="0">
                  <a:pos x="273" y="408"/>
                </a:cxn>
                <a:cxn ang="0">
                  <a:pos x="341" y="416"/>
                </a:cxn>
                <a:cxn ang="0">
                  <a:pos x="463" y="452"/>
                </a:cxn>
                <a:cxn ang="0">
                  <a:pos x="546" y="469"/>
                </a:cxn>
                <a:cxn ang="0">
                  <a:pos x="575" y="510"/>
                </a:cxn>
                <a:cxn ang="0">
                  <a:pos x="622" y="542"/>
                </a:cxn>
                <a:cxn ang="0">
                  <a:pos x="670" y="555"/>
                </a:cxn>
                <a:cxn ang="0">
                  <a:pos x="917" y="576"/>
                </a:cxn>
                <a:cxn ang="0">
                  <a:pos x="1037" y="614"/>
                </a:cxn>
                <a:cxn ang="0">
                  <a:pos x="1117" y="630"/>
                </a:cxn>
                <a:cxn ang="0">
                  <a:pos x="1157" y="613"/>
                </a:cxn>
                <a:cxn ang="0">
                  <a:pos x="1344" y="564"/>
                </a:cxn>
                <a:cxn ang="0">
                  <a:pos x="1395" y="510"/>
                </a:cxn>
                <a:cxn ang="0">
                  <a:pos x="1403" y="483"/>
                </a:cxn>
                <a:cxn ang="0">
                  <a:pos x="1386" y="455"/>
                </a:cxn>
                <a:cxn ang="0">
                  <a:pos x="1370" y="415"/>
                </a:cxn>
                <a:cxn ang="0">
                  <a:pos x="1499" y="394"/>
                </a:cxn>
                <a:cxn ang="0">
                  <a:pos x="1594" y="343"/>
                </a:cxn>
                <a:cxn ang="0">
                  <a:pos x="1651" y="325"/>
                </a:cxn>
                <a:cxn ang="0">
                  <a:pos x="1688" y="297"/>
                </a:cxn>
                <a:cxn ang="0">
                  <a:pos x="1656" y="279"/>
                </a:cxn>
                <a:cxn ang="0">
                  <a:pos x="1619" y="252"/>
                </a:cxn>
                <a:cxn ang="0">
                  <a:pos x="1583" y="248"/>
                </a:cxn>
                <a:cxn ang="0">
                  <a:pos x="1553" y="258"/>
                </a:cxn>
                <a:cxn ang="0">
                  <a:pos x="1497" y="256"/>
                </a:cxn>
                <a:cxn ang="0">
                  <a:pos x="1457" y="235"/>
                </a:cxn>
                <a:cxn ang="0">
                  <a:pos x="1434" y="187"/>
                </a:cxn>
                <a:cxn ang="0">
                  <a:pos x="1367" y="124"/>
                </a:cxn>
                <a:cxn ang="0">
                  <a:pos x="1286" y="120"/>
                </a:cxn>
                <a:cxn ang="0">
                  <a:pos x="1260" y="147"/>
                </a:cxn>
                <a:cxn ang="0">
                  <a:pos x="1236" y="165"/>
                </a:cxn>
                <a:cxn ang="0">
                  <a:pos x="1168" y="167"/>
                </a:cxn>
                <a:cxn ang="0">
                  <a:pos x="1044" y="167"/>
                </a:cxn>
                <a:cxn ang="0">
                  <a:pos x="986" y="140"/>
                </a:cxn>
                <a:cxn ang="0">
                  <a:pos x="922" y="108"/>
                </a:cxn>
                <a:cxn ang="0">
                  <a:pos x="852" y="100"/>
                </a:cxn>
                <a:cxn ang="0">
                  <a:pos x="801" y="114"/>
                </a:cxn>
                <a:cxn ang="0">
                  <a:pos x="740" y="116"/>
                </a:cxn>
                <a:cxn ang="0">
                  <a:pos x="692" y="101"/>
                </a:cxn>
                <a:cxn ang="0">
                  <a:pos x="662" y="68"/>
                </a:cxn>
                <a:cxn ang="0">
                  <a:pos x="446" y="7"/>
                </a:cxn>
                <a:cxn ang="0">
                  <a:pos x="446" y="44"/>
                </a:cxn>
                <a:cxn ang="0">
                  <a:pos x="471" y="79"/>
                </a:cxn>
                <a:cxn ang="0">
                  <a:pos x="490" y="106"/>
                </a:cxn>
                <a:cxn ang="0">
                  <a:pos x="307" y="122"/>
                </a:cxn>
                <a:cxn ang="0">
                  <a:pos x="294" y="87"/>
                </a:cxn>
                <a:cxn ang="0">
                  <a:pos x="225" y="97"/>
                </a:cxn>
                <a:cxn ang="0">
                  <a:pos x="185" y="88"/>
                </a:cxn>
                <a:cxn ang="0">
                  <a:pos x="138" y="97"/>
                </a:cxn>
                <a:cxn ang="0">
                  <a:pos x="68" y="143"/>
                </a:cxn>
                <a:cxn ang="0">
                  <a:pos x="31" y="151"/>
                </a:cxn>
                <a:cxn ang="0">
                  <a:pos x="4" y="169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789363" y="4737920"/>
              <a:ext cx="328612" cy="415925"/>
            </a:xfrm>
            <a:custGeom>
              <a:avLst/>
              <a:gdLst/>
              <a:ahLst/>
              <a:cxnLst>
                <a:cxn ang="0">
                  <a:pos x="26" y="80"/>
                </a:cxn>
                <a:cxn ang="0">
                  <a:pos x="49" y="88"/>
                </a:cxn>
                <a:cxn ang="0">
                  <a:pos x="72" y="108"/>
                </a:cxn>
                <a:cxn ang="0">
                  <a:pos x="88" y="134"/>
                </a:cxn>
                <a:cxn ang="0">
                  <a:pos x="93" y="169"/>
                </a:cxn>
                <a:cxn ang="0">
                  <a:pos x="84" y="186"/>
                </a:cxn>
                <a:cxn ang="0">
                  <a:pos x="81" y="205"/>
                </a:cxn>
                <a:cxn ang="0">
                  <a:pos x="88" y="240"/>
                </a:cxn>
                <a:cxn ang="0">
                  <a:pos x="95" y="278"/>
                </a:cxn>
                <a:cxn ang="0">
                  <a:pos x="83" y="308"/>
                </a:cxn>
                <a:cxn ang="0">
                  <a:pos x="81" y="352"/>
                </a:cxn>
                <a:cxn ang="0">
                  <a:pos x="93" y="390"/>
                </a:cxn>
                <a:cxn ang="0">
                  <a:pos x="99" y="415"/>
                </a:cxn>
                <a:cxn ang="0">
                  <a:pos x="78" y="457"/>
                </a:cxn>
                <a:cxn ang="0">
                  <a:pos x="113" y="529"/>
                </a:cxn>
                <a:cxn ang="0">
                  <a:pos x="138" y="577"/>
                </a:cxn>
                <a:cxn ang="0">
                  <a:pos x="146" y="622"/>
                </a:cxn>
                <a:cxn ang="0">
                  <a:pos x="152" y="659"/>
                </a:cxn>
                <a:cxn ang="0">
                  <a:pos x="187" y="738"/>
                </a:cxn>
                <a:cxn ang="0">
                  <a:pos x="214" y="782"/>
                </a:cxn>
                <a:cxn ang="0">
                  <a:pos x="230" y="794"/>
                </a:cxn>
                <a:cxn ang="0">
                  <a:pos x="251" y="790"/>
                </a:cxn>
                <a:cxn ang="0">
                  <a:pos x="289" y="761"/>
                </a:cxn>
                <a:cxn ang="0">
                  <a:pos x="324" y="746"/>
                </a:cxn>
                <a:cxn ang="0">
                  <a:pos x="355" y="748"/>
                </a:cxn>
                <a:cxn ang="0">
                  <a:pos x="388" y="770"/>
                </a:cxn>
                <a:cxn ang="0">
                  <a:pos x="418" y="780"/>
                </a:cxn>
                <a:cxn ang="0">
                  <a:pos x="437" y="758"/>
                </a:cxn>
                <a:cxn ang="0">
                  <a:pos x="478" y="745"/>
                </a:cxn>
                <a:cxn ang="0">
                  <a:pos x="525" y="622"/>
                </a:cxn>
                <a:cxn ang="0">
                  <a:pos x="539" y="600"/>
                </a:cxn>
                <a:cxn ang="0">
                  <a:pos x="575" y="584"/>
                </a:cxn>
                <a:cxn ang="0">
                  <a:pos x="665" y="573"/>
                </a:cxn>
                <a:cxn ang="0">
                  <a:pos x="687" y="579"/>
                </a:cxn>
                <a:cxn ang="0">
                  <a:pos x="704" y="585"/>
                </a:cxn>
                <a:cxn ang="0">
                  <a:pos x="744" y="573"/>
                </a:cxn>
                <a:cxn ang="0">
                  <a:pos x="757" y="541"/>
                </a:cxn>
                <a:cxn ang="0">
                  <a:pos x="752" y="499"/>
                </a:cxn>
                <a:cxn ang="0">
                  <a:pos x="726" y="462"/>
                </a:cxn>
                <a:cxn ang="0">
                  <a:pos x="710" y="435"/>
                </a:cxn>
                <a:cxn ang="0">
                  <a:pos x="671" y="401"/>
                </a:cxn>
                <a:cxn ang="0">
                  <a:pos x="633" y="399"/>
                </a:cxn>
                <a:cxn ang="0">
                  <a:pos x="605" y="378"/>
                </a:cxn>
                <a:cxn ang="0">
                  <a:pos x="590" y="349"/>
                </a:cxn>
                <a:cxn ang="0">
                  <a:pos x="585" y="311"/>
                </a:cxn>
                <a:cxn ang="0">
                  <a:pos x="583" y="269"/>
                </a:cxn>
                <a:cxn ang="0">
                  <a:pos x="560" y="242"/>
                </a:cxn>
                <a:cxn ang="0">
                  <a:pos x="503" y="205"/>
                </a:cxn>
                <a:cxn ang="0">
                  <a:pos x="440" y="178"/>
                </a:cxn>
                <a:cxn ang="0">
                  <a:pos x="392" y="167"/>
                </a:cxn>
                <a:cxn ang="0">
                  <a:pos x="359" y="161"/>
                </a:cxn>
                <a:cxn ang="0">
                  <a:pos x="330" y="145"/>
                </a:cxn>
                <a:cxn ang="0">
                  <a:pos x="307" y="122"/>
                </a:cxn>
                <a:cxn ang="0">
                  <a:pos x="292" y="92"/>
                </a:cxn>
                <a:cxn ang="0">
                  <a:pos x="279" y="19"/>
                </a:cxn>
                <a:cxn ang="0">
                  <a:pos x="261" y="3"/>
                </a:cxn>
                <a:cxn ang="0">
                  <a:pos x="227" y="3"/>
                </a:cxn>
                <a:cxn ang="0">
                  <a:pos x="173" y="30"/>
                </a:cxn>
                <a:cxn ang="0">
                  <a:pos x="119" y="66"/>
                </a:cxn>
                <a:cxn ang="0">
                  <a:pos x="0" y="80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003676" y="4168007"/>
              <a:ext cx="119063" cy="215900"/>
            </a:xfrm>
            <a:custGeom>
              <a:avLst/>
              <a:gdLst/>
              <a:ahLst/>
              <a:cxnLst>
                <a:cxn ang="0">
                  <a:pos x="225" y="140"/>
                </a:cxn>
                <a:cxn ang="0">
                  <a:pos x="213" y="133"/>
                </a:cxn>
                <a:cxn ang="0">
                  <a:pos x="201" y="121"/>
                </a:cxn>
                <a:cxn ang="0">
                  <a:pos x="190" y="105"/>
                </a:cxn>
                <a:cxn ang="0">
                  <a:pos x="183" y="96"/>
                </a:cxn>
                <a:cxn ang="0">
                  <a:pos x="176" y="93"/>
                </a:cxn>
                <a:cxn ang="0">
                  <a:pos x="167" y="94"/>
                </a:cxn>
                <a:cxn ang="0">
                  <a:pos x="161" y="101"/>
                </a:cxn>
                <a:cxn ang="0">
                  <a:pos x="153" y="86"/>
                </a:cxn>
                <a:cxn ang="0">
                  <a:pos x="142" y="54"/>
                </a:cxn>
                <a:cxn ang="0">
                  <a:pos x="132" y="36"/>
                </a:cxn>
                <a:cxn ang="0">
                  <a:pos x="123" y="25"/>
                </a:cxn>
                <a:cxn ang="0">
                  <a:pos x="111" y="14"/>
                </a:cxn>
                <a:cxn ang="0">
                  <a:pos x="96" y="5"/>
                </a:cxn>
                <a:cxn ang="0">
                  <a:pos x="80" y="7"/>
                </a:cxn>
                <a:cxn ang="0">
                  <a:pos x="69" y="19"/>
                </a:cxn>
                <a:cxn ang="0">
                  <a:pos x="63" y="25"/>
                </a:cxn>
                <a:cxn ang="0">
                  <a:pos x="57" y="32"/>
                </a:cxn>
                <a:cxn ang="0">
                  <a:pos x="56" y="42"/>
                </a:cxn>
                <a:cxn ang="0">
                  <a:pos x="58" y="59"/>
                </a:cxn>
                <a:cxn ang="0">
                  <a:pos x="52" y="78"/>
                </a:cxn>
                <a:cxn ang="0">
                  <a:pos x="33" y="90"/>
                </a:cxn>
                <a:cxn ang="0">
                  <a:pos x="17" y="104"/>
                </a:cxn>
                <a:cxn ang="0">
                  <a:pos x="4" y="118"/>
                </a:cxn>
                <a:cxn ang="0">
                  <a:pos x="40" y="198"/>
                </a:cxn>
                <a:cxn ang="0">
                  <a:pos x="73" y="205"/>
                </a:cxn>
                <a:cxn ang="0">
                  <a:pos x="84" y="210"/>
                </a:cxn>
                <a:cxn ang="0">
                  <a:pos x="93" y="218"/>
                </a:cxn>
                <a:cxn ang="0">
                  <a:pos x="99" y="226"/>
                </a:cxn>
                <a:cxn ang="0">
                  <a:pos x="103" y="237"/>
                </a:cxn>
                <a:cxn ang="0">
                  <a:pos x="106" y="265"/>
                </a:cxn>
                <a:cxn ang="0">
                  <a:pos x="103" y="279"/>
                </a:cxn>
                <a:cxn ang="0">
                  <a:pos x="96" y="293"/>
                </a:cxn>
                <a:cxn ang="0">
                  <a:pos x="89" y="307"/>
                </a:cxn>
                <a:cxn ang="0">
                  <a:pos x="86" y="321"/>
                </a:cxn>
                <a:cxn ang="0">
                  <a:pos x="91" y="343"/>
                </a:cxn>
                <a:cxn ang="0">
                  <a:pos x="107" y="374"/>
                </a:cxn>
                <a:cxn ang="0">
                  <a:pos x="117" y="389"/>
                </a:cxn>
                <a:cxn ang="0">
                  <a:pos x="129" y="401"/>
                </a:cxn>
                <a:cxn ang="0">
                  <a:pos x="141" y="411"/>
                </a:cxn>
                <a:cxn ang="0">
                  <a:pos x="153" y="414"/>
                </a:cxn>
                <a:cxn ang="0">
                  <a:pos x="215" y="398"/>
                </a:cxn>
                <a:cxn ang="0">
                  <a:pos x="255" y="385"/>
                </a:cxn>
                <a:cxn ang="0">
                  <a:pos x="267" y="377"/>
                </a:cxn>
                <a:cxn ang="0">
                  <a:pos x="273" y="370"/>
                </a:cxn>
                <a:cxn ang="0">
                  <a:pos x="269" y="352"/>
                </a:cxn>
                <a:cxn ang="0">
                  <a:pos x="263" y="335"/>
                </a:cxn>
                <a:cxn ang="0">
                  <a:pos x="242" y="309"/>
                </a:cxn>
                <a:cxn ang="0">
                  <a:pos x="222" y="282"/>
                </a:cxn>
                <a:cxn ang="0">
                  <a:pos x="215" y="266"/>
                </a:cxn>
                <a:cxn ang="0">
                  <a:pos x="212" y="247"/>
                </a:cxn>
                <a:cxn ang="0">
                  <a:pos x="215" y="215"/>
                </a:cxn>
                <a:cxn ang="0">
                  <a:pos x="222" y="190"/>
                </a:cxn>
                <a:cxn ang="0">
                  <a:pos x="230" y="167"/>
                </a:cxn>
                <a:cxn ang="0">
                  <a:pos x="232" y="142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00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717925" y="4002908"/>
              <a:ext cx="323850" cy="401637"/>
              <a:chOff x="1486" y="2412"/>
              <a:chExt cx="244" cy="256"/>
            </a:xfrm>
            <a:grpFill/>
          </p:grpSpPr>
          <p:sp>
            <p:nvSpPr>
              <p:cNvPr id="483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8"/>
                  </a:cxn>
                  <a:cxn ang="0">
                    <a:pos x="6" y="20"/>
                  </a:cxn>
                  <a:cxn ang="0">
                    <a:pos x="10" y="21"/>
                  </a:cxn>
                  <a:cxn ang="0">
                    <a:pos x="14" y="22"/>
                  </a:cxn>
                  <a:cxn ang="0">
                    <a:pos x="20" y="22"/>
                  </a:cxn>
                  <a:cxn ang="0">
                    <a:pos x="23" y="22"/>
                  </a:cxn>
                  <a:cxn ang="0">
                    <a:pos x="27" y="21"/>
                  </a:cxn>
                  <a:cxn ang="0">
                    <a:pos x="31" y="20"/>
                  </a:cxn>
                  <a:cxn ang="0">
                    <a:pos x="33" y="18"/>
                  </a:cxn>
                  <a:cxn ang="0">
                    <a:pos x="35" y="16"/>
                  </a:cxn>
                  <a:cxn ang="0">
                    <a:pos x="41" y="12"/>
                  </a:cxn>
                  <a:cxn ang="0">
                    <a:pos x="47" y="8"/>
                  </a:cxn>
                  <a:cxn ang="0">
                    <a:pos x="54" y="6"/>
                  </a:cxn>
                  <a:cxn ang="0">
                    <a:pos x="36" y="5"/>
                  </a:cxn>
                  <a:cxn ang="0">
                    <a:pos x="20" y="3"/>
                  </a:cxn>
                  <a:cxn ang="0">
                    <a:pos x="6" y="1"/>
                  </a:cxn>
                  <a:cxn ang="0">
                    <a:pos x="0" y="0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4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/>
                <a:ahLst/>
                <a:cxnLst>
                  <a:cxn ang="0">
                    <a:pos x="6" y="24"/>
                  </a:cxn>
                  <a:cxn ang="0">
                    <a:pos x="6" y="0"/>
                  </a:cxn>
                  <a:cxn ang="0">
                    <a:pos x="4" y="1"/>
                  </a:cxn>
                  <a:cxn ang="0">
                    <a:pos x="1" y="3"/>
                  </a:cxn>
                  <a:cxn ang="0">
                    <a:pos x="0" y="7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1" y="20"/>
                  </a:cxn>
                  <a:cxn ang="0">
                    <a:pos x="4" y="23"/>
                  </a:cxn>
                  <a:cxn ang="0">
                    <a:pos x="6" y="24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5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27" y="12"/>
                  </a:cxn>
                  <a:cxn ang="0">
                    <a:pos x="14" y="0"/>
                  </a:cxn>
                  <a:cxn ang="0">
                    <a:pos x="0" y="12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6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/>
                <a:ahLst/>
                <a:cxnLst>
                  <a:cxn ang="0">
                    <a:pos x="9" y="208"/>
                  </a:cxn>
                  <a:cxn ang="0">
                    <a:pos x="50" y="266"/>
                  </a:cxn>
                  <a:cxn ang="0">
                    <a:pos x="121" y="294"/>
                  </a:cxn>
                  <a:cxn ang="0">
                    <a:pos x="166" y="316"/>
                  </a:cxn>
                  <a:cxn ang="0">
                    <a:pos x="198" y="346"/>
                  </a:cxn>
                  <a:cxn ang="0">
                    <a:pos x="296" y="379"/>
                  </a:cxn>
                  <a:cxn ang="0">
                    <a:pos x="286" y="420"/>
                  </a:cxn>
                  <a:cxn ang="0">
                    <a:pos x="311" y="513"/>
                  </a:cxn>
                  <a:cxn ang="0">
                    <a:pos x="303" y="535"/>
                  </a:cxn>
                  <a:cxn ang="0">
                    <a:pos x="302" y="566"/>
                  </a:cxn>
                  <a:cxn ang="0">
                    <a:pos x="328" y="617"/>
                  </a:cxn>
                  <a:cxn ang="0">
                    <a:pos x="371" y="659"/>
                  </a:cxn>
                  <a:cxn ang="0">
                    <a:pos x="415" y="671"/>
                  </a:cxn>
                  <a:cxn ang="0">
                    <a:pos x="465" y="653"/>
                  </a:cxn>
                  <a:cxn ang="0">
                    <a:pos x="507" y="619"/>
                  </a:cxn>
                  <a:cxn ang="0">
                    <a:pos x="524" y="586"/>
                  </a:cxn>
                  <a:cxn ang="0">
                    <a:pos x="477" y="469"/>
                  </a:cxn>
                  <a:cxn ang="0">
                    <a:pos x="577" y="500"/>
                  </a:cxn>
                  <a:cxn ang="0">
                    <a:pos x="600" y="477"/>
                  </a:cxn>
                  <a:cxn ang="0">
                    <a:pos x="652" y="445"/>
                  </a:cxn>
                  <a:cxn ang="0">
                    <a:pos x="669" y="441"/>
                  </a:cxn>
                  <a:cxn ang="0">
                    <a:pos x="685" y="435"/>
                  </a:cxn>
                  <a:cxn ang="0">
                    <a:pos x="666" y="327"/>
                  </a:cxn>
                  <a:cxn ang="0">
                    <a:pos x="709" y="294"/>
                  </a:cxn>
                  <a:cxn ang="0">
                    <a:pos x="714" y="253"/>
                  </a:cxn>
                  <a:cxn ang="0">
                    <a:pos x="726" y="235"/>
                  </a:cxn>
                  <a:cxn ang="0">
                    <a:pos x="728" y="213"/>
                  </a:cxn>
                  <a:cxn ang="0">
                    <a:pos x="700" y="196"/>
                  </a:cxn>
                  <a:cxn ang="0">
                    <a:pos x="686" y="168"/>
                  </a:cxn>
                  <a:cxn ang="0">
                    <a:pos x="670" y="145"/>
                  </a:cxn>
                  <a:cxn ang="0">
                    <a:pos x="639" y="152"/>
                  </a:cxn>
                  <a:cxn ang="0">
                    <a:pos x="630" y="134"/>
                  </a:cxn>
                  <a:cxn ang="0">
                    <a:pos x="602" y="115"/>
                  </a:cxn>
                  <a:cxn ang="0">
                    <a:pos x="584" y="97"/>
                  </a:cxn>
                  <a:cxn ang="0">
                    <a:pos x="536" y="75"/>
                  </a:cxn>
                  <a:cxn ang="0">
                    <a:pos x="490" y="87"/>
                  </a:cxn>
                  <a:cxn ang="0">
                    <a:pos x="472" y="101"/>
                  </a:cxn>
                  <a:cxn ang="0">
                    <a:pos x="434" y="116"/>
                  </a:cxn>
                  <a:cxn ang="0">
                    <a:pos x="418" y="104"/>
                  </a:cxn>
                  <a:cxn ang="0">
                    <a:pos x="393" y="102"/>
                  </a:cxn>
                  <a:cxn ang="0">
                    <a:pos x="359" y="83"/>
                  </a:cxn>
                  <a:cxn ang="0">
                    <a:pos x="317" y="85"/>
                  </a:cxn>
                  <a:cxn ang="0">
                    <a:pos x="291" y="92"/>
                  </a:cxn>
                  <a:cxn ang="0">
                    <a:pos x="252" y="93"/>
                  </a:cxn>
                  <a:cxn ang="0">
                    <a:pos x="233" y="52"/>
                  </a:cxn>
                  <a:cxn ang="0">
                    <a:pos x="179" y="22"/>
                  </a:cxn>
                  <a:cxn ang="0">
                    <a:pos x="148" y="10"/>
                  </a:cxn>
                  <a:cxn ang="0">
                    <a:pos x="136" y="46"/>
                  </a:cxn>
                  <a:cxn ang="0">
                    <a:pos x="119" y="69"/>
                  </a:cxn>
                  <a:cxn ang="0">
                    <a:pos x="119" y="137"/>
                  </a:cxn>
                  <a:cxn ang="0">
                    <a:pos x="104" y="194"/>
                  </a:cxn>
                  <a:cxn ang="0">
                    <a:pos x="87" y="190"/>
                  </a:cxn>
                  <a:cxn ang="0">
                    <a:pos x="70" y="184"/>
                  </a:cxn>
                  <a:cxn ang="0">
                    <a:pos x="57" y="169"/>
                  </a:cxn>
                  <a:cxn ang="0">
                    <a:pos x="52" y="119"/>
                  </a:cxn>
                  <a:cxn ang="0">
                    <a:pos x="73" y="61"/>
                  </a:cxn>
                  <a:cxn ang="0">
                    <a:pos x="97" y="15"/>
                  </a:cxn>
                  <a:cxn ang="0">
                    <a:pos x="52" y="30"/>
                  </a:cxn>
                  <a:cxn ang="0">
                    <a:pos x="16" y="70"/>
                  </a:cxn>
                  <a:cxn ang="0">
                    <a:pos x="1" y="120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1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739188" y="5542782"/>
              <a:ext cx="31750" cy="11112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22" y="13"/>
                </a:cxn>
                <a:cxn ang="0">
                  <a:pos x="45" y="4"/>
                </a:cxn>
                <a:cxn ang="0">
                  <a:pos x="56" y="1"/>
                </a:cxn>
                <a:cxn ang="0">
                  <a:pos x="65" y="0"/>
                </a:cxn>
                <a:cxn ang="0">
                  <a:pos x="69" y="0"/>
                </a:cxn>
                <a:cxn ang="0">
                  <a:pos x="74" y="1"/>
                </a:cxn>
                <a:cxn ang="0">
                  <a:pos x="77" y="2"/>
                </a:cxn>
                <a:cxn ang="0">
                  <a:pos x="79" y="4"/>
                </a:cxn>
                <a:cxn ang="0">
                  <a:pos x="77" y="8"/>
                </a:cxn>
                <a:cxn ang="0">
                  <a:pos x="75" y="13"/>
                </a:cxn>
                <a:cxn ang="0">
                  <a:pos x="72" y="16"/>
                </a:cxn>
                <a:cxn ang="0">
                  <a:pos x="68" y="19"/>
                </a:cxn>
                <a:cxn ang="0">
                  <a:pos x="64" y="21"/>
                </a:cxn>
                <a:cxn ang="0">
                  <a:pos x="59" y="22"/>
                </a:cxn>
                <a:cxn ang="0">
                  <a:pos x="53" y="23"/>
                </a:cxn>
                <a:cxn ang="0">
                  <a:pos x="46" y="23"/>
                </a:cxn>
                <a:cxn ang="0">
                  <a:pos x="37" y="23"/>
                </a:cxn>
                <a:cxn ang="0">
                  <a:pos x="32" y="21"/>
                </a:cxn>
                <a:cxn ang="0">
                  <a:pos x="26" y="20"/>
                </a:cxn>
                <a:cxn ang="0">
                  <a:pos x="23" y="19"/>
                </a:cxn>
                <a:cxn ang="0">
                  <a:pos x="19" y="18"/>
                </a:cxn>
                <a:cxn ang="0">
                  <a:pos x="14" y="18"/>
                </a:cxn>
                <a:cxn ang="0">
                  <a:pos x="9" y="20"/>
                </a:cxn>
                <a:cxn ang="0">
                  <a:pos x="0" y="23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855075" y="5676132"/>
              <a:ext cx="1588" cy="47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0" y="0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945564" y="5674544"/>
              <a:ext cx="1587" cy="1270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945564" y="5674545"/>
              <a:ext cx="3175" cy="15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1"/>
                </a:cxn>
                <a:cxn ang="0">
                  <a:pos x="4" y="4"/>
                </a:cxn>
                <a:cxn ang="0">
                  <a:pos x="5" y="8"/>
                </a:cxn>
                <a:cxn ang="0">
                  <a:pos x="5" y="13"/>
                </a:cxn>
                <a:cxn ang="0">
                  <a:pos x="5" y="18"/>
                </a:cxn>
                <a:cxn ang="0">
                  <a:pos x="4" y="23"/>
                </a:cxn>
                <a:cxn ang="0">
                  <a:pos x="2" y="27"/>
                </a:cxn>
                <a:cxn ang="0">
                  <a:pos x="0" y="30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244014" y="5144320"/>
              <a:ext cx="22225" cy="28575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1" y="17"/>
                </a:cxn>
                <a:cxn ang="0">
                  <a:pos x="5" y="22"/>
                </a:cxn>
                <a:cxn ang="0">
                  <a:pos x="9" y="27"/>
                </a:cxn>
                <a:cxn ang="0">
                  <a:pos x="15" y="33"/>
                </a:cxn>
                <a:cxn ang="0">
                  <a:pos x="26" y="44"/>
                </a:cxn>
                <a:cxn ang="0">
                  <a:pos x="33" y="55"/>
                </a:cxn>
                <a:cxn ang="0">
                  <a:pos x="53" y="55"/>
                </a:cxn>
                <a:cxn ang="0">
                  <a:pos x="40" y="41"/>
                </a:cxn>
                <a:cxn ang="0">
                  <a:pos x="28" y="29"/>
                </a:cxn>
                <a:cxn ang="0">
                  <a:pos x="23" y="23"/>
                </a:cxn>
                <a:cxn ang="0">
                  <a:pos x="19" y="16"/>
                </a:cxn>
                <a:cxn ang="0">
                  <a:pos x="16" y="8"/>
                </a:cxn>
                <a:cxn ang="0">
                  <a:pos x="14" y="0"/>
                </a:cxn>
                <a:cxn ang="0">
                  <a:pos x="7" y="6"/>
                </a:cxn>
                <a:cxn ang="0">
                  <a:pos x="0" y="12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250364" y="5071294"/>
              <a:ext cx="26987" cy="39688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9" y="43"/>
                </a:cxn>
                <a:cxn ang="0">
                  <a:pos x="20" y="55"/>
                </a:cxn>
                <a:cxn ang="0">
                  <a:pos x="26" y="61"/>
                </a:cxn>
                <a:cxn ang="0">
                  <a:pos x="32" y="67"/>
                </a:cxn>
                <a:cxn ang="0">
                  <a:pos x="39" y="71"/>
                </a:cxn>
                <a:cxn ang="0">
                  <a:pos x="46" y="75"/>
                </a:cxn>
                <a:cxn ang="0">
                  <a:pos x="51" y="61"/>
                </a:cxn>
                <a:cxn ang="0">
                  <a:pos x="58" y="48"/>
                </a:cxn>
                <a:cxn ang="0">
                  <a:pos x="61" y="42"/>
                </a:cxn>
                <a:cxn ang="0">
                  <a:pos x="63" y="36"/>
                </a:cxn>
                <a:cxn ang="0">
                  <a:pos x="65" y="31"/>
                </a:cxn>
                <a:cxn ang="0">
                  <a:pos x="65" y="26"/>
                </a:cxn>
                <a:cxn ang="0">
                  <a:pos x="65" y="21"/>
                </a:cxn>
                <a:cxn ang="0">
                  <a:pos x="63" y="18"/>
                </a:cxn>
                <a:cxn ang="0">
                  <a:pos x="61" y="13"/>
                </a:cxn>
                <a:cxn ang="0">
                  <a:pos x="58" y="10"/>
                </a:cxn>
                <a:cxn ang="0">
                  <a:pos x="51" y="5"/>
                </a:cxn>
                <a:cxn ang="0">
                  <a:pos x="46" y="0"/>
                </a:cxn>
                <a:cxn ang="0">
                  <a:pos x="34" y="0"/>
                </a:cxn>
                <a:cxn ang="0">
                  <a:pos x="26" y="0"/>
                </a:cxn>
                <a:cxn ang="0">
                  <a:pos x="25" y="2"/>
                </a:cxn>
                <a:cxn ang="0">
                  <a:pos x="24" y="7"/>
                </a:cxn>
                <a:cxn ang="0">
                  <a:pos x="23" y="9"/>
                </a:cxn>
                <a:cxn ang="0">
                  <a:pos x="23" y="11"/>
                </a:cxn>
                <a:cxn ang="0">
                  <a:pos x="24" y="12"/>
                </a:cxn>
                <a:cxn ang="0">
                  <a:pos x="26" y="1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9226551" y="5047482"/>
              <a:ext cx="17463" cy="30162"/>
            </a:xfrm>
            <a:custGeom>
              <a:avLst/>
              <a:gdLst/>
              <a:ahLst/>
              <a:cxnLst>
                <a:cxn ang="0">
                  <a:pos x="0" y="62"/>
                </a:cxn>
                <a:cxn ang="0">
                  <a:pos x="3" y="52"/>
                </a:cxn>
                <a:cxn ang="0">
                  <a:pos x="7" y="43"/>
                </a:cxn>
                <a:cxn ang="0">
                  <a:pos x="12" y="33"/>
                </a:cxn>
                <a:cxn ang="0">
                  <a:pos x="17" y="25"/>
                </a:cxn>
                <a:cxn ang="0">
                  <a:pos x="23" y="17"/>
                </a:cxn>
                <a:cxn ang="0">
                  <a:pos x="29" y="9"/>
                </a:cxn>
                <a:cxn ang="0">
                  <a:pos x="35" y="3"/>
                </a:cxn>
                <a:cxn ang="0">
                  <a:pos x="40" y="0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145588" y="4925245"/>
              <a:ext cx="68262" cy="138113"/>
            </a:xfrm>
            <a:custGeom>
              <a:avLst/>
              <a:gdLst/>
              <a:ahLst/>
              <a:cxnLst>
                <a:cxn ang="0">
                  <a:pos x="159" y="259"/>
                </a:cxn>
                <a:cxn ang="0">
                  <a:pos x="159" y="251"/>
                </a:cxn>
                <a:cxn ang="0">
                  <a:pos x="159" y="244"/>
                </a:cxn>
                <a:cxn ang="0">
                  <a:pos x="159" y="236"/>
                </a:cxn>
                <a:cxn ang="0">
                  <a:pos x="159" y="228"/>
                </a:cxn>
                <a:cxn ang="0">
                  <a:pos x="159" y="224"/>
                </a:cxn>
                <a:cxn ang="0">
                  <a:pos x="158" y="219"/>
                </a:cxn>
                <a:cxn ang="0">
                  <a:pos x="156" y="215"/>
                </a:cxn>
                <a:cxn ang="0">
                  <a:pos x="153" y="210"/>
                </a:cxn>
                <a:cxn ang="0">
                  <a:pos x="145" y="202"/>
                </a:cxn>
                <a:cxn ang="0">
                  <a:pos x="135" y="195"/>
                </a:cxn>
                <a:cxn ang="0">
                  <a:pos x="124" y="189"/>
                </a:cxn>
                <a:cxn ang="0">
                  <a:pos x="112" y="184"/>
                </a:cxn>
                <a:cxn ang="0">
                  <a:pos x="99" y="180"/>
                </a:cxn>
                <a:cxn ang="0">
                  <a:pos x="87" y="179"/>
                </a:cxn>
                <a:cxn ang="0">
                  <a:pos x="85" y="178"/>
                </a:cxn>
                <a:cxn ang="0">
                  <a:pos x="82" y="177"/>
                </a:cxn>
                <a:cxn ang="0">
                  <a:pos x="81" y="175"/>
                </a:cxn>
                <a:cxn ang="0">
                  <a:pos x="80" y="173"/>
                </a:cxn>
                <a:cxn ang="0">
                  <a:pos x="80" y="167"/>
                </a:cxn>
                <a:cxn ang="0">
                  <a:pos x="81" y="161"/>
                </a:cxn>
                <a:cxn ang="0">
                  <a:pos x="85" y="148"/>
                </a:cxn>
                <a:cxn ang="0">
                  <a:pos x="87" y="142"/>
                </a:cxn>
                <a:cxn ang="0">
                  <a:pos x="73" y="141"/>
                </a:cxn>
                <a:cxn ang="0">
                  <a:pos x="59" y="139"/>
                </a:cxn>
                <a:cxn ang="0">
                  <a:pos x="48" y="135"/>
                </a:cxn>
                <a:cxn ang="0">
                  <a:pos x="40" y="129"/>
                </a:cxn>
                <a:cxn ang="0">
                  <a:pos x="31" y="121"/>
                </a:cxn>
                <a:cxn ang="0">
                  <a:pos x="24" y="113"/>
                </a:cxn>
                <a:cxn ang="0">
                  <a:pos x="18" y="104"/>
                </a:cxn>
                <a:cxn ang="0">
                  <a:pos x="13" y="94"/>
                </a:cxn>
                <a:cxn ang="0">
                  <a:pos x="9" y="84"/>
                </a:cxn>
                <a:cxn ang="0">
                  <a:pos x="7" y="73"/>
                </a:cxn>
                <a:cxn ang="0">
                  <a:pos x="5" y="60"/>
                </a:cxn>
                <a:cxn ang="0">
                  <a:pos x="2" y="48"/>
                </a:cxn>
                <a:cxn ang="0">
                  <a:pos x="0" y="25"/>
                </a:cxn>
                <a:cxn ang="0">
                  <a:pos x="0" y="0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9139238" y="4891908"/>
              <a:ext cx="6350" cy="33337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139238" y="4876033"/>
              <a:ext cx="6350" cy="15875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1" y="19"/>
                </a:cxn>
                <a:cxn ang="0">
                  <a:pos x="4" y="13"/>
                </a:cxn>
                <a:cxn ang="0">
                  <a:pos x="8" y="6"/>
                </a:cxn>
                <a:cxn ang="0">
                  <a:pos x="13" y="0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9145588" y="4863332"/>
              <a:ext cx="0" cy="1270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099550" y="4796658"/>
              <a:ext cx="46038" cy="66675"/>
            </a:xfrm>
            <a:custGeom>
              <a:avLst/>
              <a:gdLst/>
              <a:ahLst/>
              <a:cxnLst>
                <a:cxn ang="0">
                  <a:pos x="100" y="123"/>
                </a:cxn>
                <a:cxn ang="0">
                  <a:pos x="90" y="122"/>
                </a:cxn>
                <a:cxn ang="0">
                  <a:pos x="76" y="119"/>
                </a:cxn>
                <a:cxn ang="0">
                  <a:pos x="60" y="114"/>
                </a:cxn>
                <a:cxn ang="0">
                  <a:pos x="43" y="107"/>
                </a:cxn>
                <a:cxn ang="0">
                  <a:pos x="34" y="103"/>
                </a:cxn>
                <a:cxn ang="0">
                  <a:pos x="27" y="99"/>
                </a:cxn>
                <a:cxn ang="0">
                  <a:pos x="20" y="94"/>
                </a:cxn>
                <a:cxn ang="0">
                  <a:pos x="13" y="89"/>
                </a:cxn>
                <a:cxn ang="0">
                  <a:pos x="8" y="84"/>
                </a:cxn>
                <a:cxn ang="0">
                  <a:pos x="4" y="79"/>
                </a:cxn>
                <a:cxn ang="0">
                  <a:pos x="1" y="73"/>
                </a:cxn>
                <a:cxn ang="0">
                  <a:pos x="0" y="68"/>
                </a:cxn>
                <a:cxn ang="0">
                  <a:pos x="2" y="55"/>
                </a:cxn>
                <a:cxn ang="0">
                  <a:pos x="7" y="36"/>
                </a:cxn>
                <a:cxn ang="0">
                  <a:pos x="11" y="17"/>
                </a:cxn>
                <a:cxn ang="0">
                  <a:pos x="13" y="0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113839" y="4739507"/>
              <a:ext cx="1587" cy="5080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4" y="34"/>
                </a:cxn>
                <a:cxn ang="0">
                  <a:pos x="1" y="59"/>
                </a:cxn>
                <a:cxn ang="0">
                  <a:pos x="0" y="69"/>
                </a:cxn>
                <a:cxn ang="0">
                  <a:pos x="0" y="78"/>
                </a:cxn>
                <a:cxn ang="0">
                  <a:pos x="2" y="87"/>
                </a:cxn>
                <a:cxn ang="0">
                  <a:pos x="5" y="99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9120189" y="4733157"/>
              <a:ext cx="7937" cy="36512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8" y="16"/>
                </a:cxn>
                <a:cxn ang="0">
                  <a:pos x="4" y="33"/>
                </a:cxn>
                <a:cxn ang="0">
                  <a:pos x="2" y="52"/>
                </a:cxn>
                <a:cxn ang="0">
                  <a:pos x="0" y="68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136064" y="4714108"/>
              <a:ext cx="1587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3"/>
                </a:cxn>
                <a:cxn ang="0">
                  <a:pos x="0" y="26"/>
                </a:cxn>
                <a:cxn ang="0">
                  <a:pos x="0" y="37"/>
                </a:cxn>
                <a:cxn ang="0">
                  <a:pos x="0" y="43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9136064" y="4733158"/>
              <a:ext cx="1587" cy="3175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120189" y="4717283"/>
              <a:ext cx="1587" cy="15875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22"/>
                </a:cxn>
                <a:cxn ang="0">
                  <a:pos x="0" y="15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840789" y="5706295"/>
              <a:ext cx="96837" cy="87313"/>
            </a:xfrm>
            <a:custGeom>
              <a:avLst/>
              <a:gdLst/>
              <a:ahLst/>
              <a:cxnLst>
                <a:cxn ang="0">
                  <a:pos x="19" y="158"/>
                </a:cxn>
                <a:cxn ang="0">
                  <a:pos x="7" y="142"/>
                </a:cxn>
                <a:cxn ang="0">
                  <a:pos x="0" y="130"/>
                </a:cxn>
                <a:cxn ang="0">
                  <a:pos x="1" y="108"/>
                </a:cxn>
                <a:cxn ang="0">
                  <a:pos x="11" y="68"/>
                </a:cxn>
                <a:cxn ang="0">
                  <a:pos x="24" y="39"/>
                </a:cxn>
                <a:cxn ang="0">
                  <a:pos x="34" y="21"/>
                </a:cxn>
                <a:cxn ang="0">
                  <a:pos x="44" y="9"/>
                </a:cxn>
                <a:cxn ang="0">
                  <a:pos x="54" y="1"/>
                </a:cxn>
                <a:cxn ang="0">
                  <a:pos x="65" y="1"/>
                </a:cxn>
                <a:cxn ang="0">
                  <a:pos x="76" y="3"/>
                </a:cxn>
                <a:cxn ang="0">
                  <a:pos x="88" y="8"/>
                </a:cxn>
                <a:cxn ang="0">
                  <a:pos x="100" y="17"/>
                </a:cxn>
                <a:cxn ang="0">
                  <a:pos x="112" y="24"/>
                </a:cxn>
                <a:cxn ang="0">
                  <a:pos x="128" y="24"/>
                </a:cxn>
                <a:cxn ang="0">
                  <a:pos x="145" y="19"/>
                </a:cxn>
                <a:cxn ang="0">
                  <a:pos x="165" y="7"/>
                </a:cxn>
                <a:cxn ang="0">
                  <a:pos x="225" y="0"/>
                </a:cxn>
                <a:cxn ang="0">
                  <a:pos x="215" y="22"/>
                </a:cxn>
                <a:cxn ang="0">
                  <a:pos x="201" y="41"/>
                </a:cxn>
                <a:cxn ang="0">
                  <a:pos x="168" y="72"/>
                </a:cxn>
                <a:cxn ang="0">
                  <a:pos x="138" y="100"/>
                </a:cxn>
                <a:cxn ang="0">
                  <a:pos x="129" y="114"/>
                </a:cxn>
                <a:cxn ang="0">
                  <a:pos x="126" y="130"/>
                </a:cxn>
                <a:cxn ang="0">
                  <a:pos x="123" y="126"/>
                </a:cxn>
                <a:cxn ang="0">
                  <a:pos x="120" y="117"/>
                </a:cxn>
                <a:cxn ang="0">
                  <a:pos x="106" y="121"/>
                </a:cxn>
                <a:cxn ang="0">
                  <a:pos x="97" y="128"/>
                </a:cxn>
                <a:cxn ang="0">
                  <a:pos x="80" y="145"/>
                </a:cxn>
                <a:cxn ang="0">
                  <a:pos x="71" y="153"/>
                </a:cxn>
                <a:cxn ang="0">
                  <a:pos x="60" y="160"/>
                </a:cxn>
                <a:cxn ang="0">
                  <a:pos x="46" y="165"/>
                </a:cxn>
                <a:cxn ang="0">
                  <a:pos x="26" y="167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978901" y="4925245"/>
              <a:ext cx="3175" cy="17463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5" y="22"/>
                </a:cxn>
                <a:cxn ang="0">
                  <a:pos x="6" y="13"/>
                </a:cxn>
                <a:cxn ang="0">
                  <a:pos x="7" y="6"/>
                </a:cxn>
                <a:cxn ang="0">
                  <a:pos x="7" y="0"/>
                </a:cxn>
                <a:cxn ang="0">
                  <a:pos x="6" y="6"/>
                </a:cxn>
                <a:cxn ang="0">
                  <a:pos x="4" y="13"/>
                </a:cxn>
                <a:cxn ang="0">
                  <a:pos x="1" y="22"/>
                </a:cxn>
                <a:cxn ang="0">
                  <a:pos x="0" y="31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0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912226" y="4847458"/>
              <a:ext cx="15875" cy="15875"/>
            </a:xfrm>
            <a:custGeom>
              <a:avLst/>
              <a:gdLst/>
              <a:ahLst/>
              <a:cxnLst>
                <a:cxn ang="0">
                  <a:pos x="33" y="31"/>
                </a:cxn>
                <a:cxn ang="0">
                  <a:pos x="33" y="0"/>
                </a:cxn>
                <a:cxn ang="0">
                  <a:pos x="27" y="0"/>
                </a:cxn>
                <a:cxn ang="0">
                  <a:pos x="22" y="2"/>
                </a:cxn>
                <a:cxn ang="0">
                  <a:pos x="16" y="5"/>
                </a:cxn>
                <a:cxn ang="0">
                  <a:pos x="11" y="8"/>
                </a:cxn>
                <a:cxn ang="0">
                  <a:pos x="6" y="12"/>
                </a:cxn>
                <a:cxn ang="0">
                  <a:pos x="3" y="16"/>
                </a:cxn>
                <a:cxn ang="0">
                  <a:pos x="1" y="21"/>
                </a:cxn>
                <a:cxn ang="0">
                  <a:pos x="0" y="25"/>
                </a:cxn>
                <a:cxn ang="0">
                  <a:pos x="1" y="27"/>
                </a:cxn>
                <a:cxn ang="0">
                  <a:pos x="3" y="29"/>
                </a:cxn>
                <a:cxn ang="0">
                  <a:pos x="6" y="30"/>
                </a:cxn>
                <a:cxn ang="0">
                  <a:pos x="11" y="30"/>
                </a:cxn>
                <a:cxn ang="0">
                  <a:pos x="22" y="31"/>
                </a:cxn>
                <a:cxn ang="0">
                  <a:pos x="33" y="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1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928101" y="4760145"/>
              <a:ext cx="3175" cy="9525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2" y="18"/>
                </a:cxn>
                <a:cxn ang="0">
                  <a:pos x="5" y="17"/>
                </a:cxn>
                <a:cxn ang="0">
                  <a:pos x="7" y="15"/>
                </a:cxn>
                <a:cxn ang="0">
                  <a:pos x="8" y="12"/>
                </a:cxn>
                <a:cxn ang="0">
                  <a:pos x="12" y="6"/>
                </a:cxn>
                <a:cxn ang="0">
                  <a:pos x="13" y="0"/>
                </a:cxn>
                <a:cxn ang="0">
                  <a:pos x="0" y="19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2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767763" y="4763320"/>
              <a:ext cx="36512" cy="22225"/>
            </a:xfrm>
            <a:custGeom>
              <a:avLst/>
              <a:gdLst/>
              <a:ahLst/>
              <a:cxnLst>
                <a:cxn ang="0">
                  <a:pos x="54" y="42"/>
                </a:cxn>
                <a:cxn ang="0">
                  <a:pos x="59" y="42"/>
                </a:cxn>
                <a:cxn ang="0">
                  <a:pos x="64" y="41"/>
                </a:cxn>
                <a:cxn ang="0">
                  <a:pos x="68" y="40"/>
                </a:cxn>
                <a:cxn ang="0">
                  <a:pos x="71" y="38"/>
                </a:cxn>
                <a:cxn ang="0">
                  <a:pos x="75" y="34"/>
                </a:cxn>
                <a:cxn ang="0">
                  <a:pos x="78" y="28"/>
                </a:cxn>
                <a:cxn ang="0">
                  <a:pos x="79" y="22"/>
                </a:cxn>
                <a:cxn ang="0">
                  <a:pos x="80" y="16"/>
                </a:cxn>
                <a:cxn ang="0">
                  <a:pos x="82" y="11"/>
                </a:cxn>
                <a:cxn ang="0">
                  <a:pos x="87" y="6"/>
                </a:cxn>
                <a:cxn ang="0">
                  <a:pos x="77" y="2"/>
                </a:cxn>
                <a:cxn ang="0">
                  <a:pos x="67" y="0"/>
                </a:cxn>
                <a:cxn ang="0">
                  <a:pos x="57" y="0"/>
                </a:cxn>
                <a:cxn ang="0">
                  <a:pos x="47" y="0"/>
                </a:cxn>
                <a:cxn ang="0">
                  <a:pos x="40" y="0"/>
                </a:cxn>
                <a:cxn ang="0">
                  <a:pos x="32" y="2"/>
                </a:cxn>
                <a:cxn ang="0">
                  <a:pos x="25" y="4"/>
                </a:cxn>
                <a:cxn ang="0">
                  <a:pos x="19" y="6"/>
                </a:cxn>
                <a:cxn ang="0">
                  <a:pos x="8" y="12"/>
                </a:cxn>
                <a:cxn ang="0">
                  <a:pos x="0" y="18"/>
                </a:cxn>
                <a:cxn ang="0">
                  <a:pos x="11" y="24"/>
                </a:cxn>
                <a:cxn ang="0">
                  <a:pos x="27" y="32"/>
                </a:cxn>
                <a:cxn ang="0">
                  <a:pos x="43" y="39"/>
                </a:cxn>
                <a:cxn ang="0">
                  <a:pos x="54" y="42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3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012239" y="5226869"/>
              <a:ext cx="1587" cy="142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" y="0"/>
                </a:cxn>
                <a:cxn ang="0">
                  <a:pos x="7" y="18"/>
                </a:cxn>
                <a:cxn ang="0">
                  <a:pos x="0" y="31"/>
                </a:cxn>
                <a:cxn ang="0">
                  <a:pos x="0" y="0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4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248651" y="4733157"/>
              <a:ext cx="1019175" cy="908050"/>
            </a:xfrm>
            <a:custGeom>
              <a:avLst/>
              <a:gdLst/>
              <a:ahLst/>
              <a:cxnLst>
                <a:cxn ang="0">
                  <a:pos x="214" y="707"/>
                </a:cxn>
                <a:cxn ang="0">
                  <a:pos x="325" y="649"/>
                </a:cxn>
                <a:cxn ang="0">
                  <a:pos x="435" y="606"/>
                </a:cxn>
                <a:cxn ang="0">
                  <a:pos x="605" y="570"/>
                </a:cxn>
                <a:cxn ang="0">
                  <a:pos x="677" y="437"/>
                </a:cxn>
                <a:cxn ang="0">
                  <a:pos x="758" y="439"/>
                </a:cxn>
                <a:cxn ang="0">
                  <a:pos x="784" y="363"/>
                </a:cxn>
                <a:cxn ang="0">
                  <a:pos x="866" y="316"/>
                </a:cxn>
                <a:cxn ang="0">
                  <a:pos x="939" y="246"/>
                </a:cxn>
                <a:cxn ang="0">
                  <a:pos x="1027" y="223"/>
                </a:cxn>
                <a:cxn ang="0">
                  <a:pos x="1078" y="284"/>
                </a:cxn>
                <a:cxn ang="0">
                  <a:pos x="1135" y="270"/>
                </a:cxn>
                <a:cxn ang="0">
                  <a:pos x="1176" y="172"/>
                </a:cxn>
                <a:cxn ang="0">
                  <a:pos x="1320" y="117"/>
                </a:cxn>
                <a:cxn ang="0">
                  <a:pos x="1336" y="41"/>
                </a:cxn>
                <a:cxn ang="0">
                  <a:pos x="1432" y="107"/>
                </a:cxn>
                <a:cxn ang="0">
                  <a:pos x="1544" y="117"/>
                </a:cxn>
                <a:cxn ang="0">
                  <a:pos x="1465" y="262"/>
                </a:cxn>
                <a:cxn ang="0">
                  <a:pos x="1509" y="333"/>
                </a:cxn>
                <a:cxn ang="0">
                  <a:pos x="1582" y="354"/>
                </a:cxn>
                <a:cxn ang="0">
                  <a:pos x="1668" y="423"/>
                </a:cxn>
                <a:cxn ang="0">
                  <a:pos x="1764" y="413"/>
                </a:cxn>
                <a:cxn ang="0">
                  <a:pos x="1830" y="205"/>
                </a:cxn>
                <a:cxn ang="0">
                  <a:pos x="1904" y="10"/>
                </a:cxn>
                <a:cxn ang="0">
                  <a:pos x="1933" y="80"/>
                </a:cxn>
                <a:cxn ang="0">
                  <a:pos x="1944" y="176"/>
                </a:cxn>
                <a:cxn ang="0">
                  <a:pos x="1986" y="240"/>
                </a:cxn>
                <a:cxn ang="0">
                  <a:pos x="2040" y="429"/>
                </a:cxn>
                <a:cxn ang="0">
                  <a:pos x="2089" y="540"/>
                </a:cxn>
                <a:cxn ang="0">
                  <a:pos x="2163" y="686"/>
                </a:cxn>
                <a:cxn ang="0">
                  <a:pos x="2219" y="769"/>
                </a:cxn>
                <a:cxn ang="0">
                  <a:pos x="2332" y="892"/>
                </a:cxn>
                <a:cxn ang="0">
                  <a:pos x="2276" y="1105"/>
                </a:cxn>
                <a:cxn ang="0">
                  <a:pos x="2087" y="1362"/>
                </a:cxn>
                <a:cxn ang="0">
                  <a:pos x="2005" y="1432"/>
                </a:cxn>
                <a:cxn ang="0">
                  <a:pos x="1838" y="1591"/>
                </a:cxn>
                <a:cxn ang="0">
                  <a:pos x="1749" y="1676"/>
                </a:cxn>
                <a:cxn ang="0">
                  <a:pos x="1589" y="1726"/>
                </a:cxn>
                <a:cxn ang="0">
                  <a:pos x="1517" y="1693"/>
                </a:cxn>
                <a:cxn ang="0">
                  <a:pos x="1410" y="1729"/>
                </a:cxn>
                <a:cxn ang="0">
                  <a:pos x="1297" y="1693"/>
                </a:cxn>
                <a:cxn ang="0">
                  <a:pos x="1279" y="1614"/>
                </a:cxn>
                <a:cxn ang="0">
                  <a:pos x="1263" y="1516"/>
                </a:cxn>
                <a:cxn ang="0">
                  <a:pos x="1225" y="1500"/>
                </a:cxn>
                <a:cxn ang="0">
                  <a:pos x="1280" y="1382"/>
                </a:cxn>
                <a:cxn ang="0">
                  <a:pos x="1088" y="1362"/>
                </a:cxn>
                <a:cxn ang="0">
                  <a:pos x="961" y="1282"/>
                </a:cxn>
                <a:cxn ang="0">
                  <a:pos x="754" y="1323"/>
                </a:cxn>
                <a:cxn ang="0">
                  <a:pos x="507" y="1419"/>
                </a:cxn>
                <a:cxn ang="0">
                  <a:pos x="214" y="1473"/>
                </a:cxn>
                <a:cxn ang="0">
                  <a:pos x="55" y="1490"/>
                </a:cxn>
                <a:cxn ang="0">
                  <a:pos x="2" y="1423"/>
                </a:cxn>
                <a:cxn ang="0">
                  <a:pos x="97" y="1344"/>
                </a:cxn>
                <a:cxn ang="0">
                  <a:pos x="75" y="1241"/>
                </a:cxn>
                <a:cxn ang="0">
                  <a:pos x="113" y="1170"/>
                </a:cxn>
                <a:cxn ang="0">
                  <a:pos x="58" y="943"/>
                </a:cxn>
                <a:cxn ang="0">
                  <a:pos x="113" y="964"/>
                </a:cxn>
                <a:cxn ang="0">
                  <a:pos x="106" y="862"/>
                </a:cxn>
                <a:cxn ang="0">
                  <a:pos x="147" y="765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5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735264" y="3399658"/>
              <a:ext cx="668337" cy="581025"/>
            </a:xfrm>
            <a:custGeom>
              <a:avLst/>
              <a:gdLst/>
              <a:ahLst/>
              <a:cxnLst>
                <a:cxn ang="0">
                  <a:pos x="1243" y="925"/>
                </a:cxn>
                <a:cxn ang="0">
                  <a:pos x="1299" y="982"/>
                </a:cxn>
                <a:cxn ang="0">
                  <a:pos x="1220" y="999"/>
                </a:cxn>
                <a:cxn ang="0">
                  <a:pos x="1177" y="1095"/>
                </a:cxn>
                <a:cxn ang="0">
                  <a:pos x="1065" y="1006"/>
                </a:cxn>
                <a:cxn ang="0">
                  <a:pos x="994" y="1012"/>
                </a:cxn>
                <a:cxn ang="0">
                  <a:pos x="913" y="1039"/>
                </a:cxn>
                <a:cxn ang="0">
                  <a:pos x="786" y="971"/>
                </a:cxn>
                <a:cxn ang="0">
                  <a:pos x="648" y="917"/>
                </a:cxn>
                <a:cxn ang="0">
                  <a:pos x="588" y="883"/>
                </a:cxn>
                <a:cxn ang="0">
                  <a:pos x="537" y="835"/>
                </a:cxn>
                <a:cxn ang="0">
                  <a:pos x="485" y="826"/>
                </a:cxn>
                <a:cxn ang="0">
                  <a:pos x="439" y="757"/>
                </a:cxn>
                <a:cxn ang="0">
                  <a:pos x="467" y="705"/>
                </a:cxn>
                <a:cxn ang="0">
                  <a:pos x="450" y="601"/>
                </a:cxn>
                <a:cxn ang="0">
                  <a:pos x="352" y="468"/>
                </a:cxn>
                <a:cxn ang="0">
                  <a:pos x="304" y="426"/>
                </a:cxn>
                <a:cxn ang="0">
                  <a:pos x="293" y="369"/>
                </a:cxn>
                <a:cxn ang="0">
                  <a:pos x="217" y="248"/>
                </a:cxn>
                <a:cxn ang="0">
                  <a:pos x="167" y="74"/>
                </a:cxn>
                <a:cxn ang="0">
                  <a:pos x="84" y="104"/>
                </a:cxn>
                <a:cxn ang="0">
                  <a:pos x="113" y="222"/>
                </a:cxn>
                <a:cxn ang="0">
                  <a:pos x="150" y="326"/>
                </a:cxn>
                <a:cxn ang="0">
                  <a:pos x="196" y="402"/>
                </a:cxn>
                <a:cxn ang="0">
                  <a:pos x="200" y="465"/>
                </a:cxn>
                <a:cxn ang="0">
                  <a:pos x="213" y="524"/>
                </a:cxn>
                <a:cxn ang="0">
                  <a:pos x="259" y="571"/>
                </a:cxn>
                <a:cxn ang="0">
                  <a:pos x="214" y="596"/>
                </a:cxn>
                <a:cxn ang="0">
                  <a:pos x="193" y="542"/>
                </a:cxn>
                <a:cxn ang="0">
                  <a:pos x="120" y="474"/>
                </a:cxn>
                <a:cxn ang="0">
                  <a:pos x="146" y="420"/>
                </a:cxn>
                <a:cxn ang="0">
                  <a:pos x="89" y="366"/>
                </a:cxn>
                <a:cxn ang="0">
                  <a:pos x="27" y="307"/>
                </a:cxn>
                <a:cxn ang="0">
                  <a:pos x="65" y="289"/>
                </a:cxn>
                <a:cxn ang="0">
                  <a:pos x="64" y="225"/>
                </a:cxn>
                <a:cxn ang="0">
                  <a:pos x="6" y="117"/>
                </a:cxn>
                <a:cxn ang="0">
                  <a:pos x="38" y="5"/>
                </a:cxn>
                <a:cxn ang="0">
                  <a:pos x="211" y="18"/>
                </a:cxn>
                <a:cxn ang="0">
                  <a:pos x="361" y="76"/>
                </a:cxn>
                <a:cxn ang="0">
                  <a:pos x="498" y="55"/>
                </a:cxn>
                <a:cxn ang="0">
                  <a:pos x="593" y="54"/>
                </a:cxn>
                <a:cxn ang="0">
                  <a:pos x="633" y="110"/>
                </a:cxn>
                <a:cxn ang="0">
                  <a:pos x="700" y="215"/>
                </a:cxn>
                <a:cxn ang="0">
                  <a:pos x="750" y="192"/>
                </a:cxn>
                <a:cxn ang="0">
                  <a:pos x="822" y="176"/>
                </a:cxn>
                <a:cxn ang="0">
                  <a:pos x="879" y="244"/>
                </a:cxn>
                <a:cxn ang="0">
                  <a:pos x="905" y="362"/>
                </a:cxn>
                <a:cxn ang="0">
                  <a:pos x="964" y="405"/>
                </a:cxn>
                <a:cxn ang="0">
                  <a:pos x="977" y="456"/>
                </a:cxn>
                <a:cxn ang="0">
                  <a:pos x="931" y="492"/>
                </a:cxn>
                <a:cxn ang="0">
                  <a:pos x="917" y="634"/>
                </a:cxn>
                <a:cxn ang="0">
                  <a:pos x="956" y="791"/>
                </a:cxn>
                <a:cxn ang="0">
                  <a:pos x="1054" y="877"/>
                </a:cxn>
                <a:cxn ang="0">
                  <a:pos x="1166" y="849"/>
                </a:cxn>
                <a:cxn ang="0">
                  <a:pos x="1249" y="850"/>
                </a:cxn>
                <a:cxn ang="0">
                  <a:pos x="1296" y="742"/>
                </a:cxn>
                <a:cxn ang="0">
                  <a:pos x="1336" y="693"/>
                </a:cxn>
                <a:cxn ang="0">
                  <a:pos x="1506" y="678"/>
                </a:cxn>
                <a:cxn ang="0">
                  <a:pos x="1503" y="729"/>
                </a:cxn>
                <a:cxn ang="0">
                  <a:pos x="1468" y="821"/>
                </a:cxn>
                <a:cxn ang="0">
                  <a:pos x="1369" y="888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6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010025" y="5039545"/>
              <a:ext cx="211138" cy="265113"/>
            </a:xfrm>
            <a:custGeom>
              <a:avLst/>
              <a:gdLst/>
              <a:ahLst/>
              <a:cxnLst>
                <a:cxn ang="0">
                  <a:pos x="14" y="176"/>
                </a:cxn>
                <a:cxn ang="0">
                  <a:pos x="31" y="198"/>
                </a:cxn>
                <a:cxn ang="0">
                  <a:pos x="51" y="232"/>
                </a:cxn>
                <a:cxn ang="0">
                  <a:pos x="82" y="266"/>
                </a:cxn>
                <a:cxn ang="0">
                  <a:pos x="126" y="293"/>
                </a:cxn>
                <a:cxn ang="0">
                  <a:pos x="170" y="310"/>
                </a:cxn>
                <a:cxn ang="0">
                  <a:pos x="246" y="328"/>
                </a:cxn>
                <a:cxn ang="0">
                  <a:pos x="295" y="344"/>
                </a:cxn>
                <a:cxn ang="0">
                  <a:pos x="299" y="381"/>
                </a:cxn>
                <a:cxn ang="0">
                  <a:pos x="277" y="418"/>
                </a:cxn>
                <a:cxn ang="0">
                  <a:pos x="267" y="443"/>
                </a:cxn>
                <a:cxn ang="0">
                  <a:pos x="266" y="463"/>
                </a:cxn>
                <a:cxn ang="0">
                  <a:pos x="278" y="482"/>
                </a:cxn>
                <a:cxn ang="0">
                  <a:pos x="299" y="494"/>
                </a:cxn>
                <a:cxn ang="0">
                  <a:pos x="344" y="504"/>
                </a:cxn>
                <a:cxn ang="0">
                  <a:pos x="387" y="504"/>
                </a:cxn>
                <a:cxn ang="0">
                  <a:pos x="415" y="494"/>
                </a:cxn>
                <a:cxn ang="0">
                  <a:pos x="446" y="474"/>
                </a:cxn>
                <a:cxn ang="0">
                  <a:pos x="473" y="447"/>
                </a:cxn>
                <a:cxn ang="0">
                  <a:pos x="485" y="418"/>
                </a:cxn>
                <a:cxn ang="0">
                  <a:pos x="484" y="397"/>
                </a:cxn>
                <a:cxn ang="0">
                  <a:pos x="478" y="358"/>
                </a:cxn>
                <a:cxn ang="0">
                  <a:pos x="471" y="316"/>
                </a:cxn>
                <a:cxn ang="0">
                  <a:pos x="465" y="270"/>
                </a:cxn>
                <a:cxn ang="0">
                  <a:pos x="456" y="252"/>
                </a:cxn>
                <a:cxn ang="0">
                  <a:pos x="439" y="239"/>
                </a:cxn>
                <a:cxn ang="0">
                  <a:pos x="413" y="232"/>
                </a:cxn>
                <a:cxn ang="0">
                  <a:pos x="392" y="222"/>
                </a:cxn>
                <a:cxn ang="0">
                  <a:pos x="370" y="207"/>
                </a:cxn>
                <a:cxn ang="0">
                  <a:pos x="330" y="188"/>
                </a:cxn>
                <a:cxn ang="0">
                  <a:pos x="290" y="172"/>
                </a:cxn>
                <a:cxn ang="0">
                  <a:pos x="273" y="160"/>
                </a:cxn>
                <a:cxn ang="0">
                  <a:pos x="264" y="151"/>
                </a:cxn>
                <a:cxn ang="0">
                  <a:pos x="261" y="125"/>
                </a:cxn>
                <a:cxn ang="0">
                  <a:pos x="261" y="90"/>
                </a:cxn>
                <a:cxn ang="0">
                  <a:pos x="255" y="71"/>
                </a:cxn>
                <a:cxn ang="0">
                  <a:pos x="241" y="55"/>
                </a:cxn>
                <a:cxn ang="0">
                  <a:pos x="234" y="37"/>
                </a:cxn>
                <a:cxn ang="0">
                  <a:pos x="199" y="12"/>
                </a:cxn>
                <a:cxn ang="0">
                  <a:pos x="186" y="8"/>
                </a:cxn>
                <a:cxn ang="0">
                  <a:pos x="173" y="2"/>
                </a:cxn>
                <a:cxn ang="0">
                  <a:pos x="139" y="1"/>
                </a:cxn>
                <a:cxn ang="0">
                  <a:pos x="70" y="11"/>
                </a:cxn>
                <a:cxn ang="0">
                  <a:pos x="42" y="21"/>
                </a:cxn>
                <a:cxn ang="0">
                  <a:pos x="24" y="37"/>
                </a:cxn>
                <a:cxn ang="0">
                  <a:pos x="20" y="64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7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179889" y="4244208"/>
              <a:ext cx="73025" cy="109537"/>
            </a:xfrm>
            <a:custGeom>
              <a:avLst/>
              <a:gdLst/>
              <a:ahLst/>
              <a:cxnLst>
                <a:cxn ang="0">
                  <a:pos x="7" y="183"/>
                </a:cxn>
                <a:cxn ang="0">
                  <a:pos x="79" y="208"/>
                </a:cxn>
                <a:cxn ang="0">
                  <a:pos x="85" y="207"/>
                </a:cxn>
                <a:cxn ang="0">
                  <a:pos x="90" y="204"/>
                </a:cxn>
                <a:cxn ang="0">
                  <a:pos x="97" y="198"/>
                </a:cxn>
                <a:cxn ang="0">
                  <a:pos x="104" y="192"/>
                </a:cxn>
                <a:cxn ang="0">
                  <a:pos x="117" y="176"/>
                </a:cxn>
                <a:cxn ang="0">
                  <a:pos x="130" y="158"/>
                </a:cxn>
                <a:cxn ang="0">
                  <a:pos x="154" y="122"/>
                </a:cxn>
                <a:cxn ang="0">
                  <a:pos x="166" y="103"/>
                </a:cxn>
                <a:cxn ang="0">
                  <a:pos x="144" y="94"/>
                </a:cxn>
                <a:cxn ang="0">
                  <a:pos x="126" y="84"/>
                </a:cxn>
                <a:cxn ang="0">
                  <a:pos x="108" y="74"/>
                </a:cxn>
                <a:cxn ang="0">
                  <a:pos x="93" y="64"/>
                </a:cxn>
                <a:cxn ang="0">
                  <a:pos x="86" y="58"/>
                </a:cxn>
                <a:cxn ang="0">
                  <a:pos x="81" y="53"/>
                </a:cxn>
                <a:cxn ang="0">
                  <a:pos x="75" y="47"/>
                </a:cxn>
                <a:cxn ang="0">
                  <a:pos x="71" y="40"/>
                </a:cxn>
                <a:cxn ang="0">
                  <a:pos x="67" y="33"/>
                </a:cxn>
                <a:cxn ang="0">
                  <a:pos x="64" y="26"/>
                </a:cxn>
                <a:cxn ang="0">
                  <a:pos x="62" y="18"/>
                </a:cxn>
                <a:cxn ang="0">
                  <a:pos x="60" y="11"/>
                </a:cxn>
                <a:cxn ang="0">
                  <a:pos x="50" y="10"/>
                </a:cxn>
                <a:cxn ang="0">
                  <a:pos x="43" y="8"/>
                </a:cxn>
                <a:cxn ang="0">
                  <a:pos x="40" y="5"/>
                </a:cxn>
                <a:cxn ang="0">
                  <a:pos x="39" y="3"/>
                </a:cxn>
                <a:cxn ang="0">
                  <a:pos x="38" y="1"/>
                </a:cxn>
                <a:cxn ang="0">
                  <a:pos x="36" y="0"/>
                </a:cxn>
                <a:cxn ang="0">
                  <a:pos x="32" y="1"/>
                </a:cxn>
                <a:cxn ang="0">
                  <a:pos x="27" y="5"/>
                </a:cxn>
                <a:cxn ang="0">
                  <a:pos x="20" y="11"/>
                </a:cxn>
                <a:cxn ang="0">
                  <a:pos x="11" y="22"/>
                </a:cxn>
                <a:cxn ang="0">
                  <a:pos x="7" y="29"/>
                </a:cxn>
                <a:cxn ang="0">
                  <a:pos x="4" y="37"/>
                </a:cxn>
                <a:cxn ang="0">
                  <a:pos x="2" y="45"/>
                </a:cxn>
                <a:cxn ang="0">
                  <a:pos x="0" y="54"/>
                </a:cxn>
                <a:cxn ang="0">
                  <a:pos x="0" y="60"/>
                </a:cxn>
                <a:cxn ang="0">
                  <a:pos x="2" y="65"/>
                </a:cxn>
                <a:cxn ang="0">
                  <a:pos x="3" y="70"/>
                </a:cxn>
                <a:cxn ang="0">
                  <a:pos x="5" y="76"/>
                </a:cxn>
                <a:cxn ang="0">
                  <a:pos x="10" y="86"/>
                </a:cxn>
                <a:cxn ang="0">
                  <a:pos x="17" y="98"/>
                </a:cxn>
                <a:cxn ang="0">
                  <a:pos x="22" y="109"/>
                </a:cxn>
                <a:cxn ang="0">
                  <a:pos x="28" y="120"/>
                </a:cxn>
                <a:cxn ang="0">
                  <a:pos x="30" y="126"/>
                </a:cxn>
                <a:cxn ang="0">
                  <a:pos x="32" y="133"/>
                </a:cxn>
                <a:cxn ang="0">
                  <a:pos x="33" y="139"/>
                </a:cxn>
                <a:cxn ang="0">
                  <a:pos x="33" y="147"/>
                </a:cxn>
                <a:cxn ang="0">
                  <a:pos x="32" y="153"/>
                </a:cxn>
                <a:cxn ang="0">
                  <a:pos x="31" y="159"/>
                </a:cxn>
                <a:cxn ang="0">
                  <a:pos x="28" y="165"/>
                </a:cxn>
                <a:cxn ang="0">
                  <a:pos x="25" y="169"/>
                </a:cxn>
                <a:cxn ang="0">
                  <a:pos x="21" y="174"/>
                </a:cxn>
                <a:cxn ang="0">
                  <a:pos x="17" y="177"/>
                </a:cxn>
                <a:cxn ang="0">
                  <a:pos x="11" y="180"/>
                </a:cxn>
                <a:cxn ang="0">
                  <a:pos x="7" y="183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8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694113" y="3802883"/>
              <a:ext cx="69850" cy="58737"/>
            </a:xfrm>
            <a:custGeom>
              <a:avLst/>
              <a:gdLst/>
              <a:ahLst/>
              <a:cxnLst>
                <a:cxn ang="0">
                  <a:pos x="153" y="104"/>
                </a:cxn>
                <a:cxn ang="0">
                  <a:pos x="134" y="102"/>
                </a:cxn>
                <a:cxn ang="0">
                  <a:pos x="110" y="97"/>
                </a:cxn>
                <a:cxn ang="0">
                  <a:pos x="96" y="94"/>
                </a:cxn>
                <a:cxn ang="0">
                  <a:pos x="80" y="93"/>
                </a:cxn>
                <a:cxn ang="0">
                  <a:pos x="73" y="93"/>
                </a:cxn>
                <a:cxn ang="0">
                  <a:pos x="64" y="94"/>
                </a:cxn>
                <a:cxn ang="0">
                  <a:pos x="55" y="96"/>
                </a:cxn>
                <a:cxn ang="0">
                  <a:pos x="47" y="98"/>
                </a:cxn>
                <a:cxn ang="0">
                  <a:pos x="41" y="100"/>
                </a:cxn>
                <a:cxn ang="0">
                  <a:pos x="34" y="100"/>
                </a:cxn>
                <a:cxn ang="0">
                  <a:pos x="27" y="99"/>
                </a:cxn>
                <a:cxn ang="0">
                  <a:pos x="19" y="96"/>
                </a:cxn>
                <a:cxn ang="0">
                  <a:pos x="11" y="92"/>
                </a:cxn>
                <a:cxn ang="0">
                  <a:pos x="6" y="88"/>
                </a:cxn>
                <a:cxn ang="0">
                  <a:pos x="3" y="86"/>
                </a:cxn>
                <a:cxn ang="0">
                  <a:pos x="1" y="84"/>
                </a:cxn>
                <a:cxn ang="0">
                  <a:pos x="0" y="81"/>
                </a:cxn>
                <a:cxn ang="0">
                  <a:pos x="0" y="79"/>
                </a:cxn>
                <a:cxn ang="0">
                  <a:pos x="0" y="76"/>
                </a:cxn>
                <a:cxn ang="0">
                  <a:pos x="1" y="74"/>
                </a:cxn>
                <a:cxn ang="0">
                  <a:pos x="3" y="71"/>
                </a:cxn>
                <a:cxn ang="0">
                  <a:pos x="6" y="70"/>
                </a:cxn>
                <a:cxn ang="0">
                  <a:pos x="12" y="67"/>
                </a:cxn>
                <a:cxn ang="0">
                  <a:pos x="20" y="66"/>
                </a:cxn>
                <a:cxn ang="0">
                  <a:pos x="40" y="66"/>
                </a:cxn>
                <a:cxn ang="0">
                  <a:pos x="61" y="67"/>
                </a:cxn>
                <a:cxn ang="0">
                  <a:pos x="70" y="67"/>
                </a:cxn>
                <a:cxn ang="0">
                  <a:pos x="79" y="67"/>
                </a:cxn>
                <a:cxn ang="0">
                  <a:pos x="87" y="67"/>
                </a:cxn>
                <a:cxn ang="0">
                  <a:pos x="94" y="67"/>
                </a:cxn>
                <a:cxn ang="0">
                  <a:pos x="94" y="56"/>
                </a:cxn>
                <a:cxn ang="0">
                  <a:pos x="94" y="43"/>
                </a:cxn>
                <a:cxn ang="0">
                  <a:pos x="94" y="29"/>
                </a:cxn>
                <a:cxn ang="0">
                  <a:pos x="94" y="18"/>
                </a:cxn>
                <a:cxn ang="0">
                  <a:pos x="79" y="17"/>
                </a:cxn>
                <a:cxn ang="0">
                  <a:pos x="67" y="15"/>
                </a:cxn>
                <a:cxn ang="0">
                  <a:pos x="62" y="13"/>
                </a:cxn>
                <a:cxn ang="0">
                  <a:pos x="57" y="10"/>
                </a:cxn>
                <a:cxn ang="0">
                  <a:pos x="52" y="6"/>
                </a:cxn>
                <a:cxn ang="0">
                  <a:pos x="47" y="0"/>
                </a:cxn>
                <a:cxn ang="0">
                  <a:pos x="146" y="0"/>
                </a:cxn>
                <a:cxn ang="0">
                  <a:pos x="147" y="6"/>
                </a:cxn>
                <a:cxn ang="0">
                  <a:pos x="148" y="13"/>
                </a:cxn>
                <a:cxn ang="0">
                  <a:pos x="150" y="19"/>
                </a:cxn>
                <a:cxn ang="0">
                  <a:pos x="152" y="25"/>
                </a:cxn>
                <a:cxn ang="0">
                  <a:pos x="156" y="35"/>
                </a:cxn>
                <a:cxn ang="0">
                  <a:pos x="159" y="46"/>
                </a:cxn>
                <a:cxn ang="0">
                  <a:pos x="163" y="54"/>
                </a:cxn>
                <a:cxn ang="0">
                  <a:pos x="164" y="62"/>
                </a:cxn>
                <a:cxn ang="0">
                  <a:pos x="163" y="65"/>
                </a:cxn>
                <a:cxn ang="0">
                  <a:pos x="160" y="68"/>
                </a:cxn>
                <a:cxn ang="0">
                  <a:pos x="157" y="71"/>
                </a:cxn>
                <a:cxn ang="0">
                  <a:pos x="153" y="73"/>
                </a:cxn>
                <a:cxn ang="0">
                  <a:pos x="153" y="104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9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4060826" y="6157144"/>
              <a:ext cx="23813" cy="57150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7" y="13"/>
                </a:cxn>
                <a:cxn ang="0">
                  <a:pos x="14" y="17"/>
                </a:cxn>
                <a:cxn ang="0">
                  <a:pos x="22" y="19"/>
                </a:cxn>
                <a:cxn ang="0">
                  <a:pos x="29" y="19"/>
                </a:cxn>
                <a:cxn ang="0">
                  <a:pos x="35" y="18"/>
                </a:cxn>
                <a:cxn ang="0">
                  <a:pos x="42" y="15"/>
                </a:cxn>
                <a:cxn ang="0">
                  <a:pos x="47" y="12"/>
                </a:cxn>
                <a:cxn ang="0">
                  <a:pos x="53" y="8"/>
                </a:cxn>
                <a:cxn ang="0">
                  <a:pos x="47" y="5"/>
                </a:cxn>
                <a:cxn ang="0">
                  <a:pos x="42" y="2"/>
                </a:cxn>
                <a:cxn ang="0">
                  <a:pos x="35" y="1"/>
                </a:cxn>
                <a:cxn ang="0">
                  <a:pos x="29" y="0"/>
                </a:cxn>
                <a:cxn ang="0">
                  <a:pos x="22" y="0"/>
                </a:cxn>
                <a:cxn ang="0">
                  <a:pos x="14" y="1"/>
                </a:cxn>
                <a:cxn ang="0">
                  <a:pos x="7" y="3"/>
                </a:cxn>
                <a:cxn ang="0">
                  <a:pos x="0" y="8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025901" y="6136508"/>
              <a:ext cx="34925" cy="587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6"/>
                </a:cxn>
                <a:cxn ang="0">
                  <a:pos x="5" y="12"/>
                </a:cxn>
                <a:cxn ang="0">
                  <a:pos x="8" y="14"/>
                </a:cxn>
                <a:cxn ang="0">
                  <a:pos x="11" y="16"/>
                </a:cxn>
                <a:cxn ang="0">
                  <a:pos x="15" y="18"/>
                </a:cxn>
                <a:cxn ang="0">
                  <a:pos x="20" y="18"/>
                </a:cxn>
                <a:cxn ang="0">
                  <a:pos x="22" y="15"/>
                </a:cxn>
                <a:cxn ang="0">
                  <a:pos x="24" y="13"/>
                </a:cxn>
                <a:cxn ang="0">
                  <a:pos x="26" y="11"/>
                </a:cxn>
                <a:cxn ang="0">
                  <a:pos x="31" y="10"/>
                </a:cxn>
                <a:cxn ang="0">
                  <a:pos x="38" y="8"/>
                </a:cxn>
                <a:cxn ang="0">
                  <a:pos x="47" y="7"/>
                </a:cxn>
                <a:cxn ang="0">
                  <a:pos x="57" y="7"/>
                </a:cxn>
                <a:cxn ang="0">
                  <a:pos x="66" y="6"/>
                </a:cxn>
                <a:cxn ang="0">
                  <a:pos x="70" y="5"/>
                </a:cxn>
                <a:cxn ang="0">
                  <a:pos x="74" y="4"/>
                </a:cxn>
                <a:cxn ang="0">
                  <a:pos x="77" y="2"/>
                </a:cxn>
                <a:cxn ang="0">
                  <a:pos x="80" y="0"/>
                </a:cxn>
                <a:cxn ang="0">
                  <a:pos x="0" y="0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4025901" y="6115870"/>
              <a:ext cx="22225" cy="60325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18"/>
                </a:cxn>
                <a:cxn ang="0">
                  <a:pos x="9" y="22"/>
                </a:cxn>
                <a:cxn ang="0">
                  <a:pos x="16" y="25"/>
                </a:cxn>
                <a:cxn ang="0">
                  <a:pos x="23" y="27"/>
                </a:cxn>
                <a:cxn ang="0">
                  <a:pos x="29" y="27"/>
                </a:cxn>
                <a:cxn ang="0">
                  <a:pos x="33" y="27"/>
                </a:cxn>
                <a:cxn ang="0">
                  <a:pos x="37" y="25"/>
                </a:cxn>
                <a:cxn ang="0">
                  <a:pos x="42" y="22"/>
                </a:cxn>
                <a:cxn ang="0">
                  <a:pos x="46" y="18"/>
                </a:cxn>
                <a:cxn ang="0">
                  <a:pos x="41" y="16"/>
                </a:cxn>
                <a:cxn ang="0">
                  <a:pos x="33" y="11"/>
                </a:cxn>
                <a:cxn ang="0">
                  <a:pos x="26" y="5"/>
                </a:cxn>
                <a:cxn ang="0">
                  <a:pos x="20" y="0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995738" y="6109520"/>
              <a:ext cx="25400" cy="60325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20" y="4"/>
                </a:cxn>
                <a:cxn ang="0">
                  <a:pos x="10" y="10"/>
                </a:cxn>
                <a:cxn ang="0">
                  <a:pos x="6" y="13"/>
                </a:cxn>
                <a:cxn ang="0">
                  <a:pos x="4" y="16"/>
                </a:cxn>
                <a:cxn ang="0">
                  <a:pos x="2" y="20"/>
                </a:cxn>
                <a:cxn ang="0">
                  <a:pos x="0" y="24"/>
                </a:cxn>
                <a:cxn ang="0">
                  <a:pos x="2" y="28"/>
                </a:cxn>
                <a:cxn ang="0">
                  <a:pos x="3" y="32"/>
                </a:cxn>
                <a:cxn ang="0">
                  <a:pos x="5" y="35"/>
                </a:cxn>
                <a:cxn ang="0">
                  <a:pos x="8" y="37"/>
                </a:cxn>
                <a:cxn ang="0">
                  <a:pos x="11" y="38"/>
                </a:cxn>
                <a:cxn ang="0">
                  <a:pos x="16" y="39"/>
                </a:cxn>
                <a:cxn ang="0">
                  <a:pos x="20" y="39"/>
                </a:cxn>
                <a:cxn ang="0">
                  <a:pos x="25" y="39"/>
                </a:cxn>
                <a:cxn ang="0">
                  <a:pos x="30" y="38"/>
                </a:cxn>
                <a:cxn ang="0">
                  <a:pos x="34" y="37"/>
                </a:cxn>
                <a:cxn ang="0">
                  <a:pos x="39" y="35"/>
                </a:cxn>
                <a:cxn ang="0">
                  <a:pos x="43" y="33"/>
                </a:cxn>
                <a:cxn ang="0">
                  <a:pos x="47" y="30"/>
                </a:cxn>
                <a:cxn ang="0">
                  <a:pos x="50" y="26"/>
                </a:cxn>
                <a:cxn ang="0">
                  <a:pos x="52" y="22"/>
                </a:cxn>
                <a:cxn ang="0">
                  <a:pos x="54" y="18"/>
                </a:cxn>
                <a:cxn ang="0">
                  <a:pos x="51" y="17"/>
                </a:cxn>
                <a:cxn ang="0">
                  <a:pos x="48" y="16"/>
                </a:cxn>
                <a:cxn ang="0">
                  <a:pos x="44" y="14"/>
                </a:cxn>
                <a:cxn ang="0">
                  <a:pos x="42" y="11"/>
                </a:cxn>
                <a:cxn ang="0">
                  <a:pos x="39" y="8"/>
                </a:cxn>
                <a:cxn ang="0">
                  <a:pos x="37" y="5"/>
                </a:cxn>
                <a:cxn ang="0">
                  <a:pos x="34" y="2"/>
                </a:cxn>
                <a:cxn ang="0">
                  <a:pos x="34" y="0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970339" y="6099994"/>
              <a:ext cx="28575" cy="58738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10" y="13"/>
                </a:cxn>
                <a:cxn ang="0">
                  <a:pos x="18" y="14"/>
                </a:cxn>
                <a:cxn ang="0">
                  <a:pos x="27" y="15"/>
                </a:cxn>
                <a:cxn ang="0">
                  <a:pos x="35" y="15"/>
                </a:cxn>
                <a:cxn ang="0">
                  <a:pos x="41" y="14"/>
                </a:cxn>
                <a:cxn ang="0">
                  <a:pos x="48" y="12"/>
                </a:cxn>
                <a:cxn ang="0">
                  <a:pos x="55" y="9"/>
                </a:cxn>
                <a:cxn ang="0">
                  <a:pos x="60" y="5"/>
                </a:cxn>
                <a:cxn ang="0">
                  <a:pos x="57" y="3"/>
                </a:cxn>
                <a:cxn ang="0">
                  <a:pos x="54" y="0"/>
                </a:cxn>
                <a:cxn ang="0">
                  <a:pos x="51" y="0"/>
                </a:cxn>
                <a:cxn ang="0">
                  <a:pos x="47" y="0"/>
                </a:cxn>
                <a:cxn ang="0">
                  <a:pos x="40" y="0"/>
                </a:cxn>
                <a:cxn ang="0">
                  <a:pos x="33" y="3"/>
                </a:cxn>
                <a:cxn ang="0">
                  <a:pos x="24" y="6"/>
                </a:cxn>
                <a:cxn ang="0">
                  <a:pos x="16" y="8"/>
                </a:cxn>
                <a:cxn ang="0">
                  <a:pos x="7" y="10"/>
                </a:cxn>
                <a:cxn ang="0">
                  <a:pos x="0" y="11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946525" y="6087294"/>
              <a:ext cx="33338" cy="57150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34" y="1"/>
                </a:cxn>
                <a:cxn ang="0">
                  <a:pos x="30" y="2"/>
                </a:cxn>
                <a:cxn ang="0">
                  <a:pos x="25" y="4"/>
                </a:cxn>
                <a:cxn ang="0">
                  <a:pos x="20" y="6"/>
                </a:cxn>
                <a:cxn ang="0">
                  <a:pos x="15" y="9"/>
                </a:cxn>
                <a:cxn ang="0">
                  <a:pos x="10" y="11"/>
                </a:cxn>
                <a:cxn ang="0">
                  <a:pos x="5" y="12"/>
                </a:cxn>
                <a:cxn ang="0">
                  <a:pos x="0" y="13"/>
                </a:cxn>
                <a:cxn ang="0">
                  <a:pos x="5" y="21"/>
                </a:cxn>
                <a:cxn ang="0">
                  <a:pos x="10" y="26"/>
                </a:cxn>
                <a:cxn ang="0">
                  <a:pos x="12" y="29"/>
                </a:cxn>
                <a:cxn ang="0">
                  <a:pos x="15" y="31"/>
                </a:cxn>
                <a:cxn ang="0">
                  <a:pos x="18" y="31"/>
                </a:cxn>
                <a:cxn ang="0">
                  <a:pos x="20" y="32"/>
                </a:cxn>
                <a:cxn ang="0">
                  <a:pos x="27" y="31"/>
                </a:cxn>
                <a:cxn ang="0">
                  <a:pos x="34" y="30"/>
                </a:cxn>
                <a:cxn ang="0">
                  <a:pos x="41" y="27"/>
                </a:cxn>
                <a:cxn ang="0">
                  <a:pos x="48" y="24"/>
                </a:cxn>
                <a:cxn ang="0">
                  <a:pos x="62" y="18"/>
                </a:cxn>
                <a:cxn ang="0">
                  <a:pos x="79" y="13"/>
                </a:cxn>
                <a:cxn ang="0">
                  <a:pos x="67" y="6"/>
                </a:cxn>
                <a:cxn ang="0">
                  <a:pos x="58" y="2"/>
                </a:cxn>
                <a:cxn ang="0">
                  <a:pos x="49" y="1"/>
                </a:cxn>
                <a:cxn ang="0">
                  <a:pos x="40" y="0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940176" y="6068244"/>
              <a:ext cx="30163" cy="57150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25" y="1"/>
                </a:cxn>
                <a:cxn ang="0">
                  <a:pos x="19" y="2"/>
                </a:cxn>
                <a:cxn ang="0">
                  <a:pos x="13" y="4"/>
                </a:cxn>
                <a:cxn ang="0">
                  <a:pos x="9" y="7"/>
                </a:cxn>
                <a:cxn ang="0">
                  <a:pos x="5" y="11"/>
                </a:cxn>
                <a:cxn ang="0">
                  <a:pos x="2" y="14"/>
                </a:cxn>
                <a:cxn ang="0">
                  <a:pos x="0" y="17"/>
                </a:cxn>
                <a:cxn ang="0">
                  <a:pos x="0" y="19"/>
                </a:cxn>
                <a:cxn ang="0">
                  <a:pos x="19" y="19"/>
                </a:cxn>
                <a:cxn ang="0">
                  <a:pos x="38" y="19"/>
                </a:cxn>
                <a:cxn ang="0">
                  <a:pos x="46" y="18"/>
                </a:cxn>
                <a:cxn ang="0">
                  <a:pos x="54" y="17"/>
                </a:cxn>
                <a:cxn ang="0">
                  <a:pos x="61" y="15"/>
                </a:cxn>
                <a:cxn ang="0">
                  <a:pos x="66" y="13"/>
                </a:cxn>
                <a:cxn ang="0">
                  <a:pos x="57" y="8"/>
                </a:cxn>
                <a:cxn ang="0">
                  <a:pos x="50" y="4"/>
                </a:cxn>
                <a:cxn ang="0">
                  <a:pos x="42" y="1"/>
                </a:cxn>
                <a:cxn ang="0">
                  <a:pos x="33" y="0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840163" y="5758683"/>
              <a:ext cx="25400" cy="60325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8" y="5"/>
                </a:cxn>
                <a:cxn ang="0">
                  <a:pos x="4" y="10"/>
                </a:cxn>
                <a:cxn ang="0">
                  <a:pos x="2" y="13"/>
                </a:cxn>
                <a:cxn ang="0">
                  <a:pos x="1" y="16"/>
                </a:cxn>
                <a:cxn ang="0">
                  <a:pos x="0" y="20"/>
                </a:cxn>
                <a:cxn ang="0">
                  <a:pos x="0" y="25"/>
                </a:cxn>
                <a:cxn ang="0">
                  <a:pos x="0" y="30"/>
                </a:cxn>
                <a:cxn ang="0">
                  <a:pos x="2" y="39"/>
                </a:cxn>
                <a:cxn ang="0">
                  <a:pos x="6" y="48"/>
                </a:cxn>
                <a:cxn ang="0">
                  <a:pos x="9" y="57"/>
                </a:cxn>
                <a:cxn ang="0">
                  <a:pos x="13" y="66"/>
                </a:cxn>
                <a:cxn ang="0">
                  <a:pos x="20" y="73"/>
                </a:cxn>
                <a:cxn ang="0">
                  <a:pos x="22" y="76"/>
                </a:cxn>
                <a:cxn ang="0">
                  <a:pos x="26" y="78"/>
                </a:cxn>
                <a:cxn ang="0">
                  <a:pos x="30" y="80"/>
                </a:cxn>
                <a:cxn ang="0">
                  <a:pos x="33" y="80"/>
                </a:cxn>
                <a:cxn ang="0">
                  <a:pos x="36" y="79"/>
                </a:cxn>
                <a:cxn ang="0">
                  <a:pos x="38" y="78"/>
                </a:cxn>
                <a:cxn ang="0">
                  <a:pos x="42" y="76"/>
                </a:cxn>
                <a:cxn ang="0">
                  <a:pos x="45" y="73"/>
                </a:cxn>
                <a:cxn ang="0">
                  <a:pos x="48" y="70"/>
                </a:cxn>
                <a:cxn ang="0">
                  <a:pos x="51" y="67"/>
                </a:cxn>
                <a:cxn ang="0">
                  <a:pos x="53" y="64"/>
                </a:cxn>
                <a:cxn ang="0">
                  <a:pos x="53" y="62"/>
                </a:cxn>
                <a:cxn ang="0">
                  <a:pos x="52" y="54"/>
                </a:cxn>
                <a:cxn ang="0">
                  <a:pos x="49" y="47"/>
                </a:cxn>
                <a:cxn ang="0">
                  <a:pos x="46" y="42"/>
                </a:cxn>
                <a:cxn ang="0">
                  <a:pos x="43" y="37"/>
                </a:cxn>
                <a:cxn ang="0">
                  <a:pos x="40" y="32"/>
                </a:cxn>
                <a:cxn ang="0">
                  <a:pos x="36" y="27"/>
                </a:cxn>
                <a:cxn ang="0">
                  <a:pos x="34" y="20"/>
                </a:cxn>
                <a:cxn ang="0">
                  <a:pos x="33" y="12"/>
                </a:cxn>
                <a:cxn ang="0">
                  <a:pos x="33" y="10"/>
                </a:cxn>
                <a:cxn ang="0">
                  <a:pos x="31" y="8"/>
                </a:cxn>
                <a:cxn ang="0">
                  <a:pos x="29" y="6"/>
                </a:cxn>
                <a:cxn ang="0">
                  <a:pos x="25" y="4"/>
                </a:cxn>
                <a:cxn ang="0">
                  <a:pos x="19" y="1"/>
                </a:cxn>
                <a:cxn ang="0">
                  <a:pos x="13" y="0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870326" y="5853933"/>
              <a:ext cx="17463" cy="53975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27" y="43"/>
                </a:cxn>
                <a:cxn ang="0">
                  <a:pos x="41" y="24"/>
                </a:cxn>
                <a:cxn ang="0">
                  <a:pos x="38" y="12"/>
                </a:cxn>
                <a:cxn ang="0">
                  <a:pos x="34" y="0"/>
                </a:cxn>
                <a:cxn ang="0">
                  <a:pos x="27" y="4"/>
                </a:cxn>
                <a:cxn ang="0">
                  <a:pos x="20" y="9"/>
                </a:cxn>
                <a:cxn ang="0">
                  <a:pos x="15" y="14"/>
                </a:cxn>
                <a:cxn ang="0">
                  <a:pos x="10" y="19"/>
                </a:cxn>
                <a:cxn ang="0">
                  <a:pos x="6" y="24"/>
                </a:cxn>
                <a:cxn ang="0">
                  <a:pos x="3" y="30"/>
                </a:cxn>
                <a:cxn ang="0">
                  <a:pos x="1" y="37"/>
                </a:cxn>
                <a:cxn ang="0">
                  <a:pos x="0" y="43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875089" y="5876158"/>
              <a:ext cx="7937" cy="58737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0"/>
                </a:cxn>
                <a:cxn ang="0">
                  <a:pos x="1" y="5"/>
                </a:cxn>
                <a:cxn ang="0">
                  <a:pos x="2" y="9"/>
                </a:cxn>
                <a:cxn ang="0">
                  <a:pos x="4" y="13"/>
                </a:cxn>
                <a:cxn ang="0">
                  <a:pos x="7" y="17"/>
                </a:cxn>
                <a:cxn ang="0">
                  <a:pos x="10" y="20"/>
                </a:cxn>
                <a:cxn ang="0">
                  <a:pos x="14" y="22"/>
                </a:cxn>
                <a:cxn ang="0">
                  <a:pos x="17" y="24"/>
                </a:cxn>
                <a:cxn ang="0">
                  <a:pos x="20" y="24"/>
                </a:cxn>
                <a:cxn ang="0">
                  <a:pos x="20" y="0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889376" y="5938070"/>
              <a:ext cx="17463" cy="60325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" y="17"/>
                </a:cxn>
                <a:cxn ang="0">
                  <a:pos x="6" y="22"/>
                </a:cxn>
                <a:cxn ang="0">
                  <a:pos x="12" y="27"/>
                </a:cxn>
                <a:cxn ang="0">
                  <a:pos x="16" y="32"/>
                </a:cxn>
                <a:cxn ang="0">
                  <a:pos x="23" y="37"/>
                </a:cxn>
                <a:cxn ang="0">
                  <a:pos x="28" y="40"/>
                </a:cxn>
                <a:cxn ang="0">
                  <a:pos x="34" y="43"/>
                </a:cxn>
                <a:cxn ang="0">
                  <a:pos x="39" y="43"/>
                </a:cxn>
                <a:cxn ang="0">
                  <a:pos x="38" y="32"/>
                </a:cxn>
                <a:cxn ang="0">
                  <a:pos x="36" y="19"/>
                </a:cxn>
                <a:cxn ang="0">
                  <a:pos x="34" y="8"/>
                </a:cxn>
                <a:cxn ang="0">
                  <a:pos x="32" y="0"/>
                </a:cxn>
                <a:cxn ang="0">
                  <a:pos x="19" y="3"/>
                </a:cxn>
                <a:cxn ang="0">
                  <a:pos x="6" y="6"/>
                </a:cxn>
                <a:cxn ang="0">
                  <a:pos x="0" y="12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876675" y="5950769"/>
              <a:ext cx="26988" cy="58738"/>
            </a:xfrm>
            <a:custGeom>
              <a:avLst/>
              <a:gdLst/>
              <a:ahLst/>
              <a:cxnLst>
                <a:cxn ang="0">
                  <a:pos x="29" y="26"/>
                </a:cxn>
                <a:cxn ang="0">
                  <a:pos x="8" y="0"/>
                </a:cxn>
                <a:cxn ang="0">
                  <a:pos x="4" y="5"/>
                </a:cxn>
                <a:cxn ang="0">
                  <a:pos x="1" y="11"/>
                </a:cxn>
                <a:cxn ang="0">
                  <a:pos x="0" y="16"/>
                </a:cxn>
                <a:cxn ang="0">
                  <a:pos x="0" y="21"/>
                </a:cxn>
                <a:cxn ang="0">
                  <a:pos x="2" y="26"/>
                </a:cxn>
                <a:cxn ang="0">
                  <a:pos x="4" y="31"/>
                </a:cxn>
                <a:cxn ang="0">
                  <a:pos x="8" y="36"/>
                </a:cxn>
                <a:cxn ang="0">
                  <a:pos x="11" y="41"/>
                </a:cxn>
                <a:cxn ang="0">
                  <a:pos x="16" y="45"/>
                </a:cxn>
                <a:cxn ang="0">
                  <a:pos x="21" y="49"/>
                </a:cxn>
                <a:cxn ang="0">
                  <a:pos x="26" y="53"/>
                </a:cxn>
                <a:cxn ang="0">
                  <a:pos x="33" y="56"/>
                </a:cxn>
                <a:cxn ang="0">
                  <a:pos x="38" y="58"/>
                </a:cxn>
                <a:cxn ang="0">
                  <a:pos x="44" y="60"/>
                </a:cxn>
                <a:cxn ang="0">
                  <a:pos x="49" y="61"/>
                </a:cxn>
                <a:cxn ang="0">
                  <a:pos x="55" y="62"/>
                </a:cxn>
                <a:cxn ang="0">
                  <a:pos x="54" y="53"/>
                </a:cxn>
                <a:cxn ang="0">
                  <a:pos x="53" y="46"/>
                </a:cxn>
                <a:cxn ang="0">
                  <a:pos x="49" y="40"/>
                </a:cxn>
                <a:cxn ang="0">
                  <a:pos x="46" y="35"/>
                </a:cxn>
                <a:cxn ang="0">
                  <a:pos x="43" y="31"/>
                </a:cxn>
                <a:cxn ang="0">
                  <a:pos x="38" y="28"/>
                </a:cxn>
                <a:cxn ang="0">
                  <a:pos x="33" y="26"/>
                </a:cxn>
                <a:cxn ang="0">
                  <a:pos x="29" y="26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906838" y="5984108"/>
              <a:ext cx="11112" cy="58737"/>
            </a:xfrm>
            <a:custGeom>
              <a:avLst/>
              <a:gdLst/>
              <a:ahLst/>
              <a:cxnLst>
                <a:cxn ang="0">
                  <a:pos x="33" y="13"/>
                </a:cxn>
                <a:cxn ang="0">
                  <a:pos x="7" y="0"/>
                </a:cxn>
                <a:cxn ang="0">
                  <a:pos x="4" y="8"/>
                </a:cxn>
                <a:cxn ang="0">
                  <a:pos x="0" y="19"/>
                </a:cxn>
                <a:cxn ang="0">
                  <a:pos x="2" y="28"/>
                </a:cxn>
                <a:cxn ang="0">
                  <a:pos x="5" y="36"/>
                </a:cxn>
                <a:cxn ang="0">
                  <a:pos x="6" y="39"/>
                </a:cxn>
                <a:cxn ang="0">
                  <a:pos x="8" y="41"/>
                </a:cxn>
                <a:cxn ang="0">
                  <a:pos x="11" y="43"/>
                </a:cxn>
                <a:cxn ang="0">
                  <a:pos x="14" y="43"/>
                </a:cxn>
                <a:cxn ang="0">
                  <a:pos x="18" y="43"/>
                </a:cxn>
                <a:cxn ang="0">
                  <a:pos x="22" y="42"/>
                </a:cxn>
                <a:cxn ang="0">
                  <a:pos x="26" y="41"/>
                </a:cxn>
                <a:cxn ang="0">
                  <a:pos x="28" y="39"/>
                </a:cxn>
                <a:cxn ang="0">
                  <a:pos x="31" y="35"/>
                </a:cxn>
                <a:cxn ang="0">
                  <a:pos x="33" y="30"/>
                </a:cxn>
                <a:cxn ang="0">
                  <a:pos x="35" y="20"/>
                </a:cxn>
                <a:cxn ang="0">
                  <a:pos x="33" y="13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903664" y="6017445"/>
              <a:ext cx="20637" cy="55563"/>
            </a:xfrm>
            <a:custGeom>
              <a:avLst/>
              <a:gdLst/>
              <a:ahLst/>
              <a:cxnLst>
                <a:cxn ang="0">
                  <a:pos x="53" y="0"/>
                </a:cxn>
                <a:cxn ang="0">
                  <a:pos x="41" y="1"/>
                </a:cxn>
                <a:cxn ang="0">
                  <a:pos x="32" y="2"/>
                </a:cxn>
                <a:cxn ang="0">
                  <a:pos x="25" y="5"/>
                </a:cxn>
                <a:cxn ang="0">
                  <a:pos x="21" y="7"/>
                </a:cxn>
                <a:cxn ang="0">
                  <a:pos x="17" y="10"/>
                </a:cxn>
                <a:cxn ang="0">
                  <a:pos x="13" y="13"/>
                </a:cxn>
                <a:cxn ang="0">
                  <a:pos x="8" y="16"/>
                </a:cxn>
                <a:cxn ang="0">
                  <a:pos x="0" y="18"/>
                </a:cxn>
                <a:cxn ang="0">
                  <a:pos x="5" y="20"/>
                </a:cxn>
                <a:cxn ang="0">
                  <a:pos x="11" y="21"/>
                </a:cxn>
                <a:cxn ang="0">
                  <a:pos x="17" y="21"/>
                </a:cxn>
                <a:cxn ang="0">
                  <a:pos x="24" y="21"/>
                </a:cxn>
                <a:cxn ang="0">
                  <a:pos x="38" y="19"/>
                </a:cxn>
                <a:cxn ang="0">
                  <a:pos x="53" y="18"/>
                </a:cxn>
                <a:cxn ang="0">
                  <a:pos x="53" y="0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927476" y="6031732"/>
              <a:ext cx="17463" cy="57150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1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1" y="10"/>
                </a:cxn>
                <a:cxn ang="0">
                  <a:pos x="2" y="12"/>
                </a:cxn>
                <a:cxn ang="0">
                  <a:pos x="3" y="18"/>
                </a:cxn>
                <a:cxn ang="0">
                  <a:pos x="5" y="25"/>
                </a:cxn>
                <a:cxn ang="0">
                  <a:pos x="10" y="30"/>
                </a:cxn>
                <a:cxn ang="0">
                  <a:pos x="15" y="34"/>
                </a:cxn>
                <a:cxn ang="0">
                  <a:pos x="21" y="37"/>
                </a:cxn>
                <a:cxn ang="0">
                  <a:pos x="27" y="38"/>
                </a:cxn>
                <a:cxn ang="0">
                  <a:pos x="35" y="38"/>
                </a:cxn>
                <a:cxn ang="0">
                  <a:pos x="43" y="37"/>
                </a:cxn>
                <a:cxn ang="0">
                  <a:pos x="40" y="29"/>
                </a:cxn>
                <a:cxn ang="0">
                  <a:pos x="36" y="23"/>
                </a:cxn>
                <a:cxn ang="0">
                  <a:pos x="33" y="17"/>
                </a:cxn>
                <a:cxn ang="0">
                  <a:pos x="30" y="13"/>
                </a:cxn>
                <a:cxn ang="0">
                  <a:pos x="27" y="10"/>
                </a:cxn>
                <a:cxn ang="0">
                  <a:pos x="24" y="7"/>
                </a:cxn>
                <a:cxn ang="0">
                  <a:pos x="23" y="4"/>
                </a:cxn>
                <a:cxn ang="0">
                  <a:pos x="22" y="0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929063" y="6060307"/>
              <a:ext cx="6350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2"/>
                </a:cxn>
                <a:cxn ang="0">
                  <a:pos x="2" y="3"/>
                </a:cxn>
                <a:cxn ang="0">
                  <a:pos x="4" y="4"/>
                </a:cxn>
                <a:cxn ang="0">
                  <a:pos x="7" y="5"/>
                </a:cxn>
                <a:cxn ang="0">
                  <a:pos x="11" y="4"/>
                </a:cxn>
                <a:cxn ang="0">
                  <a:pos x="14" y="3"/>
                </a:cxn>
                <a:cxn ang="0">
                  <a:pos x="17" y="2"/>
                </a:cxn>
                <a:cxn ang="0">
                  <a:pos x="20" y="0"/>
                </a:cxn>
                <a:cxn ang="0">
                  <a:pos x="0" y="0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003676" y="6130157"/>
              <a:ext cx="34925" cy="57150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32" y="1"/>
                </a:cxn>
                <a:cxn ang="0">
                  <a:pos x="26" y="2"/>
                </a:cxn>
                <a:cxn ang="0">
                  <a:pos x="20" y="5"/>
                </a:cxn>
                <a:cxn ang="0">
                  <a:pos x="15" y="8"/>
                </a:cxn>
                <a:cxn ang="0">
                  <a:pos x="6" y="14"/>
                </a:cxn>
                <a:cxn ang="0">
                  <a:pos x="0" y="19"/>
                </a:cxn>
                <a:cxn ang="0">
                  <a:pos x="20" y="20"/>
                </a:cxn>
                <a:cxn ang="0">
                  <a:pos x="39" y="22"/>
                </a:cxn>
                <a:cxn ang="0">
                  <a:pos x="49" y="22"/>
                </a:cxn>
                <a:cxn ang="0">
                  <a:pos x="57" y="22"/>
                </a:cxn>
                <a:cxn ang="0">
                  <a:pos x="65" y="21"/>
                </a:cxn>
                <a:cxn ang="0">
                  <a:pos x="73" y="19"/>
                </a:cxn>
                <a:cxn ang="0">
                  <a:pos x="64" y="14"/>
                </a:cxn>
                <a:cxn ang="0">
                  <a:pos x="56" y="8"/>
                </a:cxn>
                <a:cxn ang="0">
                  <a:pos x="53" y="5"/>
                </a:cxn>
                <a:cxn ang="0">
                  <a:pos x="49" y="2"/>
                </a:cxn>
                <a:cxn ang="0">
                  <a:pos x="44" y="1"/>
                </a:cxn>
                <a:cxn ang="0">
                  <a:pos x="40" y="0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041776" y="6071420"/>
              <a:ext cx="123825" cy="100013"/>
            </a:xfrm>
            <a:custGeom>
              <a:avLst/>
              <a:gdLst/>
              <a:ahLst/>
              <a:cxnLst>
                <a:cxn ang="0">
                  <a:pos x="235" y="168"/>
                </a:cxn>
                <a:cxn ang="0">
                  <a:pos x="188" y="171"/>
                </a:cxn>
                <a:cxn ang="0">
                  <a:pos x="168" y="168"/>
                </a:cxn>
                <a:cxn ang="0">
                  <a:pos x="155" y="164"/>
                </a:cxn>
                <a:cxn ang="0">
                  <a:pos x="130" y="135"/>
                </a:cxn>
                <a:cxn ang="0">
                  <a:pos x="104" y="94"/>
                </a:cxn>
                <a:cxn ang="0">
                  <a:pos x="94" y="74"/>
                </a:cxn>
                <a:cxn ang="0">
                  <a:pos x="87" y="51"/>
                </a:cxn>
                <a:cxn ang="0">
                  <a:pos x="83" y="27"/>
                </a:cxn>
                <a:cxn ang="0">
                  <a:pos x="43" y="0"/>
                </a:cxn>
                <a:cxn ang="0">
                  <a:pos x="28" y="52"/>
                </a:cxn>
                <a:cxn ang="0">
                  <a:pos x="18" y="61"/>
                </a:cxn>
                <a:cxn ang="0">
                  <a:pos x="6" y="69"/>
                </a:cxn>
                <a:cxn ang="0">
                  <a:pos x="0" y="73"/>
                </a:cxn>
                <a:cxn ang="0">
                  <a:pos x="1" y="75"/>
                </a:cxn>
                <a:cxn ang="0">
                  <a:pos x="9" y="81"/>
                </a:cxn>
                <a:cxn ang="0">
                  <a:pos x="37" y="111"/>
                </a:cxn>
                <a:cxn ang="0">
                  <a:pos x="45" y="122"/>
                </a:cxn>
                <a:cxn ang="0">
                  <a:pos x="53" y="129"/>
                </a:cxn>
                <a:cxn ang="0">
                  <a:pos x="62" y="134"/>
                </a:cxn>
                <a:cxn ang="0">
                  <a:pos x="71" y="136"/>
                </a:cxn>
                <a:cxn ang="0">
                  <a:pos x="76" y="141"/>
                </a:cxn>
                <a:cxn ang="0">
                  <a:pos x="79" y="148"/>
                </a:cxn>
                <a:cxn ang="0">
                  <a:pos x="86" y="153"/>
                </a:cxn>
                <a:cxn ang="0">
                  <a:pos x="99" y="154"/>
                </a:cxn>
                <a:cxn ang="0">
                  <a:pos x="106" y="157"/>
                </a:cxn>
                <a:cxn ang="0">
                  <a:pos x="109" y="163"/>
                </a:cxn>
                <a:cxn ang="0">
                  <a:pos x="109" y="179"/>
                </a:cxn>
                <a:cxn ang="0">
                  <a:pos x="111" y="189"/>
                </a:cxn>
                <a:cxn ang="0">
                  <a:pos x="115" y="193"/>
                </a:cxn>
                <a:cxn ang="0">
                  <a:pos x="129" y="193"/>
                </a:cxn>
                <a:cxn ang="0">
                  <a:pos x="164" y="191"/>
                </a:cxn>
                <a:cxn ang="0">
                  <a:pos x="180" y="189"/>
                </a:cxn>
                <a:cxn ang="0">
                  <a:pos x="192" y="186"/>
                </a:cxn>
                <a:cxn ang="0">
                  <a:pos x="212" y="188"/>
                </a:cxn>
                <a:cxn ang="0">
                  <a:pos x="281" y="167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594100" y="3837808"/>
              <a:ext cx="52388" cy="58737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4" y="26"/>
                </a:cxn>
                <a:cxn ang="0">
                  <a:pos x="10" y="33"/>
                </a:cxn>
                <a:cxn ang="0">
                  <a:pos x="15" y="37"/>
                </a:cxn>
                <a:cxn ang="0">
                  <a:pos x="21" y="41"/>
                </a:cxn>
                <a:cxn ang="0">
                  <a:pos x="27" y="44"/>
                </a:cxn>
                <a:cxn ang="0">
                  <a:pos x="35" y="46"/>
                </a:cxn>
                <a:cxn ang="0">
                  <a:pos x="43" y="48"/>
                </a:cxn>
                <a:cxn ang="0">
                  <a:pos x="51" y="49"/>
                </a:cxn>
                <a:cxn ang="0">
                  <a:pos x="67" y="50"/>
                </a:cxn>
                <a:cxn ang="0">
                  <a:pos x="85" y="51"/>
                </a:cxn>
                <a:cxn ang="0">
                  <a:pos x="102" y="52"/>
                </a:cxn>
                <a:cxn ang="0">
                  <a:pos x="120" y="56"/>
                </a:cxn>
                <a:cxn ang="0">
                  <a:pos x="120" y="37"/>
                </a:cxn>
                <a:cxn ang="0">
                  <a:pos x="111" y="34"/>
                </a:cxn>
                <a:cxn ang="0">
                  <a:pos x="102" y="30"/>
                </a:cxn>
                <a:cxn ang="0">
                  <a:pos x="94" y="24"/>
                </a:cxn>
                <a:cxn ang="0">
                  <a:pos x="88" y="18"/>
                </a:cxn>
                <a:cxn ang="0">
                  <a:pos x="81" y="13"/>
                </a:cxn>
                <a:cxn ang="0">
                  <a:pos x="75" y="7"/>
                </a:cxn>
                <a:cxn ang="0">
                  <a:pos x="67" y="3"/>
                </a:cxn>
                <a:cxn ang="0">
                  <a:pos x="60" y="0"/>
                </a:cxn>
                <a:cxn ang="0">
                  <a:pos x="55" y="1"/>
                </a:cxn>
                <a:cxn ang="0">
                  <a:pos x="48" y="3"/>
                </a:cxn>
                <a:cxn ang="0">
                  <a:pos x="41" y="6"/>
                </a:cxn>
                <a:cxn ang="0">
                  <a:pos x="33" y="9"/>
                </a:cxn>
                <a:cxn ang="0">
                  <a:pos x="24" y="13"/>
                </a:cxn>
                <a:cxn ang="0">
                  <a:pos x="16" y="15"/>
                </a:cxn>
                <a:cxn ang="0">
                  <a:pos x="8" y="18"/>
                </a:cxn>
                <a:cxn ang="0">
                  <a:pos x="0" y="18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451226" y="3699694"/>
              <a:ext cx="250825" cy="109538"/>
            </a:xfrm>
            <a:custGeom>
              <a:avLst/>
              <a:gdLst/>
              <a:ahLst/>
              <a:cxnLst>
                <a:cxn ang="0">
                  <a:pos x="127" y="1"/>
                </a:cxn>
                <a:cxn ang="0">
                  <a:pos x="95" y="6"/>
                </a:cxn>
                <a:cxn ang="0">
                  <a:pos x="66" y="16"/>
                </a:cxn>
                <a:cxn ang="0">
                  <a:pos x="43" y="26"/>
                </a:cxn>
                <a:cxn ang="0">
                  <a:pos x="30" y="35"/>
                </a:cxn>
                <a:cxn ang="0">
                  <a:pos x="16" y="51"/>
                </a:cxn>
                <a:cxn ang="0">
                  <a:pos x="4" y="71"/>
                </a:cxn>
                <a:cxn ang="0">
                  <a:pos x="0" y="82"/>
                </a:cxn>
                <a:cxn ang="0">
                  <a:pos x="1" y="86"/>
                </a:cxn>
                <a:cxn ang="0">
                  <a:pos x="13" y="86"/>
                </a:cxn>
                <a:cxn ang="0">
                  <a:pos x="29" y="83"/>
                </a:cxn>
                <a:cxn ang="0">
                  <a:pos x="52" y="75"/>
                </a:cxn>
                <a:cxn ang="0">
                  <a:pos x="80" y="58"/>
                </a:cxn>
                <a:cxn ang="0">
                  <a:pos x="102" y="46"/>
                </a:cxn>
                <a:cxn ang="0">
                  <a:pos x="119" y="40"/>
                </a:cxn>
                <a:cxn ang="0">
                  <a:pos x="175" y="37"/>
                </a:cxn>
                <a:cxn ang="0">
                  <a:pos x="176" y="48"/>
                </a:cxn>
                <a:cxn ang="0">
                  <a:pos x="180" y="55"/>
                </a:cxn>
                <a:cxn ang="0">
                  <a:pos x="184" y="59"/>
                </a:cxn>
                <a:cxn ang="0">
                  <a:pos x="190" y="61"/>
                </a:cxn>
                <a:cxn ang="0">
                  <a:pos x="229" y="61"/>
                </a:cxn>
                <a:cxn ang="0">
                  <a:pos x="269" y="78"/>
                </a:cxn>
                <a:cxn ang="0">
                  <a:pos x="302" y="95"/>
                </a:cxn>
                <a:cxn ang="0">
                  <a:pos x="336" y="111"/>
                </a:cxn>
                <a:cxn ang="0">
                  <a:pos x="375" y="123"/>
                </a:cxn>
                <a:cxn ang="0">
                  <a:pos x="376" y="134"/>
                </a:cxn>
                <a:cxn ang="0">
                  <a:pos x="382" y="142"/>
                </a:cxn>
                <a:cxn ang="0">
                  <a:pos x="396" y="152"/>
                </a:cxn>
                <a:cxn ang="0">
                  <a:pos x="428" y="166"/>
                </a:cxn>
                <a:cxn ang="0">
                  <a:pos x="402" y="191"/>
                </a:cxn>
                <a:cxn ang="0">
                  <a:pos x="407" y="197"/>
                </a:cxn>
                <a:cxn ang="0">
                  <a:pos x="414" y="201"/>
                </a:cxn>
                <a:cxn ang="0">
                  <a:pos x="429" y="204"/>
                </a:cxn>
                <a:cxn ang="0">
                  <a:pos x="461" y="204"/>
                </a:cxn>
                <a:cxn ang="0">
                  <a:pos x="555" y="189"/>
                </a:cxn>
                <a:cxn ang="0">
                  <a:pos x="559" y="183"/>
                </a:cxn>
                <a:cxn ang="0">
                  <a:pos x="565" y="177"/>
                </a:cxn>
                <a:cxn ang="0">
                  <a:pos x="572" y="173"/>
                </a:cxn>
                <a:cxn ang="0">
                  <a:pos x="574" y="161"/>
                </a:cxn>
                <a:cxn ang="0">
                  <a:pos x="561" y="153"/>
                </a:cxn>
                <a:cxn ang="0">
                  <a:pos x="532" y="148"/>
                </a:cxn>
                <a:cxn ang="0">
                  <a:pos x="504" y="138"/>
                </a:cxn>
                <a:cxn ang="0">
                  <a:pos x="475" y="124"/>
                </a:cxn>
                <a:cxn ang="0">
                  <a:pos x="433" y="100"/>
                </a:cxn>
                <a:cxn ang="0">
                  <a:pos x="383" y="68"/>
                </a:cxn>
                <a:cxn ang="0">
                  <a:pos x="358" y="54"/>
                </a:cxn>
                <a:cxn ang="0">
                  <a:pos x="348" y="52"/>
                </a:cxn>
                <a:cxn ang="0">
                  <a:pos x="330" y="52"/>
                </a:cxn>
                <a:cxn ang="0">
                  <a:pos x="312" y="51"/>
                </a:cxn>
                <a:cxn ang="0">
                  <a:pos x="302" y="49"/>
                </a:cxn>
                <a:cxn ang="0">
                  <a:pos x="294" y="43"/>
                </a:cxn>
                <a:cxn ang="0">
                  <a:pos x="290" y="32"/>
                </a:cxn>
                <a:cxn ang="0">
                  <a:pos x="142" y="0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756025" y="3802882"/>
              <a:ext cx="88900" cy="69850"/>
            </a:xfrm>
            <a:custGeom>
              <a:avLst/>
              <a:gdLst/>
              <a:ahLst/>
              <a:cxnLst>
                <a:cxn ang="0">
                  <a:pos x="41" y="129"/>
                </a:cxn>
                <a:cxn ang="0">
                  <a:pos x="50" y="121"/>
                </a:cxn>
                <a:cxn ang="0">
                  <a:pos x="60" y="115"/>
                </a:cxn>
                <a:cxn ang="0">
                  <a:pos x="70" y="110"/>
                </a:cxn>
                <a:cxn ang="0">
                  <a:pos x="81" y="105"/>
                </a:cxn>
                <a:cxn ang="0">
                  <a:pos x="105" y="99"/>
                </a:cxn>
                <a:cxn ang="0">
                  <a:pos x="129" y="92"/>
                </a:cxn>
                <a:cxn ang="0">
                  <a:pos x="152" y="87"/>
                </a:cxn>
                <a:cxn ang="0">
                  <a:pos x="173" y="81"/>
                </a:cxn>
                <a:cxn ang="0">
                  <a:pos x="182" y="77"/>
                </a:cxn>
                <a:cxn ang="0">
                  <a:pos x="191" y="73"/>
                </a:cxn>
                <a:cxn ang="0">
                  <a:pos x="200" y="67"/>
                </a:cxn>
                <a:cxn ang="0">
                  <a:pos x="207" y="61"/>
                </a:cxn>
                <a:cxn ang="0">
                  <a:pos x="198" y="54"/>
                </a:cxn>
                <a:cxn ang="0">
                  <a:pos x="188" y="47"/>
                </a:cxn>
                <a:cxn ang="0">
                  <a:pos x="179" y="42"/>
                </a:cxn>
                <a:cxn ang="0">
                  <a:pos x="169" y="36"/>
                </a:cxn>
                <a:cxn ang="0">
                  <a:pos x="150" y="29"/>
                </a:cxn>
                <a:cxn ang="0">
                  <a:pos x="129" y="23"/>
                </a:cxn>
                <a:cxn ang="0">
                  <a:pos x="107" y="18"/>
                </a:cxn>
                <a:cxn ang="0">
                  <a:pos x="85" y="13"/>
                </a:cxn>
                <a:cxn ang="0">
                  <a:pos x="63" y="7"/>
                </a:cxn>
                <a:cxn ang="0">
                  <a:pos x="41" y="0"/>
                </a:cxn>
                <a:cxn ang="0">
                  <a:pos x="0" y="0"/>
                </a:cxn>
                <a:cxn ang="0">
                  <a:pos x="1" y="6"/>
                </a:cxn>
                <a:cxn ang="0">
                  <a:pos x="2" y="13"/>
                </a:cxn>
                <a:cxn ang="0">
                  <a:pos x="4" y="19"/>
                </a:cxn>
                <a:cxn ang="0">
                  <a:pos x="6" y="25"/>
                </a:cxn>
                <a:cxn ang="0">
                  <a:pos x="10" y="35"/>
                </a:cxn>
                <a:cxn ang="0">
                  <a:pos x="13" y="46"/>
                </a:cxn>
                <a:cxn ang="0">
                  <a:pos x="17" y="54"/>
                </a:cxn>
                <a:cxn ang="0">
                  <a:pos x="18" y="62"/>
                </a:cxn>
                <a:cxn ang="0">
                  <a:pos x="17" y="65"/>
                </a:cxn>
                <a:cxn ang="0">
                  <a:pos x="14" y="68"/>
                </a:cxn>
                <a:cxn ang="0">
                  <a:pos x="11" y="71"/>
                </a:cxn>
                <a:cxn ang="0">
                  <a:pos x="7" y="73"/>
                </a:cxn>
                <a:cxn ang="0">
                  <a:pos x="0" y="104"/>
                </a:cxn>
                <a:cxn ang="0">
                  <a:pos x="4" y="106"/>
                </a:cxn>
                <a:cxn ang="0">
                  <a:pos x="13" y="110"/>
                </a:cxn>
                <a:cxn ang="0">
                  <a:pos x="19" y="113"/>
                </a:cxn>
                <a:cxn ang="0">
                  <a:pos x="25" y="117"/>
                </a:cxn>
                <a:cxn ang="0">
                  <a:pos x="33" y="122"/>
                </a:cxn>
                <a:cxn ang="0">
                  <a:pos x="41" y="129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324225" y="3863208"/>
              <a:ext cx="33338" cy="84137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69" y="4"/>
                </a:cxn>
                <a:cxn ang="0">
                  <a:pos x="67" y="9"/>
                </a:cxn>
                <a:cxn ang="0">
                  <a:pos x="66" y="13"/>
                </a:cxn>
                <a:cxn ang="0">
                  <a:pos x="66" y="18"/>
                </a:cxn>
                <a:cxn ang="0">
                  <a:pos x="66" y="27"/>
                </a:cxn>
                <a:cxn ang="0">
                  <a:pos x="66" y="37"/>
                </a:cxn>
                <a:cxn ang="0">
                  <a:pos x="69" y="43"/>
                </a:cxn>
                <a:cxn ang="0">
                  <a:pos x="71" y="50"/>
                </a:cxn>
                <a:cxn ang="0">
                  <a:pos x="71" y="57"/>
                </a:cxn>
                <a:cxn ang="0">
                  <a:pos x="71" y="65"/>
                </a:cxn>
                <a:cxn ang="0">
                  <a:pos x="69" y="73"/>
                </a:cxn>
                <a:cxn ang="0">
                  <a:pos x="67" y="82"/>
                </a:cxn>
                <a:cxn ang="0">
                  <a:pos x="65" y="91"/>
                </a:cxn>
                <a:cxn ang="0">
                  <a:pos x="61" y="100"/>
                </a:cxn>
                <a:cxn ang="0">
                  <a:pos x="53" y="116"/>
                </a:cxn>
                <a:cxn ang="0">
                  <a:pos x="44" y="131"/>
                </a:cxn>
                <a:cxn ang="0">
                  <a:pos x="34" y="144"/>
                </a:cxn>
                <a:cxn ang="0">
                  <a:pos x="26" y="154"/>
                </a:cxn>
                <a:cxn ang="0">
                  <a:pos x="26" y="141"/>
                </a:cxn>
                <a:cxn ang="0">
                  <a:pos x="15" y="144"/>
                </a:cxn>
                <a:cxn ang="0">
                  <a:pos x="0" y="148"/>
                </a:cxn>
                <a:cxn ang="0">
                  <a:pos x="3" y="129"/>
                </a:cxn>
                <a:cxn ang="0">
                  <a:pos x="8" y="105"/>
                </a:cxn>
                <a:cxn ang="0">
                  <a:pos x="9" y="92"/>
                </a:cxn>
                <a:cxn ang="0">
                  <a:pos x="12" y="77"/>
                </a:cxn>
                <a:cxn ang="0">
                  <a:pos x="15" y="63"/>
                </a:cxn>
                <a:cxn ang="0">
                  <a:pos x="20" y="49"/>
                </a:cxn>
                <a:cxn ang="0">
                  <a:pos x="20" y="0"/>
                </a:cxn>
                <a:cxn ang="0">
                  <a:pos x="25" y="0"/>
                </a:cxn>
                <a:cxn ang="0">
                  <a:pos x="38" y="0"/>
                </a:cxn>
                <a:cxn ang="0">
                  <a:pos x="56" y="0"/>
                </a:cxn>
                <a:cxn ang="0">
                  <a:pos x="72" y="0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244851" y="3863207"/>
              <a:ext cx="93663" cy="146050"/>
            </a:xfrm>
            <a:custGeom>
              <a:avLst/>
              <a:gdLst/>
              <a:ahLst/>
              <a:cxnLst>
                <a:cxn ang="0">
                  <a:pos x="8" y="207"/>
                </a:cxn>
                <a:cxn ang="0">
                  <a:pos x="12" y="181"/>
                </a:cxn>
                <a:cxn ang="0">
                  <a:pos x="24" y="148"/>
                </a:cxn>
                <a:cxn ang="0">
                  <a:pos x="35" y="118"/>
                </a:cxn>
                <a:cxn ang="0">
                  <a:pos x="44" y="112"/>
                </a:cxn>
                <a:cxn ang="0">
                  <a:pos x="65" y="111"/>
                </a:cxn>
                <a:cxn ang="0">
                  <a:pos x="89" y="111"/>
                </a:cxn>
                <a:cxn ang="0">
                  <a:pos x="106" y="110"/>
                </a:cxn>
                <a:cxn ang="0">
                  <a:pos x="120" y="105"/>
                </a:cxn>
                <a:cxn ang="0">
                  <a:pos x="130" y="94"/>
                </a:cxn>
                <a:cxn ang="0">
                  <a:pos x="113" y="73"/>
                </a:cxn>
                <a:cxn ang="0">
                  <a:pos x="86" y="58"/>
                </a:cxn>
                <a:cxn ang="0">
                  <a:pos x="77" y="49"/>
                </a:cxn>
                <a:cxn ang="0">
                  <a:pos x="74" y="41"/>
                </a:cxn>
                <a:cxn ang="0">
                  <a:pos x="75" y="34"/>
                </a:cxn>
                <a:cxn ang="0">
                  <a:pos x="82" y="28"/>
                </a:cxn>
                <a:cxn ang="0">
                  <a:pos x="101" y="19"/>
                </a:cxn>
                <a:cxn ang="0">
                  <a:pos x="150" y="3"/>
                </a:cxn>
                <a:cxn ang="0">
                  <a:pos x="180" y="0"/>
                </a:cxn>
                <a:cxn ang="0">
                  <a:pos x="198" y="0"/>
                </a:cxn>
                <a:cxn ang="0">
                  <a:pos x="207" y="49"/>
                </a:cxn>
                <a:cxn ang="0">
                  <a:pos x="199" y="77"/>
                </a:cxn>
                <a:cxn ang="0">
                  <a:pos x="195" y="105"/>
                </a:cxn>
                <a:cxn ang="0">
                  <a:pos x="187" y="148"/>
                </a:cxn>
                <a:cxn ang="0">
                  <a:pos x="213" y="154"/>
                </a:cxn>
                <a:cxn ang="0">
                  <a:pos x="214" y="166"/>
                </a:cxn>
                <a:cxn ang="0">
                  <a:pos x="210" y="174"/>
                </a:cxn>
                <a:cxn ang="0">
                  <a:pos x="207" y="177"/>
                </a:cxn>
                <a:cxn ang="0">
                  <a:pos x="200" y="178"/>
                </a:cxn>
                <a:cxn ang="0">
                  <a:pos x="192" y="196"/>
                </a:cxn>
                <a:cxn ang="0">
                  <a:pos x="181" y="214"/>
                </a:cxn>
                <a:cxn ang="0">
                  <a:pos x="155" y="243"/>
                </a:cxn>
                <a:cxn ang="0">
                  <a:pos x="120" y="271"/>
                </a:cxn>
                <a:cxn ang="0">
                  <a:pos x="87" y="261"/>
                </a:cxn>
                <a:cxn ang="0">
                  <a:pos x="55" y="248"/>
                </a:cxn>
                <a:cxn ang="0">
                  <a:pos x="0" y="22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292475" y="3974332"/>
              <a:ext cx="71438" cy="5715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83" y="14"/>
                </a:cxn>
                <a:cxn ang="0">
                  <a:pos x="104" y="24"/>
                </a:cxn>
                <a:cxn ang="0">
                  <a:pos x="115" y="28"/>
                </a:cxn>
                <a:cxn ang="0">
                  <a:pos x="126" y="31"/>
                </a:cxn>
                <a:cxn ang="0">
                  <a:pos x="133" y="32"/>
                </a:cxn>
                <a:cxn ang="0">
                  <a:pos x="139" y="32"/>
                </a:cxn>
                <a:cxn ang="0">
                  <a:pos x="146" y="31"/>
                </a:cxn>
                <a:cxn ang="0">
                  <a:pos x="153" y="30"/>
                </a:cxn>
                <a:cxn ang="0">
                  <a:pos x="153" y="56"/>
                </a:cxn>
                <a:cxn ang="0">
                  <a:pos x="149" y="60"/>
                </a:cxn>
                <a:cxn ang="0">
                  <a:pos x="145" y="65"/>
                </a:cxn>
                <a:cxn ang="0">
                  <a:pos x="138" y="69"/>
                </a:cxn>
                <a:cxn ang="0">
                  <a:pos x="132" y="72"/>
                </a:cxn>
                <a:cxn ang="0">
                  <a:pos x="125" y="75"/>
                </a:cxn>
                <a:cxn ang="0">
                  <a:pos x="119" y="78"/>
                </a:cxn>
                <a:cxn ang="0">
                  <a:pos x="112" y="79"/>
                </a:cxn>
                <a:cxn ang="0">
                  <a:pos x="106" y="80"/>
                </a:cxn>
                <a:cxn ang="0">
                  <a:pos x="90" y="74"/>
                </a:cxn>
                <a:cxn ang="0">
                  <a:pos x="76" y="71"/>
                </a:cxn>
                <a:cxn ang="0">
                  <a:pos x="63" y="69"/>
                </a:cxn>
                <a:cxn ang="0">
                  <a:pos x="50" y="69"/>
                </a:cxn>
                <a:cxn ang="0">
                  <a:pos x="39" y="68"/>
                </a:cxn>
                <a:cxn ang="0">
                  <a:pos x="27" y="67"/>
                </a:cxn>
                <a:cxn ang="0">
                  <a:pos x="14" y="65"/>
                </a:cxn>
                <a:cxn ang="0">
                  <a:pos x="0" y="62"/>
                </a:cxn>
                <a:cxn ang="0">
                  <a:pos x="7" y="58"/>
                </a:cxn>
                <a:cxn ang="0">
                  <a:pos x="23" y="45"/>
                </a:cxn>
                <a:cxn ang="0">
                  <a:pos x="34" y="37"/>
                </a:cxn>
                <a:cxn ang="0">
                  <a:pos x="45" y="28"/>
                </a:cxn>
                <a:cxn ang="0">
                  <a:pos x="56" y="17"/>
                </a:cxn>
                <a:cxn ang="0">
                  <a:pos x="67" y="6"/>
                </a:cxn>
                <a:cxn ang="0">
                  <a:pos x="60" y="0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324226" y="3936232"/>
              <a:ext cx="142875" cy="87312"/>
            </a:xfrm>
            <a:custGeom>
              <a:avLst/>
              <a:gdLst/>
              <a:ahLst/>
              <a:cxnLst>
                <a:cxn ang="0">
                  <a:pos x="0" y="77"/>
                </a:cxn>
                <a:cxn ang="0">
                  <a:pos x="44" y="101"/>
                </a:cxn>
                <a:cxn ang="0">
                  <a:pos x="66" y="108"/>
                </a:cxn>
                <a:cxn ang="0">
                  <a:pos x="79" y="109"/>
                </a:cxn>
                <a:cxn ang="0">
                  <a:pos x="93" y="107"/>
                </a:cxn>
                <a:cxn ang="0">
                  <a:pos x="90" y="144"/>
                </a:cxn>
                <a:cxn ang="0">
                  <a:pos x="95" y="154"/>
                </a:cxn>
                <a:cxn ang="0">
                  <a:pos x="99" y="163"/>
                </a:cxn>
                <a:cxn ang="0">
                  <a:pos x="107" y="168"/>
                </a:cxn>
                <a:cxn ang="0">
                  <a:pos x="117" y="169"/>
                </a:cxn>
                <a:cxn ang="0">
                  <a:pos x="123" y="166"/>
                </a:cxn>
                <a:cxn ang="0">
                  <a:pos x="132" y="157"/>
                </a:cxn>
                <a:cxn ang="0">
                  <a:pos x="146" y="136"/>
                </a:cxn>
                <a:cxn ang="0">
                  <a:pos x="174" y="115"/>
                </a:cxn>
                <a:cxn ang="0">
                  <a:pos x="214" y="96"/>
                </a:cxn>
                <a:cxn ang="0">
                  <a:pos x="256" y="80"/>
                </a:cxn>
                <a:cxn ang="0">
                  <a:pos x="304" y="65"/>
                </a:cxn>
                <a:cxn ang="0">
                  <a:pos x="332" y="46"/>
                </a:cxn>
                <a:cxn ang="0">
                  <a:pos x="332" y="22"/>
                </a:cxn>
                <a:cxn ang="0">
                  <a:pos x="320" y="2"/>
                </a:cxn>
                <a:cxn ang="0">
                  <a:pos x="283" y="1"/>
                </a:cxn>
                <a:cxn ang="0">
                  <a:pos x="234" y="0"/>
                </a:cxn>
                <a:cxn ang="0">
                  <a:pos x="180" y="1"/>
                </a:cxn>
                <a:cxn ang="0">
                  <a:pos x="131" y="4"/>
                </a:cxn>
                <a:cxn ang="0">
                  <a:pos x="90" y="10"/>
                </a:cxn>
                <a:cxn ang="0">
                  <a:pos x="59" y="19"/>
                </a:cxn>
                <a:cxn ang="0">
                  <a:pos x="42" y="22"/>
                </a:cxn>
                <a:cxn ang="0">
                  <a:pos x="35" y="23"/>
                </a:cxn>
                <a:cxn ang="0">
                  <a:pos x="34" y="26"/>
                </a:cxn>
                <a:cxn ang="0">
                  <a:pos x="33" y="38"/>
                </a:cxn>
                <a:cxn ang="0">
                  <a:pos x="29" y="44"/>
                </a:cxn>
                <a:cxn ang="0">
                  <a:pos x="23" y="46"/>
                </a:cxn>
                <a:cxn ang="0">
                  <a:pos x="19" y="55"/>
                </a:cxn>
                <a:cxn ang="0">
                  <a:pos x="11" y="72"/>
                </a:cxn>
                <a:cxn ang="0">
                  <a:pos x="7" y="83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341688" y="3966394"/>
              <a:ext cx="125412" cy="122238"/>
            </a:xfrm>
            <a:custGeom>
              <a:avLst/>
              <a:gdLst/>
              <a:ahLst/>
              <a:cxnLst>
                <a:cxn ang="0">
                  <a:pos x="44" y="86"/>
                </a:cxn>
                <a:cxn ang="0">
                  <a:pos x="49" y="96"/>
                </a:cxn>
                <a:cxn ang="0">
                  <a:pos x="53" y="105"/>
                </a:cxn>
                <a:cxn ang="0">
                  <a:pos x="61" y="110"/>
                </a:cxn>
                <a:cxn ang="0">
                  <a:pos x="71" y="111"/>
                </a:cxn>
                <a:cxn ang="0">
                  <a:pos x="77" y="108"/>
                </a:cxn>
                <a:cxn ang="0">
                  <a:pos x="86" y="99"/>
                </a:cxn>
                <a:cxn ang="0">
                  <a:pos x="100" y="78"/>
                </a:cxn>
                <a:cxn ang="0">
                  <a:pos x="128" y="57"/>
                </a:cxn>
                <a:cxn ang="0">
                  <a:pos x="168" y="38"/>
                </a:cxn>
                <a:cxn ang="0">
                  <a:pos x="210" y="22"/>
                </a:cxn>
                <a:cxn ang="0">
                  <a:pos x="258" y="7"/>
                </a:cxn>
                <a:cxn ang="0">
                  <a:pos x="286" y="11"/>
                </a:cxn>
                <a:cxn ang="0">
                  <a:pos x="282" y="32"/>
                </a:cxn>
                <a:cxn ang="0">
                  <a:pos x="272" y="70"/>
                </a:cxn>
                <a:cxn ang="0">
                  <a:pos x="254" y="128"/>
                </a:cxn>
                <a:cxn ang="0">
                  <a:pos x="244" y="174"/>
                </a:cxn>
                <a:cxn ang="0">
                  <a:pos x="240" y="206"/>
                </a:cxn>
                <a:cxn ang="0">
                  <a:pos x="146" y="216"/>
                </a:cxn>
                <a:cxn ang="0">
                  <a:pos x="138" y="218"/>
                </a:cxn>
                <a:cxn ang="0">
                  <a:pos x="132" y="223"/>
                </a:cxn>
                <a:cxn ang="0">
                  <a:pos x="127" y="235"/>
                </a:cxn>
                <a:cxn ang="0">
                  <a:pos x="109" y="217"/>
                </a:cxn>
                <a:cxn ang="0">
                  <a:pos x="94" y="199"/>
                </a:cxn>
                <a:cxn ang="0">
                  <a:pos x="69" y="160"/>
                </a:cxn>
                <a:cxn ang="0">
                  <a:pos x="55" y="142"/>
                </a:cxn>
                <a:cxn ang="0">
                  <a:pos x="41" y="125"/>
                </a:cxn>
                <a:cxn ang="0">
                  <a:pos x="22" y="110"/>
                </a:cxn>
                <a:cxn ang="0">
                  <a:pos x="0" y="99"/>
                </a:cxn>
                <a:cxn ang="0">
                  <a:pos x="13" y="97"/>
                </a:cxn>
                <a:cxn ang="0">
                  <a:pos x="26" y="91"/>
                </a:cxn>
                <a:cxn ang="0">
                  <a:pos x="39" y="84"/>
                </a:cxn>
                <a:cxn ang="0">
                  <a:pos x="47" y="7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392489" y="4079107"/>
              <a:ext cx="84137" cy="100012"/>
            </a:xfrm>
            <a:custGeom>
              <a:avLst/>
              <a:gdLst/>
              <a:ahLst/>
              <a:cxnLst>
                <a:cxn ang="0">
                  <a:pos x="188" y="185"/>
                </a:cxn>
                <a:cxn ang="0">
                  <a:pos x="175" y="185"/>
                </a:cxn>
                <a:cxn ang="0">
                  <a:pos x="158" y="185"/>
                </a:cxn>
                <a:cxn ang="0">
                  <a:pos x="144" y="180"/>
                </a:cxn>
                <a:cxn ang="0">
                  <a:pos x="136" y="173"/>
                </a:cxn>
                <a:cxn ang="0">
                  <a:pos x="129" y="163"/>
                </a:cxn>
                <a:cxn ang="0">
                  <a:pos x="120" y="147"/>
                </a:cxn>
                <a:cxn ang="0">
                  <a:pos x="110" y="131"/>
                </a:cxn>
                <a:cxn ang="0">
                  <a:pos x="99" y="121"/>
                </a:cxn>
                <a:cxn ang="0">
                  <a:pos x="93" y="126"/>
                </a:cxn>
                <a:cxn ang="0">
                  <a:pos x="90" y="135"/>
                </a:cxn>
                <a:cxn ang="0">
                  <a:pos x="84" y="130"/>
                </a:cxn>
                <a:cxn ang="0">
                  <a:pos x="72" y="113"/>
                </a:cxn>
                <a:cxn ang="0">
                  <a:pos x="56" y="87"/>
                </a:cxn>
                <a:cxn ang="0">
                  <a:pos x="41" y="67"/>
                </a:cxn>
                <a:cxn ang="0">
                  <a:pos x="31" y="58"/>
                </a:cxn>
                <a:cxn ang="0">
                  <a:pos x="26" y="60"/>
                </a:cxn>
                <a:cxn ang="0">
                  <a:pos x="29" y="69"/>
                </a:cxn>
                <a:cxn ang="0">
                  <a:pos x="34" y="78"/>
                </a:cxn>
                <a:cxn ang="0">
                  <a:pos x="41" y="84"/>
                </a:cxn>
                <a:cxn ang="0">
                  <a:pos x="46" y="105"/>
                </a:cxn>
                <a:cxn ang="0">
                  <a:pos x="13" y="98"/>
                </a:cxn>
                <a:cxn ang="0">
                  <a:pos x="4" y="84"/>
                </a:cxn>
                <a:cxn ang="0">
                  <a:pos x="0" y="60"/>
                </a:cxn>
                <a:cxn ang="0">
                  <a:pos x="0" y="38"/>
                </a:cxn>
                <a:cxn ang="0">
                  <a:pos x="3" y="28"/>
                </a:cxn>
                <a:cxn ang="0">
                  <a:pos x="8" y="22"/>
                </a:cxn>
                <a:cxn ang="0">
                  <a:pos x="14" y="13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126" y="6"/>
                </a:cxn>
                <a:cxn ang="0">
                  <a:pos x="127" y="21"/>
                </a:cxn>
                <a:cxn ang="0">
                  <a:pos x="130" y="37"/>
                </a:cxn>
                <a:cxn ang="0">
                  <a:pos x="143" y="70"/>
                </a:cxn>
                <a:cxn ang="0">
                  <a:pos x="165" y="102"/>
                </a:cxn>
                <a:cxn ang="0">
                  <a:pos x="177" y="117"/>
                </a:cxn>
                <a:cxn ang="0">
                  <a:pos x="192" y="130"/>
                </a:cxn>
                <a:cxn ang="0">
                  <a:pos x="189" y="143"/>
                </a:cxn>
                <a:cxn ang="0">
                  <a:pos x="189" y="156"/>
                </a:cxn>
                <a:cxn ang="0">
                  <a:pos x="192" y="191"/>
                </a:cxn>
                <a:cxn ang="0">
                  <a:pos x="205" y="185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473451" y="4133083"/>
              <a:ext cx="142875" cy="79375"/>
            </a:xfrm>
            <a:custGeom>
              <a:avLst/>
              <a:gdLst/>
              <a:ahLst/>
              <a:cxnLst>
                <a:cxn ang="0">
                  <a:pos x="3" y="58"/>
                </a:cxn>
                <a:cxn ang="0">
                  <a:pos x="0" y="42"/>
                </a:cxn>
                <a:cxn ang="0">
                  <a:pos x="2" y="31"/>
                </a:cxn>
                <a:cxn ang="0">
                  <a:pos x="17" y="33"/>
                </a:cxn>
                <a:cxn ang="0">
                  <a:pos x="36" y="41"/>
                </a:cxn>
                <a:cxn ang="0">
                  <a:pos x="49" y="43"/>
                </a:cxn>
                <a:cxn ang="0">
                  <a:pos x="67" y="43"/>
                </a:cxn>
                <a:cxn ang="0">
                  <a:pos x="86" y="39"/>
                </a:cxn>
                <a:cxn ang="0">
                  <a:pos x="110" y="30"/>
                </a:cxn>
                <a:cxn ang="0">
                  <a:pos x="140" y="13"/>
                </a:cxn>
                <a:cxn ang="0">
                  <a:pos x="162" y="4"/>
                </a:cxn>
                <a:cxn ang="0">
                  <a:pos x="179" y="0"/>
                </a:cxn>
                <a:cxn ang="0">
                  <a:pos x="203" y="0"/>
                </a:cxn>
                <a:cxn ang="0">
                  <a:pos x="224" y="6"/>
                </a:cxn>
                <a:cxn ang="0">
                  <a:pos x="243" y="15"/>
                </a:cxn>
                <a:cxn ang="0">
                  <a:pos x="259" y="28"/>
                </a:cxn>
                <a:cxn ang="0">
                  <a:pos x="280" y="46"/>
                </a:cxn>
                <a:cxn ang="0">
                  <a:pos x="302" y="61"/>
                </a:cxn>
                <a:cxn ang="0">
                  <a:pos x="319" y="67"/>
                </a:cxn>
                <a:cxn ang="0">
                  <a:pos x="313" y="82"/>
                </a:cxn>
                <a:cxn ang="0">
                  <a:pos x="293" y="106"/>
                </a:cxn>
                <a:cxn ang="0">
                  <a:pos x="277" y="138"/>
                </a:cxn>
                <a:cxn ang="0">
                  <a:pos x="265" y="153"/>
                </a:cxn>
                <a:cxn ang="0">
                  <a:pos x="253" y="146"/>
                </a:cxn>
                <a:cxn ang="0">
                  <a:pos x="240" y="136"/>
                </a:cxn>
                <a:cxn ang="0">
                  <a:pos x="230" y="126"/>
                </a:cxn>
                <a:cxn ang="0">
                  <a:pos x="230" y="114"/>
                </a:cxn>
                <a:cxn ang="0">
                  <a:pos x="235" y="100"/>
                </a:cxn>
                <a:cxn ang="0">
                  <a:pos x="249" y="86"/>
                </a:cxn>
                <a:cxn ang="0">
                  <a:pos x="233" y="68"/>
                </a:cxn>
                <a:cxn ang="0">
                  <a:pos x="207" y="55"/>
                </a:cxn>
                <a:cxn ang="0">
                  <a:pos x="195" y="41"/>
                </a:cxn>
                <a:cxn ang="0">
                  <a:pos x="179" y="34"/>
                </a:cxn>
                <a:cxn ang="0">
                  <a:pos x="163" y="41"/>
                </a:cxn>
                <a:cxn ang="0">
                  <a:pos x="150" y="50"/>
                </a:cxn>
                <a:cxn ang="0">
                  <a:pos x="140" y="61"/>
                </a:cxn>
                <a:cxn ang="0">
                  <a:pos x="132" y="74"/>
                </a:cxn>
                <a:cxn ang="0">
                  <a:pos x="128" y="88"/>
                </a:cxn>
                <a:cxn ang="0">
                  <a:pos x="123" y="109"/>
                </a:cxn>
                <a:cxn ang="0">
                  <a:pos x="122" y="125"/>
                </a:cxn>
                <a:cxn ang="0">
                  <a:pos x="118" y="129"/>
                </a:cxn>
                <a:cxn ang="0">
                  <a:pos x="108" y="135"/>
                </a:cxn>
                <a:cxn ang="0">
                  <a:pos x="96" y="135"/>
                </a:cxn>
                <a:cxn ang="0">
                  <a:pos x="83" y="129"/>
                </a:cxn>
                <a:cxn ang="0">
                  <a:pos x="66" y="116"/>
                </a:cxn>
                <a:cxn ang="0">
                  <a:pos x="48" y="94"/>
                </a:cxn>
                <a:cxn ang="0">
                  <a:pos x="33" y="80"/>
                </a:cxn>
                <a:cxn ang="0">
                  <a:pos x="22" y="74"/>
                </a:cxn>
                <a:cxn ang="0">
                  <a:pos x="3" y="73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154488" y="5387208"/>
              <a:ext cx="133350" cy="155575"/>
            </a:xfrm>
            <a:custGeom>
              <a:avLst/>
              <a:gdLst/>
              <a:ahLst/>
              <a:cxnLst>
                <a:cxn ang="0">
                  <a:pos x="297" y="181"/>
                </a:cxn>
                <a:cxn ang="0">
                  <a:pos x="296" y="185"/>
                </a:cxn>
                <a:cxn ang="0">
                  <a:pos x="291" y="194"/>
                </a:cxn>
                <a:cxn ang="0">
                  <a:pos x="282" y="199"/>
                </a:cxn>
                <a:cxn ang="0">
                  <a:pos x="272" y="201"/>
                </a:cxn>
                <a:cxn ang="0">
                  <a:pos x="263" y="207"/>
                </a:cxn>
                <a:cxn ang="0">
                  <a:pos x="253" y="229"/>
                </a:cxn>
                <a:cxn ang="0">
                  <a:pos x="242" y="254"/>
                </a:cxn>
                <a:cxn ang="0">
                  <a:pos x="231" y="267"/>
                </a:cxn>
                <a:cxn ang="0">
                  <a:pos x="221" y="273"/>
                </a:cxn>
                <a:cxn ang="0">
                  <a:pos x="200" y="281"/>
                </a:cxn>
                <a:cxn ang="0">
                  <a:pos x="164" y="290"/>
                </a:cxn>
                <a:cxn ang="0">
                  <a:pos x="139" y="293"/>
                </a:cxn>
                <a:cxn ang="0">
                  <a:pos x="123" y="293"/>
                </a:cxn>
                <a:cxn ang="0">
                  <a:pos x="106" y="290"/>
                </a:cxn>
                <a:cxn ang="0">
                  <a:pos x="92" y="286"/>
                </a:cxn>
                <a:cxn ang="0">
                  <a:pos x="80" y="278"/>
                </a:cxn>
                <a:cxn ang="0">
                  <a:pos x="71" y="268"/>
                </a:cxn>
                <a:cxn ang="0">
                  <a:pos x="1" y="236"/>
                </a:cxn>
                <a:cxn ang="0">
                  <a:pos x="0" y="88"/>
                </a:cxn>
                <a:cxn ang="0">
                  <a:pos x="1" y="49"/>
                </a:cxn>
                <a:cxn ang="0">
                  <a:pos x="4" y="35"/>
                </a:cxn>
                <a:cxn ang="0">
                  <a:pos x="11" y="21"/>
                </a:cxn>
                <a:cxn ang="0">
                  <a:pos x="20" y="8"/>
                </a:cxn>
                <a:cxn ang="0">
                  <a:pos x="41" y="2"/>
                </a:cxn>
                <a:cxn ang="0">
                  <a:pos x="53" y="0"/>
                </a:cxn>
                <a:cxn ang="0">
                  <a:pos x="72" y="6"/>
                </a:cxn>
                <a:cxn ang="0">
                  <a:pos x="80" y="7"/>
                </a:cxn>
                <a:cxn ang="0">
                  <a:pos x="84" y="4"/>
                </a:cxn>
                <a:cxn ang="0">
                  <a:pos x="87" y="5"/>
                </a:cxn>
                <a:cxn ang="0">
                  <a:pos x="90" y="11"/>
                </a:cxn>
                <a:cxn ang="0">
                  <a:pos x="99" y="19"/>
                </a:cxn>
                <a:cxn ang="0">
                  <a:pos x="121" y="31"/>
                </a:cxn>
                <a:cxn ang="0">
                  <a:pos x="148" y="41"/>
                </a:cxn>
                <a:cxn ang="0">
                  <a:pos x="182" y="59"/>
                </a:cxn>
                <a:cxn ang="0">
                  <a:pos x="210" y="79"/>
                </a:cxn>
                <a:cxn ang="0">
                  <a:pos x="241" y="102"/>
                </a:cxn>
                <a:cxn ang="0">
                  <a:pos x="261" y="117"/>
                </a:cxn>
                <a:cxn ang="0">
                  <a:pos x="266" y="124"/>
                </a:cxn>
                <a:cxn ang="0">
                  <a:pos x="280" y="135"/>
                </a:cxn>
                <a:cxn ang="0">
                  <a:pos x="299" y="151"/>
                </a:cxn>
                <a:cxn ang="0">
                  <a:pos x="306" y="161"/>
                </a:cxn>
                <a:cxn ang="0">
                  <a:pos x="304" y="166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700714" y="2004245"/>
              <a:ext cx="236537" cy="92075"/>
            </a:xfrm>
            <a:custGeom>
              <a:avLst/>
              <a:gdLst/>
              <a:ahLst/>
              <a:cxnLst>
                <a:cxn ang="0">
                  <a:pos x="74" y="19"/>
                </a:cxn>
                <a:cxn ang="0">
                  <a:pos x="94" y="34"/>
                </a:cxn>
                <a:cxn ang="0">
                  <a:pos x="110" y="27"/>
                </a:cxn>
                <a:cxn ang="0">
                  <a:pos x="132" y="27"/>
                </a:cxn>
                <a:cxn ang="0">
                  <a:pos x="161" y="44"/>
                </a:cxn>
                <a:cxn ang="0">
                  <a:pos x="209" y="19"/>
                </a:cxn>
                <a:cxn ang="0">
                  <a:pos x="243" y="19"/>
                </a:cxn>
                <a:cxn ang="0">
                  <a:pos x="260" y="16"/>
                </a:cxn>
                <a:cxn ang="0">
                  <a:pos x="269" y="14"/>
                </a:cxn>
                <a:cxn ang="0">
                  <a:pos x="279" y="11"/>
                </a:cxn>
                <a:cxn ang="0">
                  <a:pos x="286" y="3"/>
                </a:cxn>
                <a:cxn ang="0">
                  <a:pos x="321" y="5"/>
                </a:cxn>
                <a:cxn ang="0">
                  <a:pos x="333" y="12"/>
                </a:cxn>
                <a:cxn ang="0">
                  <a:pos x="348" y="7"/>
                </a:cxn>
                <a:cxn ang="0">
                  <a:pos x="353" y="0"/>
                </a:cxn>
                <a:cxn ang="0">
                  <a:pos x="367" y="7"/>
                </a:cxn>
                <a:cxn ang="0">
                  <a:pos x="389" y="7"/>
                </a:cxn>
                <a:cxn ang="0">
                  <a:pos x="436" y="1"/>
                </a:cxn>
                <a:cxn ang="0">
                  <a:pos x="482" y="6"/>
                </a:cxn>
                <a:cxn ang="0">
                  <a:pos x="528" y="12"/>
                </a:cxn>
                <a:cxn ang="0">
                  <a:pos x="545" y="49"/>
                </a:cxn>
                <a:cxn ang="0">
                  <a:pos x="537" y="60"/>
                </a:cxn>
                <a:cxn ang="0">
                  <a:pos x="513" y="62"/>
                </a:cxn>
                <a:cxn ang="0">
                  <a:pos x="483" y="54"/>
                </a:cxn>
                <a:cxn ang="0">
                  <a:pos x="413" y="44"/>
                </a:cxn>
                <a:cxn ang="0">
                  <a:pos x="438" y="81"/>
                </a:cxn>
                <a:cxn ang="0">
                  <a:pos x="471" y="102"/>
                </a:cxn>
                <a:cxn ang="0">
                  <a:pos x="493" y="119"/>
                </a:cxn>
                <a:cxn ang="0">
                  <a:pos x="475" y="136"/>
                </a:cxn>
                <a:cxn ang="0">
                  <a:pos x="449" y="142"/>
                </a:cxn>
                <a:cxn ang="0">
                  <a:pos x="426" y="141"/>
                </a:cxn>
                <a:cxn ang="0">
                  <a:pos x="412" y="134"/>
                </a:cxn>
                <a:cxn ang="0">
                  <a:pos x="399" y="130"/>
                </a:cxn>
                <a:cxn ang="0">
                  <a:pos x="385" y="121"/>
                </a:cxn>
                <a:cxn ang="0">
                  <a:pos x="375" y="104"/>
                </a:cxn>
                <a:cxn ang="0">
                  <a:pos x="365" y="92"/>
                </a:cxn>
                <a:cxn ang="0">
                  <a:pos x="344" y="84"/>
                </a:cxn>
                <a:cxn ang="0">
                  <a:pos x="325" y="76"/>
                </a:cxn>
                <a:cxn ang="0">
                  <a:pos x="303" y="87"/>
                </a:cxn>
                <a:cxn ang="0">
                  <a:pos x="258" y="134"/>
                </a:cxn>
                <a:cxn ang="0">
                  <a:pos x="236" y="163"/>
                </a:cxn>
                <a:cxn ang="0">
                  <a:pos x="220" y="172"/>
                </a:cxn>
                <a:cxn ang="0">
                  <a:pos x="188" y="167"/>
                </a:cxn>
                <a:cxn ang="0">
                  <a:pos x="165" y="155"/>
                </a:cxn>
                <a:cxn ang="0">
                  <a:pos x="113" y="105"/>
                </a:cxn>
                <a:cxn ang="0">
                  <a:pos x="95" y="91"/>
                </a:cxn>
                <a:cxn ang="0">
                  <a:pos x="60" y="76"/>
                </a:cxn>
                <a:cxn ang="0">
                  <a:pos x="16" y="58"/>
                </a:cxn>
                <a:cxn ang="0">
                  <a:pos x="11" y="34"/>
                </a:cxn>
                <a:cxn ang="0">
                  <a:pos x="28" y="19"/>
                </a:cxn>
                <a:cxn ang="0">
                  <a:pos x="47" y="12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627688" y="2234432"/>
              <a:ext cx="449262" cy="361950"/>
            </a:xfrm>
            <a:custGeom>
              <a:avLst/>
              <a:gdLst/>
              <a:ahLst/>
              <a:cxnLst>
                <a:cxn ang="0">
                  <a:pos x="240" y="622"/>
                </a:cxn>
                <a:cxn ang="0">
                  <a:pos x="155" y="683"/>
                </a:cxn>
                <a:cxn ang="0">
                  <a:pos x="32" y="654"/>
                </a:cxn>
                <a:cxn ang="0">
                  <a:pos x="67" y="634"/>
                </a:cxn>
                <a:cxn ang="0">
                  <a:pos x="18" y="596"/>
                </a:cxn>
                <a:cxn ang="0">
                  <a:pos x="44" y="595"/>
                </a:cxn>
                <a:cxn ang="0">
                  <a:pos x="67" y="567"/>
                </a:cxn>
                <a:cxn ang="0">
                  <a:pos x="8" y="546"/>
                </a:cxn>
                <a:cxn ang="0">
                  <a:pos x="74" y="523"/>
                </a:cxn>
                <a:cxn ang="0">
                  <a:pos x="0" y="499"/>
                </a:cxn>
                <a:cxn ang="0">
                  <a:pos x="20" y="456"/>
                </a:cxn>
                <a:cxn ang="0">
                  <a:pos x="37" y="461"/>
                </a:cxn>
                <a:cxn ang="0">
                  <a:pos x="77" y="449"/>
                </a:cxn>
                <a:cxn ang="0">
                  <a:pos x="92" y="424"/>
                </a:cxn>
                <a:cxn ang="0">
                  <a:pos x="130" y="409"/>
                </a:cxn>
                <a:cxn ang="0">
                  <a:pos x="220" y="382"/>
                </a:cxn>
                <a:cxn ang="0">
                  <a:pos x="227" y="339"/>
                </a:cxn>
                <a:cxn ang="0">
                  <a:pos x="283" y="325"/>
                </a:cxn>
                <a:cxn ang="0">
                  <a:pos x="282" y="310"/>
                </a:cxn>
                <a:cxn ang="0">
                  <a:pos x="298" y="285"/>
                </a:cxn>
                <a:cxn ang="0">
                  <a:pos x="335" y="243"/>
                </a:cxn>
                <a:cxn ang="0">
                  <a:pos x="343" y="226"/>
                </a:cxn>
                <a:cxn ang="0">
                  <a:pos x="390" y="200"/>
                </a:cxn>
                <a:cxn ang="0">
                  <a:pos x="387" y="157"/>
                </a:cxn>
                <a:cxn ang="0">
                  <a:pos x="373" y="142"/>
                </a:cxn>
                <a:cxn ang="0">
                  <a:pos x="334" y="154"/>
                </a:cxn>
                <a:cxn ang="0">
                  <a:pos x="390" y="103"/>
                </a:cxn>
                <a:cxn ang="0">
                  <a:pos x="411" y="96"/>
                </a:cxn>
                <a:cxn ang="0">
                  <a:pos x="463" y="114"/>
                </a:cxn>
                <a:cxn ang="0">
                  <a:pos x="466" y="91"/>
                </a:cxn>
                <a:cxn ang="0">
                  <a:pos x="558" y="61"/>
                </a:cxn>
                <a:cxn ang="0">
                  <a:pos x="591" y="63"/>
                </a:cxn>
                <a:cxn ang="0">
                  <a:pos x="645" y="55"/>
                </a:cxn>
                <a:cxn ang="0">
                  <a:pos x="645" y="33"/>
                </a:cxn>
                <a:cxn ang="0">
                  <a:pos x="699" y="13"/>
                </a:cxn>
                <a:cxn ang="0">
                  <a:pos x="705" y="29"/>
                </a:cxn>
                <a:cxn ang="0">
                  <a:pos x="712" y="40"/>
                </a:cxn>
                <a:cxn ang="0">
                  <a:pos x="758" y="12"/>
                </a:cxn>
                <a:cxn ang="0">
                  <a:pos x="817" y="6"/>
                </a:cxn>
                <a:cxn ang="0">
                  <a:pos x="844" y="8"/>
                </a:cxn>
                <a:cxn ang="0">
                  <a:pos x="862" y="11"/>
                </a:cxn>
                <a:cxn ang="0">
                  <a:pos x="924" y="6"/>
                </a:cxn>
                <a:cxn ang="0">
                  <a:pos x="1037" y="43"/>
                </a:cxn>
                <a:cxn ang="0">
                  <a:pos x="1005" y="79"/>
                </a:cxn>
                <a:cxn ang="0">
                  <a:pos x="930" y="55"/>
                </a:cxn>
                <a:cxn ang="0">
                  <a:pos x="873" y="74"/>
                </a:cxn>
                <a:cxn ang="0">
                  <a:pos x="848" y="116"/>
                </a:cxn>
                <a:cxn ang="0">
                  <a:pos x="811" y="111"/>
                </a:cxn>
                <a:cxn ang="0">
                  <a:pos x="745" y="128"/>
                </a:cxn>
                <a:cxn ang="0">
                  <a:pos x="694" y="92"/>
                </a:cxn>
                <a:cxn ang="0">
                  <a:pos x="620" y="112"/>
                </a:cxn>
                <a:cxn ang="0">
                  <a:pos x="534" y="134"/>
                </a:cxn>
                <a:cxn ang="0">
                  <a:pos x="486" y="210"/>
                </a:cxn>
                <a:cxn ang="0">
                  <a:pos x="430" y="279"/>
                </a:cxn>
                <a:cxn ang="0">
                  <a:pos x="399" y="364"/>
                </a:cxn>
                <a:cxn ang="0">
                  <a:pos x="333" y="425"/>
                </a:cxn>
                <a:cxn ang="0">
                  <a:pos x="355" y="497"/>
                </a:cxn>
                <a:cxn ang="0">
                  <a:pos x="354" y="558"/>
                </a:cxn>
                <a:cxn ang="0">
                  <a:pos x="331" y="615"/>
                </a:cxn>
                <a:cxn ang="0">
                  <a:pos x="295" y="645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967413" y="3075808"/>
              <a:ext cx="49212" cy="90487"/>
            </a:xfrm>
            <a:custGeom>
              <a:avLst/>
              <a:gdLst/>
              <a:ahLst/>
              <a:cxnLst>
                <a:cxn ang="0">
                  <a:pos x="120" y="99"/>
                </a:cxn>
                <a:cxn ang="0">
                  <a:pos x="92" y="60"/>
                </a:cxn>
                <a:cxn ang="0">
                  <a:pos x="70" y="28"/>
                </a:cxn>
                <a:cxn ang="0">
                  <a:pos x="60" y="16"/>
                </a:cxn>
                <a:cxn ang="0">
                  <a:pos x="53" y="8"/>
                </a:cxn>
                <a:cxn ang="0">
                  <a:pos x="48" y="4"/>
                </a:cxn>
                <a:cxn ang="0">
                  <a:pos x="45" y="2"/>
                </a:cxn>
                <a:cxn ang="0">
                  <a:pos x="43" y="1"/>
                </a:cxn>
                <a:cxn ang="0">
                  <a:pos x="39" y="0"/>
                </a:cxn>
                <a:cxn ang="0">
                  <a:pos x="33" y="0"/>
                </a:cxn>
                <a:cxn ang="0">
                  <a:pos x="27" y="1"/>
                </a:cxn>
                <a:cxn ang="0">
                  <a:pos x="24" y="3"/>
                </a:cxn>
                <a:cxn ang="0">
                  <a:pos x="21" y="5"/>
                </a:cxn>
                <a:cxn ang="0">
                  <a:pos x="19" y="8"/>
                </a:cxn>
                <a:cxn ang="0">
                  <a:pos x="16" y="12"/>
                </a:cxn>
                <a:cxn ang="0">
                  <a:pos x="15" y="15"/>
                </a:cxn>
                <a:cxn ang="0">
                  <a:pos x="15" y="20"/>
                </a:cxn>
                <a:cxn ang="0">
                  <a:pos x="14" y="30"/>
                </a:cxn>
                <a:cxn ang="0">
                  <a:pos x="12" y="42"/>
                </a:cxn>
                <a:cxn ang="0">
                  <a:pos x="10" y="48"/>
                </a:cxn>
                <a:cxn ang="0">
                  <a:pos x="8" y="54"/>
                </a:cxn>
                <a:cxn ang="0">
                  <a:pos x="4" y="61"/>
                </a:cxn>
                <a:cxn ang="0">
                  <a:pos x="0" y="68"/>
                </a:cxn>
                <a:cxn ang="0">
                  <a:pos x="5" y="82"/>
                </a:cxn>
                <a:cxn ang="0">
                  <a:pos x="10" y="99"/>
                </a:cxn>
                <a:cxn ang="0">
                  <a:pos x="15" y="115"/>
                </a:cxn>
                <a:cxn ang="0">
                  <a:pos x="20" y="129"/>
                </a:cxn>
                <a:cxn ang="0">
                  <a:pos x="24" y="134"/>
                </a:cxn>
                <a:cxn ang="0">
                  <a:pos x="30" y="139"/>
                </a:cxn>
                <a:cxn ang="0">
                  <a:pos x="37" y="145"/>
                </a:cxn>
                <a:cxn ang="0">
                  <a:pos x="46" y="151"/>
                </a:cxn>
                <a:cxn ang="0">
                  <a:pos x="54" y="157"/>
                </a:cxn>
                <a:cxn ang="0">
                  <a:pos x="60" y="163"/>
                </a:cxn>
                <a:cxn ang="0">
                  <a:pos x="62" y="165"/>
                </a:cxn>
                <a:cxn ang="0">
                  <a:pos x="65" y="168"/>
                </a:cxn>
                <a:cxn ang="0">
                  <a:pos x="66" y="170"/>
                </a:cxn>
                <a:cxn ang="0">
                  <a:pos x="67" y="173"/>
                </a:cxn>
                <a:cxn ang="0">
                  <a:pos x="76" y="167"/>
                </a:cxn>
                <a:cxn ang="0">
                  <a:pos x="86" y="160"/>
                </a:cxn>
                <a:cxn ang="0">
                  <a:pos x="93" y="152"/>
                </a:cxn>
                <a:cxn ang="0">
                  <a:pos x="101" y="142"/>
                </a:cxn>
                <a:cxn ang="0">
                  <a:pos x="106" y="132"/>
                </a:cxn>
                <a:cxn ang="0">
                  <a:pos x="112" y="121"/>
                </a:cxn>
                <a:cxn ang="0">
                  <a:pos x="116" y="110"/>
                </a:cxn>
                <a:cxn ang="0">
                  <a:pos x="120" y="9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675314" y="2915469"/>
              <a:ext cx="84137" cy="58738"/>
            </a:xfrm>
            <a:custGeom>
              <a:avLst/>
              <a:gdLst/>
              <a:ahLst/>
              <a:cxnLst>
                <a:cxn ang="0">
                  <a:pos x="200" y="55"/>
                </a:cxn>
                <a:cxn ang="0">
                  <a:pos x="195" y="56"/>
                </a:cxn>
                <a:cxn ang="0">
                  <a:pos x="186" y="60"/>
                </a:cxn>
                <a:cxn ang="0">
                  <a:pos x="177" y="65"/>
                </a:cxn>
                <a:cxn ang="0">
                  <a:pos x="166" y="73"/>
                </a:cxn>
                <a:cxn ang="0">
                  <a:pos x="155" y="80"/>
                </a:cxn>
                <a:cxn ang="0">
                  <a:pos x="145" y="87"/>
                </a:cxn>
                <a:cxn ang="0">
                  <a:pos x="137" y="93"/>
                </a:cxn>
                <a:cxn ang="0">
                  <a:pos x="133" y="98"/>
                </a:cxn>
                <a:cxn ang="0">
                  <a:pos x="127" y="98"/>
                </a:cxn>
                <a:cxn ang="0">
                  <a:pos x="122" y="98"/>
                </a:cxn>
                <a:cxn ang="0">
                  <a:pos x="116" y="97"/>
                </a:cxn>
                <a:cxn ang="0">
                  <a:pos x="111" y="95"/>
                </a:cxn>
                <a:cxn ang="0">
                  <a:pos x="106" y="93"/>
                </a:cxn>
                <a:cxn ang="0">
                  <a:pos x="103" y="88"/>
                </a:cxn>
                <a:cxn ang="0">
                  <a:pos x="101" y="82"/>
                </a:cxn>
                <a:cxn ang="0">
                  <a:pos x="100" y="74"/>
                </a:cxn>
                <a:cxn ang="0">
                  <a:pos x="91" y="80"/>
                </a:cxn>
                <a:cxn ang="0">
                  <a:pos x="82" y="86"/>
                </a:cxn>
                <a:cxn ang="0">
                  <a:pos x="78" y="90"/>
                </a:cxn>
                <a:cxn ang="0">
                  <a:pos x="72" y="93"/>
                </a:cxn>
                <a:cxn ang="0">
                  <a:pos x="67" y="96"/>
                </a:cxn>
                <a:cxn ang="0">
                  <a:pos x="60" y="98"/>
                </a:cxn>
                <a:cxn ang="0">
                  <a:pos x="39" y="98"/>
                </a:cxn>
                <a:cxn ang="0">
                  <a:pos x="34" y="98"/>
                </a:cxn>
                <a:cxn ang="0">
                  <a:pos x="28" y="95"/>
                </a:cxn>
                <a:cxn ang="0">
                  <a:pos x="22" y="92"/>
                </a:cxn>
                <a:cxn ang="0">
                  <a:pos x="15" y="89"/>
                </a:cxn>
                <a:cxn ang="0">
                  <a:pos x="9" y="85"/>
                </a:cxn>
                <a:cxn ang="0">
                  <a:pos x="4" y="81"/>
                </a:cxn>
                <a:cxn ang="0">
                  <a:pos x="1" y="77"/>
                </a:cxn>
                <a:cxn ang="0">
                  <a:pos x="0" y="74"/>
                </a:cxn>
                <a:cxn ang="0">
                  <a:pos x="5" y="71"/>
                </a:cxn>
                <a:cxn ang="0">
                  <a:pos x="10" y="67"/>
                </a:cxn>
                <a:cxn ang="0">
                  <a:pos x="14" y="60"/>
                </a:cxn>
                <a:cxn ang="0">
                  <a:pos x="20" y="53"/>
                </a:cxn>
                <a:cxn ang="0">
                  <a:pos x="23" y="45"/>
                </a:cxn>
                <a:cxn ang="0">
                  <a:pos x="27" y="37"/>
                </a:cxn>
                <a:cxn ang="0">
                  <a:pos x="30" y="28"/>
                </a:cxn>
                <a:cxn ang="0">
                  <a:pos x="33" y="19"/>
                </a:cxn>
                <a:cxn ang="0">
                  <a:pos x="66" y="14"/>
                </a:cxn>
                <a:cxn ang="0">
                  <a:pos x="103" y="9"/>
                </a:cxn>
                <a:cxn ang="0">
                  <a:pos x="145" y="4"/>
                </a:cxn>
                <a:cxn ang="0">
                  <a:pos x="193" y="0"/>
                </a:cxn>
                <a:cxn ang="0">
                  <a:pos x="166" y="31"/>
                </a:cxn>
                <a:cxn ang="0">
                  <a:pos x="166" y="34"/>
                </a:cxn>
                <a:cxn ang="0">
                  <a:pos x="164" y="37"/>
                </a:cxn>
                <a:cxn ang="0">
                  <a:pos x="162" y="39"/>
                </a:cxn>
                <a:cxn ang="0">
                  <a:pos x="161" y="41"/>
                </a:cxn>
                <a:cxn ang="0">
                  <a:pos x="157" y="45"/>
                </a:cxn>
                <a:cxn ang="0">
                  <a:pos x="156" y="47"/>
                </a:cxn>
                <a:cxn ang="0">
                  <a:pos x="156" y="49"/>
                </a:cxn>
                <a:cxn ang="0">
                  <a:pos x="157" y="50"/>
                </a:cxn>
                <a:cxn ang="0">
                  <a:pos x="159" y="50"/>
                </a:cxn>
                <a:cxn ang="0">
                  <a:pos x="163" y="51"/>
                </a:cxn>
                <a:cxn ang="0">
                  <a:pos x="177" y="53"/>
                </a:cxn>
                <a:cxn ang="0">
                  <a:pos x="200" y="55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613400" y="2734495"/>
              <a:ext cx="84138" cy="73025"/>
            </a:xfrm>
            <a:custGeom>
              <a:avLst/>
              <a:gdLst/>
              <a:ahLst/>
              <a:cxnLst>
                <a:cxn ang="0">
                  <a:pos x="0" y="112"/>
                </a:cxn>
                <a:cxn ang="0">
                  <a:pos x="2" y="116"/>
                </a:cxn>
                <a:cxn ang="0">
                  <a:pos x="3" y="107"/>
                </a:cxn>
                <a:cxn ang="0">
                  <a:pos x="3" y="93"/>
                </a:cxn>
                <a:cxn ang="0">
                  <a:pos x="9" y="82"/>
                </a:cxn>
                <a:cxn ang="0">
                  <a:pos x="17" y="69"/>
                </a:cxn>
                <a:cxn ang="0">
                  <a:pos x="20" y="56"/>
                </a:cxn>
                <a:cxn ang="0">
                  <a:pos x="23" y="46"/>
                </a:cxn>
                <a:cxn ang="0">
                  <a:pos x="28" y="37"/>
                </a:cxn>
                <a:cxn ang="0">
                  <a:pos x="35" y="32"/>
                </a:cxn>
                <a:cxn ang="0">
                  <a:pos x="41" y="38"/>
                </a:cxn>
                <a:cxn ang="0">
                  <a:pos x="43" y="49"/>
                </a:cxn>
                <a:cxn ang="0">
                  <a:pos x="47" y="58"/>
                </a:cxn>
                <a:cxn ang="0">
                  <a:pos x="55" y="65"/>
                </a:cxn>
                <a:cxn ang="0">
                  <a:pos x="87" y="67"/>
                </a:cxn>
                <a:cxn ang="0">
                  <a:pos x="79" y="41"/>
                </a:cxn>
                <a:cxn ang="0">
                  <a:pos x="69" y="36"/>
                </a:cxn>
                <a:cxn ang="0">
                  <a:pos x="63" y="30"/>
                </a:cxn>
                <a:cxn ang="0">
                  <a:pos x="61" y="23"/>
                </a:cxn>
                <a:cxn ang="0">
                  <a:pos x="70" y="17"/>
                </a:cxn>
                <a:cxn ang="0">
                  <a:pos x="87" y="14"/>
                </a:cxn>
                <a:cxn ang="0">
                  <a:pos x="98" y="10"/>
                </a:cxn>
                <a:cxn ang="0">
                  <a:pos x="111" y="6"/>
                </a:cxn>
                <a:cxn ang="0">
                  <a:pos x="130" y="3"/>
                </a:cxn>
                <a:cxn ang="0">
                  <a:pos x="147" y="1"/>
                </a:cxn>
                <a:cxn ang="0">
                  <a:pos x="159" y="2"/>
                </a:cxn>
                <a:cxn ang="0">
                  <a:pos x="176" y="1"/>
                </a:cxn>
                <a:cxn ang="0">
                  <a:pos x="183" y="10"/>
                </a:cxn>
                <a:cxn ang="0">
                  <a:pos x="178" y="26"/>
                </a:cxn>
                <a:cxn ang="0">
                  <a:pos x="169" y="40"/>
                </a:cxn>
                <a:cxn ang="0">
                  <a:pos x="159" y="51"/>
                </a:cxn>
                <a:cxn ang="0">
                  <a:pos x="155" y="63"/>
                </a:cxn>
                <a:cxn ang="0">
                  <a:pos x="153" y="76"/>
                </a:cxn>
                <a:cxn ang="0">
                  <a:pos x="120" y="142"/>
                </a:cxn>
                <a:cxn ang="0">
                  <a:pos x="80" y="122"/>
                </a:cxn>
                <a:cxn ang="0">
                  <a:pos x="35" y="117"/>
                </a:cxn>
                <a:cxn ang="0">
                  <a:pos x="8" y="11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594350" y="2797994"/>
              <a:ext cx="84138" cy="57150"/>
            </a:xfrm>
            <a:custGeom>
              <a:avLst/>
              <a:gdLst/>
              <a:ahLst/>
              <a:cxnLst>
                <a:cxn ang="0">
                  <a:pos x="192" y="61"/>
                </a:cxn>
                <a:cxn ang="0">
                  <a:pos x="189" y="62"/>
                </a:cxn>
                <a:cxn ang="0">
                  <a:pos x="184" y="63"/>
                </a:cxn>
                <a:cxn ang="0">
                  <a:pos x="180" y="64"/>
                </a:cxn>
                <a:cxn ang="0">
                  <a:pos x="177" y="67"/>
                </a:cxn>
                <a:cxn ang="0">
                  <a:pos x="168" y="72"/>
                </a:cxn>
                <a:cxn ang="0">
                  <a:pos x="160" y="79"/>
                </a:cxn>
                <a:cxn ang="0">
                  <a:pos x="154" y="86"/>
                </a:cxn>
                <a:cxn ang="0">
                  <a:pos x="147" y="93"/>
                </a:cxn>
                <a:cxn ang="0">
                  <a:pos x="143" y="99"/>
                </a:cxn>
                <a:cxn ang="0">
                  <a:pos x="139" y="105"/>
                </a:cxn>
                <a:cxn ang="0">
                  <a:pos x="120" y="97"/>
                </a:cxn>
                <a:cxn ang="0">
                  <a:pos x="102" y="89"/>
                </a:cxn>
                <a:cxn ang="0">
                  <a:pos x="86" y="80"/>
                </a:cxn>
                <a:cxn ang="0">
                  <a:pos x="69" y="71"/>
                </a:cxn>
                <a:cxn ang="0">
                  <a:pos x="53" y="61"/>
                </a:cxn>
                <a:cxn ang="0">
                  <a:pos x="36" y="53"/>
                </a:cxn>
                <a:cxn ang="0">
                  <a:pos x="19" y="44"/>
                </a:cxn>
                <a:cxn ang="0">
                  <a:pos x="0" y="37"/>
                </a:cxn>
                <a:cxn ang="0">
                  <a:pos x="0" y="13"/>
                </a:cxn>
                <a:cxn ang="0">
                  <a:pos x="7" y="7"/>
                </a:cxn>
                <a:cxn ang="0">
                  <a:pos x="16" y="4"/>
                </a:cxn>
                <a:cxn ang="0">
                  <a:pos x="29" y="1"/>
                </a:cxn>
                <a:cxn ang="0">
                  <a:pos x="40" y="0"/>
                </a:cxn>
                <a:cxn ang="0">
                  <a:pos x="60" y="2"/>
                </a:cxn>
                <a:cxn ang="0">
                  <a:pos x="93" y="5"/>
                </a:cxn>
                <a:cxn ang="0">
                  <a:pos x="111" y="7"/>
                </a:cxn>
                <a:cxn ang="0">
                  <a:pos x="128" y="7"/>
                </a:cxn>
                <a:cxn ang="0">
                  <a:pos x="143" y="7"/>
                </a:cxn>
                <a:cxn ang="0">
                  <a:pos x="153" y="6"/>
                </a:cxn>
                <a:cxn ang="0">
                  <a:pos x="155" y="11"/>
                </a:cxn>
                <a:cxn ang="0">
                  <a:pos x="159" y="17"/>
                </a:cxn>
                <a:cxn ang="0">
                  <a:pos x="161" y="20"/>
                </a:cxn>
                <a:cxn ang="0">
                  <a:pos x="164" y="23"/>
                </a:cxn>
                <a:cxn ang="0">
                  <a:pos x="165" y="27"/>
                </a:cxn>
                <a:cxn ang="0">
                  <a:pos x="166" y="31"/>
                </a:cxn>
                <a:cxn ang="0">
                  <a:pos x="170" y="32"/>
                </a:cxn>
                <a:cxn ang="0">
                  <a:pos x="177" y="33"/>
                </a:cxn>
                <a:cxn ang="0">
                  <a:pos x="180" y="34"/>
                </a:cxn>
                <a:cxn ang="0">
                  <a:pos x="183" y="34"/>
                </a:cxn>
                <a:cxn ang="0">
                  <a:pos x="188" y="33"/>
                </a:cxn>
                <a:cxn ang="0">
                  <a:pos x="192" y="31"/>
                </a:cxn>
                <a:cxn ang="0">
                  <a:pos x="192" y="61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354764" y="3352032"/>
              <a:ext cx="33337" cy="131762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37" y="2"/>
                </a:cxn>
                <a:cxn ang="0">
                  <a:pos x="40" y="4"/>
                </a:cxn>
                <a:cxn ang="0">
                  <a:pos x="43" y="7"/>
                </a:cxn>
                <a:cxn ang="0">
                  <a:pos x="46" y="10"/>
                </a:cxn>
                <a:cxn ang="0">
                  <a:pos x="52" y="18"/>
                </a:cxn>
                <a:cxn ang="0">
                  <a:pos x="56" y="25"/>
                </a:cxn>
                <a:cxn ang="0">
                  <a:pos x="62" y="32"/>
                </a:cxn>
                <a:cxn ang="0">
                  <a:pos x="67" y="38"/>
                </a:cxn>
                <a:cxn ang="0">
                  <a:pos x="70" y="40"/>
                </a:cxn>
                <a:cxn ang="0">
                  <a:pos x="73" y="42"/>
                </a:cxn>
                <a:cxn ang="0">
                  <a:pos x="76" y="43"/>
                </a:cxn>
                <a:cxn ang="0">
                  <a:pos x="80" y="44"/>
                </a:cxn>
                <a:cxn ang="0">
                  <a:pos x="80" y="53"/>
                </a:cxn>
                <a:cxn ang="0">
                  <a:pos x="80" y="62"/>
                </a:cxn>
                <a:cxn ang="0">
                  <a:pos x="53" y="254"/>
                </a:cxn>
                <a:cxn ang="0">
                  <a:pos x="0" y="93"/>
                </a:cxn>
                <a:cxn ang="0">
                  <a:pos x="4" y="88"/>
                </a:cxn>
                <a:cxn ang="0">
                  <a:pos x="11" y="71"/>
                </a:cxn>
                <a:cxn ang="0">
                  <a:pos x="17" y="57"/>
                </a:cxn>
                <a:cxn ang="0">
                  <a:pos x="22" y="41"/>
                </a:cxn>
                <a:cxn ang="0">
                  <a:pos x="28" y="23"/>
                </a:cxn>
                <a:cxn ang="0">
                  <a:pos x="33" y="0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303963" y="3404420"/>
              <a:ext cx="69850" cy="130175"/>
            </a:xfrm>
            <a:custGeom>
              <a:avLst/>
              <a:gdLst/>
              <a:ahLst/>
              <a:cxnLst>
                <a:cxn ang="0">
                  <a:pos x="114" y="0"/>
                </a:cxn>
                <a:cxn ang="0">
                  <a:pos x="167" y="155"/>
                </a:cxn>
                <a:cxn ang="0">
                  <a:pos x="121" y="259"/>
                </a:cxn>
                <a:cxn ang="0">
                  <a:pos x="113" y="259"/>
                </a:cxn>
                <a:cxn ang="0">
                  <a:pos x="107" y="257"/>
                </a:cxn>
                <a:cxn ang="0">
                  <a:pos x="100" y="254"/>
                </a:cxn>
                <a:cxn ang="0">
                  <a:pos x="95" y="251"/>
                </a:cxn>
                <a:cxn ang="0">
                  <a:pos x="89" y="245"/>
                </a:cxn>
                <a:cxn ang="0">
                  <a:pos x="85" y="240"/>
                </a:cxn>
                <a:cxn ang="0">
                  <a:pos x="80" y="235"/>
                </a:cxn>
                <a:cxn ang="0">
                  <a:pos x="76" y="229"/>
                </a:cxn>
                <a:cxn ang="0">
                  <a:pos x="69" y="217"/>
                </a:cxn>
                <a:cxn ang="0">
                  <a:pos x="65" y="205"/>
                </a:cxn>
                <a:cxn ang="0">
                  <a:pos x="62" y="194"/>
                </a:cxn>
                <a:cxn ang="0">
                  <a:pos x="62" y="185"/>
                </a:cxn>
                <a:cxn ang="0">
                  <a:pos x="55" y="184"/>
                </a:cxn>
                <a:cxn ang="0">
                  <a:pos x="51" y="183"/>
                </a:cxn>
                <a:cxn ang="0">
                  <a:pos x="45" y="182"/>
                </a:cxn>
                <a:cxn ang="0">
                  <a:pos x="42" y="180"/>
                </a:cxn>
                <a:cxn ang="0">
                  <a:pos x="39" y="177"/>
                </a:cxn>
                <a:cxn ang="0">
                  <a:pos x="36" y="174"/>
                </a:cxn>
                <a:cxn ang="0">
                  <a:pos x="34" y="170"/>
                </a:cxn>
                <a:cxn ang="0">
                  <a:pos x="32" y="167"/>
                </a:cxn>
                <a:cxn ang="0">
                  <a:pos x="30" y="158"/>
                </a:cxn>
                <a:cxn ang="0">
                  <a:pos x="29" y="149"/>
                </a:cxn>
                <a:cxn ang="0">
                  <a:pos x="28" y="140"/>
                </a:cxn>
                <a:cxn ang="0">
                  <a:pos x="28" y="129"/>
                </a:cxn>
                <a:cxn ang="0">
                  <a:pos x="21" y="129"/>
                </a:cxn>
                <a:cxn ang="0">
                  <a:pos x="16" y="127"/>
                </a:cxn>
                <a:cxn ang="0">
                  <a:pos x="11" y="125"/>
                </a:cxn>
                <a:cxn ang="0">
                  <a:pos x="7" y="121"/>
                </a:cxn>
                <a:cxn ang="0">
                  <a:pos x="5" y="117"/>
                </a:cxn>
                <a:cxn ang="0">
                  <a:pos x="2" y="112"/>
                </a:cxn>
                <a:cxn ang="0">
                  <a:pos x="0" y="107"/>
                </a:cxn>
                <a:cxn ang="0">
                  <a:pos x="0" y="101"/>
                </a:cxn>
                <a:cxn ang="0">
                  <a:pos x="0" y="75"/>
                </a:cxn>
                <a:cxn ang="0">
                  <a:pos x="1" y="50"/>
                </a:cxn>
                <a:cxn ang="0">
                  <a:pos x="12" y="52"/>
                </a:cxn>
                <a:cxn ang="0">
                  <a:pos x="22" y="53"/>
                </a:cxn>
                <a:cxn ang="0">
                  <a:pos x="32" y="53"/>
                </a:cxn>
                <a:cxn ang="0">
                  <a:pos x="42" y="52"/>
                </a:cxn>
                <a:cxn ang="0">
                  <a:pos x="50" y="51"/>
                </a:cxn>
                <a:cxn ang="0">
                  <a:pos x="58" y="49"/>
                </a:cxn>
                <a:cxn ang="0">
                  <a:pos x="66" y="47"/>
                </a:cxn>
                <a:cxn ang="0">
                  <a:pos x="73" y="44"/>
                </a:cxn>
                <a:cxn ang="0">
                  <a:pos x="79" y="40"/>
                </a:cxn>
                <a:cxn ang="0">
                  <a:pos x="86" y="36"/>
                </a:cxn>
                <a:cxn ang="0">
                  <a:pos x="91" y="31"/>
                </a:cxn>
                <a:cxn ang="0">
                  <a:pos x="97" y="26"/>
                </a:cxn>
                <a:cxn ang="0">
                  <a:pos x="107" y="13"/>
                </a:cxn>
                <a:cxn ang="0">
                  <a:pos x="114" y="0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305425" y="2658295"/>
              <a:ext cx="96838" cy="144463"/>
            </a:xfrm>
            <a:custGeom>
              <a:avLst/>
              <a:gdLst/>
              <a:ahLst/>
              <a:cxnLst>
                <a:cxn ang="0">
                  <a:pos x="185" y="67"/>
                </a:cxn>
                <a:cxn ang="0">
                  <a:pos x="173" y="78"/>
                </a:cxn>
                <a:cxn ang="0">
                  <a:pos x="159" y="82"/>
                </a:cxn>
                <a:cxn ang="0">
                  <a:pos x="163" y="93"/>
                </a:cxn>
                <a:cxn ang="0">
                  <a:pos x="174" y="101"/>
                </a:cxn>
                <a:cxn ang="0">
                  <a:pos x="195" y="105"/>
                </a:cxn>
                <a:cxn ang="0">
                  <a:pos x="225" y="106"/>
                </a:cxn>
                <a:cxn ang="0">
                  <a:pos x="225" y="152"/>
                </a:cxn>
                <a:cxn ang="0">
                  <a:pos x="224" y="176"/>
                </a:cxn>
                <a:cxn ang="0">
                  <a:pos x="215" y="187"/>
                </a:cxn>
                <a:cxn ang="0">
                  <a:pos x="197" y="205"/>
                </a:cxn>
                <a:cxn ang="0">
                  <a:pos x="192" y="214"/>
                </a:cxn>
                <a:cxn ang="0">
                  <a:pos x="179" y="218"/>
                </a:cxn>
                <a:cxn ang="0">
                  <a:pos x="164" y="225"/>
                </a:cxn>
                <a:cxn ang="0">
                  <a:pos x="159" y="236"/>
                </a:cxn>
                <a:cxn ang="0">
                  <a:pos x="140" y="242"/>
                </a:cxn>
                <a:cxn ang="0">
                  <a:pos x="128" y="252"/>
                </a:cxn>
                <a:cxn ang="0">
                  <a:pos x="101" y="255"/>
                </a:cxn>
                <a:cxn ang="0">
                  <a:pos x="60" y="261"/>
                </a:cxn>
                <a:cxn ang="0">
                  <a:pos x="19" y="261"/>
                </a:cxn>
                <a:cxn ang="0">
                  <a:pos x="0" y="217"/>
                </a:cxn>
                <a:cxn ang="0">
                  <a:pos x="21" y="212"/>
                </a:cxn>
                <a:cxn ang="0">
                  <a:pos x="26" y="205"/>
                </a:cxn>
                <a:cxn ang="0">
                  <a:pos x="60" y="202"/>
                </a:cxn>
                <a:cxn ang="0">
                  <a:pos x="72" y="193"/>
                </a:cxn>
                <a:cxn ang="0">
                  <a:pos x="48" y="198"/>
                </a:cxn>
                <a:cxn ang="0">
                  <a:pos x="40" y="197"/>
                </a:cxn>
                <a:cxn ang="0">
                  <a:pos x="39" y="188"/>
                </a:cxn>
                <a:cxn ang="0">
                  <a:pos x="46" y="173"/>
                </a:cxn>
                <a:cxn ang="0">
                  <a:pos x="39" y="160"/>
                </a:cxn>
                <a:cxn ang="0">
                  <a:pos x="14" y="150"/>
                </a:cxn>
                <a:cxn ang="0">
                  <a:pos x="6" y="130"/>
                </a:cxn>
                <a:cxn ang="0">
                  <a:pos x="22" y="115"/>
                </a:cxn>
                <a:cxn ang="0">
                  <a:pos x="35" y="102"/>
                </a:cxn>
                <a:cxn ang="0">
                  <a:pos x="68" y="94"/>
                </a:cxn>
                <a:cxn ang="0">
                  <a:pos x="90" y="94"/>
                </a:cxn>
                <a:cxn ang="0">
                  <a:pos x="100" y="88"/>
                </a:cxn>
                <a:cxn ang="0">
                  <a:pos x="108" y="52"/>
                </a:cxn>
                <a:cxn ang="0">
                  <a:pos x="120" y="31"/>
                </a:cxn>
                <a:cxn ang="0">
                  <a:pos x="130" y="20"/>
                </a:cxn>
                <a:cxn ang="0">
                  <a:pos x="141" y="7"/>
                </a:cxn>
                <a:cxn ang="0">
                  <a:pos x="155" y="1"/>
                </a:cxn>
                <a:cxn ang="0">
                  <a:pos x="179" y="3"/>
                </a:cxn>
                <a:cxn ang="0">
                  <a:pos x="195" y="38"/>
                </a:cxn>
                <a:cxn ang="0">
                  <a:pos x="196" y="47"/>
                </a:cxn>
                <a:cxn ang="0">
                  <a:pos x="190" y="56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7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118100" y="3569520"/>
              <a:ext cx="306388" cy="390525"/>
            </a:xfrm>
            <a:custGeom>
              <a:avLst/>
              <a:gdLst/>
              <a:ahLst/>
              <a:cxnLst>
                <a:cxn ang="0">
                  <a:pos x="94" y="246"/>
                </a:cxn>
                <a:cxn ang="0">
                  <a:pos x="96" y="243"/>
                </a:cxn>
                <a:cxn ang="0">
                  <a:pos x="98" y="238"/>
                </a:cxn>
                <a:cxn ang="0">
                  <a:pos x="100" y="232"/>
                </a:cxn>
                <a:cxn ang="0">
                  <a:pos x="103" y="231"/>
                </a:cxn>
                <a:cxn ang="0">
                  <a:pos x="104" y="238"/>
                </a:cxn>
                <a:cxn ang="0">
                  <a:pos x="106" y="241"/>
                </a:cxn>
                <a:cxn ang="0">
                  <a:pos x="108" y="242"/>
                </a:cxn>
                <a:cxn ang="0">
                  <a:pos x="110" y="242"/>
                </a:cxn>
                <a:cxn ang="0">
                  <a:pos x="113" y="241"/>
                </a:cxn>
                <a:cxn ang="0">
                  <a:pos x="116" y="238"/>
                </a:cxn>
                <a:cxn ang="0">
                  <a:pos x="216" y="234"/>
                </a:cxn>
                <a:cxn ang="0">
                  <a:pos x="213" y="204"/>
                </a:cxn>
                <a:cxn ang="0">
                  <a:pos x="207" y="138"/>
                </a:cxn>
                <a:cxn ang="0">
                  <a:pos x="201" y="73"/>
                </a:cxn>
                <a:cxn ang="0">
                  <a:pos x="198" y="43"/>
                </a:cxn>
                <a:cxn ang="0">
                  <a:pos x="215" y="44"/>
                </a:cxn>
                <a:cxn ang="0">
                  <a:pos x="232" y="46"/>
                </a:cxn>
                <a:cxn ang="0">
                  <a:pos x="161" y="2"/>
                </a:cxn>
                <a:cxn ang="0">
                  <a:pos x="160" y="8"/>
                </a:cxn>
                <a:cxn ang="0">
                  <a:pos x="161" y="18"/>
                </a:cxn>
                <a:cxn ang="0">
                  <a:pos x="98" y="24"/>
                </a:cxn>
                <a:cxn ang="0">
                  <a:pos x="98" y="74"/>
                </a:cxn>
                <a:cxn ang="0">
                  <a:pos x="95" y="76"/>
                </a:cxn>
                <a:cxn ang="0">
                  <a:pos x="87" y="78"/>
                </a:cxn>
                <a:cxn ang="0">
                  <a:pos x="72" y="82"/>
                </a:cxn>
                <a:cxn ang="0">
                  <a:pos x="74" y="88"/>
                </a:cxn>
                <a:cxn ang="0">
                  <a:pos x="78" y="96"/>
                </a:cxn>
                <a:cxn ang="0">
                  <a:pos x="80" y="105"/>
                </a:cxn>
                <a:cxn ang="0">
                  <a:pos x="81" y="115"/>
                </a:cxn>
                <a:cxn ang="0">
                  <a:pos x="9" y="119"/>
                </a:cxn>
                <a:cxn ang="0">
                  <a:pos x="5" y="130"/>
                </a:cxn>
                <a:cxn ang="0">
                  <a:pos x="6" y="143"/>
                </a:cxn>
                <a:cxn ang="0">
                  <a:pos x="8" y="155"/>
                </a:cxn>
                <a:cxn ang="0">
                  <a:pos x="9" y="168"/>
                </a:cxn>
                <a:cxn ang="0">
                  <a:pos x="9" y="182"/>
                </a:cxn>
                <a:cxn ang="0">
                  <a:pos x="8" y="194"/>
                </a:cxn>
                <a:cxn ang="0">
                  <a:pos x="6" y="206"/>
                </a:cxn>
                <a:cxn ang="0">
                  <a:pos x="2" y="216"/>
                </a:cxn>
                <a:cxn ang="0">
                  <a:pos x="2" y="219"/>
                </a:cxn>
                <a:cxn ang="0">
                  <a:pos x="3" y="220"/>
                </a:cxn>
                <a:cxn ang="0">
                  <a:pos x="3" y="222"/>
                </a:cxn>
                <a:cxn ang="0">
                  <a:pos x="7" y="217"/>
                </a:cxn>
                <a:cxn ang="0">
                  <a:pos x="18" y="213"/>
                </a:cxn>
                <a:cxn ang="0">
                  <a:pos x="36" y="207"/>
                </a:cxn>
                <a:cxn ang="0">
                  <a:pos x="45" y="208"/>
                </a:cxn>
                <a:cxn ang="0">
                  <a:pos x="51" y="212"/>
                </a:cxn>
                <a:cxn ang="0">
                  <a:pos x="56" y="214"/>
                </a:cxn>
                <a:cxn ang="0">
                  <a:pos x="62" y="215"/>
                </a:cxn>
                <a:cxn ang="0">
                  <a:pos x="66" y="219"/>
                </a:cxn>
                <a:cxn ang="0">
                  <a:pos x="67" y="225"/>
                </a:cxn>
                <a:cxn ang="0">
                  <a:pos x="70" y="231"/>
                </a:cxn>
                <a:cxn ang="0">
                  <a:pos x="74" y="235"/>
                </a:cxn>
                <a:cxn ang="0">
                  <a:pos x="85" y="243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8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233989" y="3629845"/>
              <a:ext cx="414337" cy="468313"/>
            </a:xfrm>
            <a:custGeom>
              <a:avLst/>
              <a:gdLst/>
              <a:ahLst/>
              <a:cxnLst>
                <a:cxn ang="0">
                  <a:pos x="90" y="788"/>
                </a:cxn>
                <a:cxn ang="0">
                  <a:pos x="121" y="788"/>
                </a:cxn>
                <a:cxn ang="0">
                  <a:pos x="146" y="783"/>
                </a:cxn>
                <a:cxn ang="0">
                  <a:pos x="186" y="776"/>
                </a:cxn>
                <a:cxn ang="0">
                  <a:pos x="197" y="813"/>
                </a:cxn>
                <a:cxn ang="0">
                  <a:pos x="212" y="835"/>
                </a:cxn>
                <a:cxn ang="0">
                  <a:pos x="226" y="846"/>
                </a:cxn>
                <a:cxn ang="0">
                  <a:pos x="246" y="850"/>
                </a:cxn>
                <a:cxn ang="0">
                  <a:pos x="246" y="881"/>
                </a:cxn>
                <a:cxn ang="0">
                  <a:pos x="326" y="889"/>
                </a:cxn>
                <a:cxn ang="0">
                  <a:pos x="334" y="876"/>
                </a:cxn>
                <a:cxn ang="0">
                  <a:pos x="347" y="871"/>
                </a:cxn>
                <a:cxn ang="0">
                  <a:pos x="348" y="888"/>
                </a:cxn>
                <a:cxn ang="0">
                  <a:pos x="358" y="893"/>
                </a:cxn>
                <a:cxn ang="0">
                  <a:pos x="385" y="893"/>
                </a:cxn>
                <a:cxn ang="0">
                  <a:pos x="401" y="854"/>
                </a:cxn>
                <a:cxn ang="0">
                  <a:pos x="412" y="788"/>
                </a:cxn>
                <a:cxn ang="0">
                  <a:pos x="424" y="771"/>
                </a:cxn>
                <a:cxn ang="0">
                  <a:pos x="452" y="754"/>
                </a:cxn>
                <a:cxn ang="0">
                  <a:pos x="485" y="743"/>
                </a:cxn>
                <a:cxn ang="0">
                  <a:pos x="501" y="729"/>
                </a:cxn>
                <a:cxn ang="0">
                  <a:pos x="515" y="702"/>
                </a:cxn>
                <a:cxn ang="0">
                  <a:pos x="535" y="668"/>
                </a:cxn>
                <a:cxn ang="0">
                  <a:pos x="547" y="660"/>
                </a:cxn>
                <a:cxn ang="0">
                  <a:pos x="572" y="659"/>
                </a:cxn>
                <a:cxn ang="0">
                  <a:pos x="605" y="644"/>
                </a:cxn>
                <a:cxn ang="0">
                  <a:pos x="639" y="624"/>
                </a:cxn>
                <a:cxn ang="0">
                  <a:pos x="674" y="613"/>
                </a:cxn>
                <a:cxn ang="0">
                  <a:pos x="724" y="610"/>
                </a:cxn>
                <a:cxn ang="0">
                  <a:pos x="788" y="602"/>
                </a:cxn>
                <a:cxn ang="0">
                  <a:pos x="815" y="594"/>
                </a:cxn>
                <a:cxn ang="0">
                  <a:pos x="863" y="590"/>
                </a:cxn>
                <a:cxn ang="0">
                  <a:pos x="901" y="583"/>
                </a:cxn>
                <a:cxn ang="0">
                  <a:pos x="913" y="574"/>
                </a:cxn>
                <a:cxn ang="0">
                  <a:pos x="931" y="544"/>
                </a:cxn>
                <a:cxn ang="0">
                  <a:pos x="943" y="504"/>
                </a:cxn>
                <a:cxn ang="0">
                  <a:pos x="948" y="461"/>
                </a:cxn>
                <a:cxn ang="0">
                  <a:pos x="947" y="421"/>
                </a:cxn>
                <a:cxn ang="0">
                  <a:pos x="943" y="363"/>
                </a:cxn>
                <a:cxn ang="0">
                  <a:pos x="922" y="356"/>
                </a:cxn>
                <a:cxn ang="0">
                  <a:pos x="862" y="322"/>
                </a:cxn>
                <a:cxn ang="0">
                  <a:pos x="794" y="278"/>
                </a:cxn>
                <a:cxn ang="0">
                  <a:pos x="738" y="216"/>
                </a:cxn>
                <a:cxn ang="0">
                  <a:pos x="412" y="12"/>
                </a:cxn>
                <a:cxn ang="0">
                  <a:pos x="348" y="102"/>
                </a:cxn>
                <a:cxn ang="0">
                  <a:pos x="379" y="405"/>
                </a:cxn>
                <a:cxn ang="0">
                  <a:pos x="392" y="565"/>
                </a:cxn>
                <a:cxn ang="0">
                  <a:pos x="93" y="591"/>
                </a:cxn>
                <a:cxn ang="0">
                  <a:pos x="79" y="606"/>
                </a:cxn>
                <a:cxn ang="0">
                  <a:pos x="67" y="610"/>
                </a:cxn>
                <a:cxn ang="0">
                  <a:pos x="57" y="607"/>
                </a:cxn>
                <a:cxn ang="0">
                  <a:pos x="49" y="591"/>
                </a:cxn>
                <a:cxn ang="0">
                  <a:pos x="40" y="581"/>
                </a:cxn>
                <a:cxn ang="0">
                  <a:pos x="29" y="605"/>
                </a:cxn>
                <a:cxn ang="0">
                  <a:pos x="15" y="623"/>
                </a:cxn>
                <a:cxn ang="0">
                  <a:pos x="67" y="733"/>
                </a:cxn>
                <a:cxn ang="0">
                  <a:pos x="61" y="748"/>
                </a:cxn>
                <a:cxn ang="0">
                  <a:pos x="62" y="760"/>
                </a:cxn>
                <a:cxn ang="0">
                  <a:pos x="54" y="788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9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332413" y="3236144"/>
              <a:ext cx="493712" cy="579438"/>
            </a:xfrm>
            <a:custGeom>
              <a:avLst/>
              <a:gdLst/>
              <a:ahLst/>
              <a:cxnLst>
                <a:cxn ang="0">
                  <a:pos x="238" y="367"/>
                </a:cxn>
                <a:cxn ang="0">
                  <a:pos x="244" y="365"/>
                </a:cxn>
                <a:cxn ang="0">
                  <a:pos x="255" y="368"/>
                </a:cxn>
                <a:cxn ang="0">
                  <a:pos x="372" y="277"/>
                </a:cxn>
                <a:cxn ang="0">
                  <a:pos x="369" y="270"/>
                </a:cxn>
                <a:cxn ang="0">
                  <a:pos x="361" y="264"/>
                </a:cxn>
                <a:cxn ang="0">
                  <a:pos x="347" y="259"/>
                </a:cxn>
                <a:cxn ang="0">
                  <a:pos x="339" y="254"/>
                </a:cxn>
                <a:cxn ang="0">
                  <a:pos x="336" y="247"/>
                </a:cxn>
                <a:cxn ang="0">
                  <a:pos x="337" y="228"/>
                </a:cxn>
                <a:cxn ang="0">
                  <a:pos x="337" y="196"/>
                </a:cxn>
                <a:cxn ang="0">
                  <a:pos x="334" y="168"/>
                </a:cxn>
                <a:cxn ang="0">
                  <a:pos x="329" y="155"/>
                </a:cxn>
                <a:cxn ang="0">
                  <a:pos x="323" y="142"/>
                </a:cxn>
                <a:cxn ang="0">
                  <a:pos x="315" y="109"/>
                </a:cxn>
                <a:cxn ang="0">
                  <a:pos x="306" y="90"/>
                </a:cxn>
                <a:cxn ang="0">
                  <a:pos x="297" y="78"/>
                </a:cxn>
                <a:cxn ang="0">
                  <a:pos x="300" y="63"/>
                </a:cxn>
                <a:cxn ang="0">
                  <a:pos x="301" y="43"/>
                </a:cxn>
                <a:cxn ang="0">
                  <a:pos x="302" y="23"/>
                </a:cxn>
                <a:cxn ang="0">
                  <a:pos x="310" y="7"/>
                </a:cxn>
                <a:cxn ang="0">
                  <a:pos x="302" y="6"/>
                </a:cxn>
                <a:cxn ang="0">
                  <a:pos x="278" y="12"/>
                </a:cxn>
                <a:cxn ang="0">
                  <a:pos x="245" y="12"/>
                </a:cxn>
                <a:cxn ang="0">
                  <a:pos x="206" y="14"/>
                </a:cxn>
                <a:cxn ang="0">
                  <a:pos x="168" y="24"/>
                </a:cxn>
                <a:cxn ang="0">
                  <a:pos x="145" y="32"/>
                </a:cxn>
                <a:cxn ang="0">
                  <a:pos x="124" y="44"/>
                </a:cxn>
                <a:cxn ang="0">
                  <a:pos x="123" y="52"/>
                </a:cxn>
                <a:cxn ang="0">
                  <a:pos x="131" y="89"/>
                </a:cxn>
                <a:cxn ang="0">
                  <a:pos x="134" y="93"/>
                </a:cxn>
                <a:cxn ang="0">
                  <a:pos x="141" y="98"/>
                </a:cxn>
                <a:cxn ang="0">
                  <a:pos x="142" y="102"/>
                </a:cxn>
                <a:cxn ang="0">
                  <a:pos x="139" y="107"/>
                </a:cxn>
                <a:cxn ang="0">
                  <a:pos x="128" y="107"/>
                </a:cxn>
                <a:cxn ang="0">
                  <a:pos x="106" y="113"/>
                </a:cxn>
                <a:cxn ang="0">
                  <a:pos x="95" y="122"/>
                </a:cxn>
                <a:cxn ang="0">
                  <a:pos x="90" y="131"/>
                </a:cxn>
                <a:cxn ang="0">
                  <a:pos x="82" y="137"/>
                </a:cxn>
                <a:cxn ang="0">
                  <a:pos x="66" y="150"/>
                </a:cxn>
                <a:cxn ang="0">
                  <a:pos x="51" y="158"/>
                </a:cxn>
                <a:cxn ang="0">
                  <a:pos x="31" y="160"/>
                </a:cxn>
                <a:cxn ang="0">
                  <a:pos x="20" y="164"/>
                </a:cxn>
                <a:cxn ang="0">
                  <a:pos x="8" y="174"/>
                </a:cxn>
                <a:cxn ang="0">
                  <a:pos x="0" y="200"/>
                </a:cxn>
                <a:cxn ang="0">
                  <a:pos x="179" y="331"/>
                </a:cxn>
                <a:cxn ang="0">
                  <a:pos x="201" y="352"/>
                </a:cxn>
                <a:cxn ang="0">
                  <a:pos x="229" y="368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0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768976" y="3371082"/>
              <a:ext cx="384175" cy="436562"/>
            </a:xfrm>
            <a:custGeom>
              <a:avLst/>
              <a:gdLst/>
              <a:ahLst/>
              <a:cxnLst>
                <a:cxn ang="0">
                  <a:pos x="36" y="141"/>
                </a:cxn>
                <a:cxn ang="0">
                  <a:pos x="46" y="109"/>
                </a:cxn>
                <a:cxn ang="0">
                  <a:pos x="46" y="70"/>
                </a:cxn>
                <a:cxn ang="0">
                  <a:pos x="61" y="64"/>
                </a:cxn>
                <a:cxn ang="0">
                  <a:pos x="89" y="55"/>
                </a:cxn>
                <a:cxn ang="0">
                  <a:pos x="99" y="20"/>
                </a:cxn>
                <a:cxn ang="0">
                  <a:pos x="168" y="6"/>
                </a:cxn>
                <a:cxn ang="0">
                  <a:pos x="242" y="24"/>
                </a:cxn>
                <a:cxn ang="0">
                  <a:pos x="273" y="43"/>
                </a:cxn>
                <a:cxn ang="0">
                  <a:pos x="285" y="78"/>
                </a:cxn>
                <a:cxn ang="0">
                  <a:pos x="295" y="101"/>
                </a:cxn>
                <a:cxn ang="0">
                  <a:pos x="325" y="110"/>
                </a:cxn>
                <a:cxn ang="0">
                  <a:pos x="363" y="109"/>
                </a:cxn>
                <a:cxn ang="0">
                  <a:pos x="421" y="133"/>
                </a:cxn>
                <a:cxn ang="0">
                  <a:pos x="478" y="162"/>
                </a:cxn>
                <a:cxn ang="0">
                  <a:pos x="513" y="166"/>
                </a:cxn>
                <a:cxn ang="0">
                  <a:pos x="538" y="158"/>
                </a:cxn>
                <a:cxn ang="0">
                  <a:pos x="549" y="126"/>
                </a:cxn>
                <a:cxn ang="0">
                  <a:pos x="544" y="103"/>
                </a:cxn>
                <a:cxn ang="0">
                  <a:pos x="531" y="81"/>
                </a:cxn>
                <a:cxn ang="0">
                  <a:pos x="539" y="49"/>
                </a:cxn>
                <a:cxn ang="0">
                  <a:pos x="574" y="34"/>
                </a:cxn>
                <a:cxn ang="0">
                  <a:pos x="617" y="4"/>
                </a:cxn>
                <a:cxn ang="0">
                  <a:pos x="650" y="0"/>
                </a:cxn>
                <a:cxn ang="0">
                  <a:pos x="681" y="6"/>
                </a:cxn>
                <a:cxn ang="0">
                  <a:pos x="695" y="24"/>
                </a:cxn>
                <a:cxn ang="0">
                  <a:pos x="706" y="50"/>
                </a:cxn>
                <a:cxn ang="0">
                  <a:pos x="728" y="63"/>
                </a:cxn>
                <a:cxn ang="0">
                  <a:pos x="798" y="71"/>
                </a:cxn>
                <a:cxn ang="0">
                  <a:pos x="830" y="97"/>
                </a:cxn>
                <a:cxn ang="0">
                  <a:pos x="834" y="117"/>
                </a:cxn>
                <a:cxn ang="0">
                  <a:pos x="843" y="140"/>
                </a:cxn>
                <a:cxn ang="0">
                  <a:pos x="836" y="159"/>
                </a:cxn>
                <a:cxn ang="0">
                  <a:pos x="824" y="170"/>
                </a:cxn>
                <a:cxn ang="0">
                  <a:pos x="829" y="207"/>
                </a:cxn>
                <a:cxn ang="0">
                  <a:pos x="858" y="245"/>
                </a:cxn>
                <a:cxn ang="0">
                  <a:pos x="876" y="687"/>
                </a:cxn>
                <a:cxn ang="0">
                  <a:pos x="877" y="741"/>
                </a:cxn>
                <a:cxn ang="0">
                  <a:pos x="870" y="775"/>
                </a:cxn>
                <a:cxn ang="0">
                  <a:pos x="848" y="783"/>
                </a:cxn>
                <a:cxn ang="0">
                  <a:pos x="830" y="804"/>
                </a:cxn>
                <a:cxn ang="0">
                  <a:pos x="366" y="593"/>
                </a:cxn>
                <a:cxn ang="0">
                  <a:pos x="331" y="607"/>
                </a:cxn>
                <a:cxn ang="0">
                  <a:pos x="292" y="626"/>
                </a:cxn>
                <a:cxn ang="0">
                  <a:pos x="263" y="627"/>
                </a:cxn>
                <a:cxn ang="0">
                  <a:pos x="230" y="609"/>
                </a:cxn>
                <a:cxn ang="0">
                  <a:pos x="193" y="586"/>
                </a:cxn>
                <a:cxn ang="0">
                  <a:pos x="152" y="578"/>
                </a:cxn>
                <a:cxn ang="0">
                  <a:pos x="138" y="577"/>
                </a:cxn>
                <a:cxn ang="0">
                  <a:pos x="130" y="553"/>
                </a:cxn>
                <a:cxn ang="0">
                  <a:pos x="109" y="535"/>
                </a:cxn>
                <a:cxn ang="0">
                  <a:pos x="63" y="517"/>
                </a:cxn>
                <a:cxn ang="0">
                  <a:pos x="28" y="499"/>
                </a:cxn>
                <a:cxn ang="0">
                  <a:pos x="16" y="482"/>
                </a:cxn>
                <a:cxn ang="0">
                  <a:pos x="14" y="439"/>
                </a:cxn>
                <a:cxn ang="0">
                  <a:pos x="19" y="352"/>
                </a:cxn>
                <a:cxn ang="0">
                  <a:pos x="17" y="258"/>
                </a:cxn>
                <a:cxn ang="0">
                  <a:pos x="4" y="202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1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721351" y="3236144"/>
              <a:ext cx="93663" cy="236538"/>
            </a:xfrm>
            <a:custGeom>
              <a:avLst/>
              <a:gdLst/>
              <a:ahLst/>
              <a:cxnLst>
                <a:cxn ang="0">
                  <a:pos x="103" y="441"/>
                </a:cxn>
                <a:cxn ang="0">
                  <a:pos x="125" y="420"/>
                </a:cxn>
                <a:cxn ang="0">
                  <a:pos x="140" y="404"/>
                </a:cxn>
                <a:cxn ang="0">
                  <a:pos x="147" y="390"/>
                </a:cxn>
                <a:cxn ang="0">
                  <a:pos x="152" y="373"/>
                </a:cxn>
                <a:cxn ang="0">
                  <a:pos x="154" y="352"/>
                </a:cxn>
                <a:cxn ang="0">
                  <a:pos x="153" y="335"/>
                </a:cxn>
                <a:cxn ang="0">
                  <a:pos x="156" y="331"/>
                </a:cxn>
                <a:cxn ang="0">
                  <a:pos x="168" y="329"/>
                </a:cxn>
                <a:cxn ang="0">
                  <a:pos x="185" y="325"/>
                </a:cxn>
                <a:cxn ang="0">
                  <a:pos x="196" y="318"/>
                </a:cxn>
                <a:cxn ang="0">
                  <a:pos x="203" y="304"/>
                </a:cxn>
                <a:cxn ang="0">
                  <a:pos x="206" y="280"/>
                </a:cxn>
                <a:cxn ang="0">
                  <a:pos x="202" y="265"/>
                </a:cxn>
                <a:cxn ang="0">
                  <a:pos x="193" y="264"/>
                </a:cxn>
                <a:cxn ang="0">
                  <a:pos x="177" y="256"/>
                </a:cxn>
                <a:cxn ang="0">
                  <a:pos x="155" y="242"/>
                </a:cxn>
                <a:cxn ang="0">
                  <a:pos x="140" y="231"/>
                </a:cxn>
                <a:cxn ang="0">
                  <a:pos x="130" y="228"/>
                </a:cxn>
                <a:cxn ang="0">
                  <a:pos x="119" y="222"/>
                </a:cxn>
                <a:cxn ang="0">
                  <a:pos x="101" y="212"/>
                </a:cxn>
                <a:cxn ang="0">
                  <a:pos x="95" y="206"/>
                </a:cxn>
                <a:cxn ang="0">
                  <a:pos x="95" y="199"/>
                </a:cxn>
                <a:cxn ang="0">
                  <a:pos x="104" y="181"/>
                </a:cxn>
                <a:cxn ang="0">
                  <a:pos x="119" y="158"/>
                </a:cxn>
                <a:cxn ang="0">
                  <a:pos x="134" y="140"/>
                </a:cxn>
                <a:cxn ang="0">
                  <a:pos x="136" y="129"/>
                </a:cxn>
                <a:cxn ang="0">
                  <a:pos x="126" y="116"/>
                </a:cxn>
                <a:cxn ang="0">
                  <a:pos x="115" y="105"/>
                </a:cxn>
                <a:cxn ang="0">
                  <a:pos x="108" y="93"/>
                </a:cxn>
                <a:cxn ang="0">
                  <a:pos x="107" y="84"/>
                </a:cxn>
                <a:cxn ang="0">
                  <a:pos x="111" y="78"/>
                </a:cxn>
                <a:cxn ang="0">
                  <a:pos x="116" y="72"/>
                </a:cxn>
                <a:cxn ang="0">
                  <a:pos x="123" y="69"/>
                </a:cxn>
                <a:cxn ang="0">
                  <a:pos x="126" y="37"/>
                </a:cxn>
                <a:cxn ang="0">
                  <a:pos x="110" y="32"/>
                </a:cxn>
                <a:cxn ang="0">
                  <a:pos x="87" y="21"/>
                </a:cxn>
                <a:cxn ang="0">
                  <a:pos x="53" y="0"/>
                </a:cxn>
                <a:cxn ang="0">
                  <a:pos x="47" y="11"/>
                </a:cxn>
                <a:cxn ang="0">
                  <a:pos x="34" y="44"/>
                </a:cxn>
                <a:cxn ang="0">
                  <a:pos x="28" y="70"/>
                </a:cxn>
                <a:cxn ang="0">
                  <a:pos x="22" y="99"/>
                </a:cxn>
                <a:cxn ang="0">
                  <a:pos x="20" y="133"/>
                </a:cxn>
                <a:cxn ang="0">
                  <a:pos x="20" y="172"/>
                </a:cxn>
                <a:cxn ang="0">
                  <a:pos x="12" y="188"/>
                </a:cxn>
                <a:cxn ang="0">
                  <a:pos x="8" y="206"/>
                </a:cxn>
                <a:cxn ang="0">
                  <a:pos x="0" y="235"/>
                </a:cxn>
                <a:cxn ang="0">
                  <a:pos x="22" y="259"/>
                </a:cxn>
                <a:cxn ang="0">
                  <a:pos x="41" y="281"/>
                </a:cxn>
                <a:cxn ang="0">
                  <a:pos x="55" y="305"/>
                </a:cxn>
                <a:cxn ang="0">
                  <a:pos x="66" y="329"/>
                </a:cxn>
                <a:cxn ang="0">
                  <a:pos x="75" y="355"/>
                </a:cxn>
                <a:cxn ang="0">
                  <a:pos x="82" y="384"/>
                </a:cxn>
                <a:cxn ang="0">
                  <a:pos x="93" y="455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2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103814" y="3547294"/>
              <a:ext cx="231775" cy="215900"/>
            </a:xfrm>
            <a:custGeom>
              <a:avLst/>
              <a:gdLst/>
              <a:ahLst/>
              <a:cxnLst>
                <a:cxn ang="0">
                  <a:pos x="326" y="110"/>
                </a:cxn>
                <a:cxn ang="0">
                  <a:pos x="326" y="259"/>
                </a:cxn>
                <a:cxn ang="0">
                  <a:pos x="315" y="264"/>
                </a:cxn>
                <a:cxn ang="0">
                  <a:pos x="291" y="271"/>
                </a:cxn>
                <a:cxn ang="0">
                  <a:pos x="246" y="283"/>
                </a:cxn>
                <a:cxn ang="0">
                  <a:pos x="253" y="302"/>
                </a:cxn>
                <a:cxn ang="0">
                  <a:pos x="265" y="326"/>
                </a:cxn>
                <a:cxn ang="0">
                  <a:pos x="269" y="353"/>
                </a:cxn>
                <a:cxn ang="0">
                  <a:pos x="272" y="382"/>
                </a:cxn>
                <a:cxn ang="0">
                  <a:pos x="52" y="394"/>
                </a:cxn>
                <a:cxn ang="0">
                  <a:pos x="22" y="406"/>
                </a:cxn>
                <a:cxn ang="0">
                  <a:pos x="5" y="403"/>
                </a:cxn>
                <a:cxn ang="0">
                  <a:pos x="1" y="398"/>
                </a:cxn>
                <a:cxn ang="0">
                  <a:pos x="1" y="385"/>
                </a:cxn>
                <a:cxn ang="0">
                  <a:pos x="4" y="371"/>
                </a:cxn>
                <a:cxn ang="0">
                  <a:pos x="11" y="354"/>
                </a:cxn>
                <a:cxn ang="0">
                  <a:pos x="20" y="341"/>
                </a:cxn>
                <a:cxn ang="0">
                  <a:pos x="30" y="334"/>
                </a:cxn>
                <a:cxn ang="0">
                  <a:pos x="38" y="326"/>
                </a:cxn>
                <a:cxn ang="0">
                  <a:pos x="44" y="317"/>
                </a:cxn>
                <a:cxn ang="0">
                  <a:pos x="49" y="292"/>
                </a:cxn>
                <a:cxn ang="0">
                  <a:pos x="56" y="265"/>
                </a:cxn>
                <a:cxn ang="0">
                  <a:pos x="62" y="257"/>
                </a:cxn>
                <a:cxn ang="0">
                  <a:pos x="74" y="246"/>
                </a:cxn>
                <a:cxn ang="0">
                  <a:pos x="92" y="238"/>
                </a:cxn>
                <a:cxn ang="0">
                  <a:pos x="107" y="231"/>
                </a:cxn>
                <a:cxn ang="0">
                  <a:pos x="122" y="218"/>
                </a:cxn>
                <a:cxn ang="0">
                  <a:pos x="136" y="195"/>
                </a:cxn>
                <a:cxn ang="0">
                  <a:pos x="150" y="156"/>
                </a:cxn>
                <a:cxn ang="0">
                  <a:pos x="162" y="117"/>
                </a:cxn>
                <a:cxn ang="0">
                  <a:pos x="172" y="94"/>
                </a:cxn>
                <a:cxn ang="0">
                  <a:pos x="186" y="73"/>
                </a:cxn>
                <a:cxn ang="0">
                  <a:pos x="201" y="62"/>
                </a:cxn>
                <a:cxn ang="0">
                  <a:pos x="213" y="57"/>
                </a:cxn>
                <a:cxn ang="0">
                  <a:pos x="219" y="44"/>
                </a:cxn>
                <a:cxn ang="0">
                  <a:pos x="223" y="28"/>
                </a:cxn>
                <a:cxn ang="0">
                  <a:pos x="228" y="16"/>
                </a:cxn>
                <a:cxn ang="0">
                  <a:pos x="239" y="8"/>
                </a:cxn>
                <a:cxn ang="0">
                  <a:pos x="511" y="0"/>
                </a:cxn>
                <a:cxn ang="0">
                  <a:pos x="515" y="46"/>
                </a:cxn>
                <a:cxn ang="0">
                  <a:pos x="518" y="110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3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072063" y="2355082"/>
              <a:ext cx="190500" cy="93662"/>
            </a:xfrm>
            <a:custGeom>
              <a:avLst/>
              <a:gdLst/>
              <a:ahLst/>
              <a:cxnLst>
                <a:cxn ang="0">
                  <a:pos x="34" y="61"/>
                </a:cxn>
                <a:cxn ang="0">
                  <a:pos x="41" y="42"/>
                </a:cxn>
                <a:cxn ang="0">
                  <a:pos x="68" y="37"/>
                </a:cxn>
                <a:cxn ang="0">
                  <a:pos x="80" y="18"/>
                </a:cxn>
                <a:cxn ang="0">
                  <a:pos x="72" y="14"/>
                </a:cxn>
                <a:cxn ang="0">
                  <a:pos x="60" y="0"/>
                </a:cxn>
                <a:cxn ang="0">
                  <a:pos x="85" y="10"/>
                </a:cxn>
                <a:cxn ang="0">
                  <a:pos x="108" y="39"/>
                </a:cxn>
                <a:cxn ang="0">
                  <a:pos x="125" y="62"/>
                </a:cxn>
                <a:cxn ang="0">
                  <a:pos x="139" y="67"/>
                </a:cxn>
                <a:cxn ang="0">
                  <a:pos x="157" y="63"/>
                </a:cxn>
                <a:cxn ang="0">
                  <a:pos x="181" y="45"/>
                </a:cxn>
                <a:cxn ang="0">
                  <a:pos x="205" y="23"/>
                </a:cxn>
                <a:cxn ang="0">
                  <a:pos x="220" y="31"/>
                </a:cxn>
                <a:cxn ang="0">
                  <a:pos x="359" y="11"/>
                </a:cxn>
                <a:cxn ang="0">
                  <a:pos x="376" y="23"/>
                </a:cxn>
                <a:cxn ang="0">
                  <a:pos x="396" y="22"/>
                </a:cxn>
                <a:cxn ang="0">
                  <a:pos x="413" y="37"/>
                </a:cxn>
                <a:cxn ang="0">
                  <a:pos x="415" y="43"/>
                </a:cxn>
                <a:cxn ang="0">
                  <a:pos x="429" y="54"/>
                </a:cxn>
                <a:cxn ang="0">
                  <a:pos x="443" y="68"/>
                </a:cxn>
                <a:cxn ang="0">
                  <a:pos x="446" y="80"/>
                </a:cxn>
                <a:cxn ang="0">
                  <a:pos x="438" y="96"/>
                </a:cxn>
                <a:cxn ang="0">
                  <a:pos x="413" y="111"/>
                </a:cxn>
                <a:cxn ang="0">
                  <a:pos x="397" y="120"/>
                </a:cxn>
                <a:cxn ang="0">
                  <a:pos x="366" y="123"/>
                </a:cxn>
                <a:cxn ang="0">
                  <a:pos x="300" y="146"/>
                </a:cxn>
                <a:cxn ang="0">
                  <a:pos x="234" y="171"/>
                </a:cxn>
                <a:cxn ang="0">
                  <a:pos x="199" y="178"/>
                </a:cxn>
                <a:cxn ang="0">
                  <a:pos x="177" y="174"/>
                </a:cxn>
                <a:cxn ang="0">
                  <a:pos x="172" y="164"/>
                </a:cxn>
                <a:cxn ang="0">
                  <a:pos x="170" y="161"/>
                </a:cxn>
                <a:cxn ang="0">
                  <a:pos x="156" y="161"/>
                </a:cxn>
                <a:cxn ang="0">
                  <a:pos x="139" y="160"/>
                </a:cxn>
                <a:cxn ang="0">
                  <a:pos x="100" y="147"/>
                </a:cxn>
                <a:cxn ang="0">
                  <a:pos x="85" y="137"/>
                </a:cxn>
                <a:cxn ang="0">
                  <a:pos x="81" y="125"/>
                </a:cxn>
                <a:cxn ang="0">
                  <a:pos x="87" y="111"/>
                </a:cxn>
                <a:cxn ang="0">
                  <a:pos x="27" y="103"/>
                </a:cxn>
                <a:cxn ang="0">
                  <a:pos x="9" y="105"/>
                </a:cxn>
                <a:cxn ang="0">
                  <a:pos x="0" y="80"/>
                </a:cxn>
                <a:cxn ang="0">
                  <a:pos x="60" y="86"/>
                </a:cxn>
                <a:cxn ang="0">
                  <a:pos x="87" y="80"/>
                </a:cxn>
                <a:cxn ang="0">
                  <a:pos x="23" y="68"/>
                </a:cxn>
                <a:cxn ang="0">
                  <a:pos x="16" y="55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4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864225" y="2618607"/>
              <a:ext cx="14288" cy="57150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2" y="47"/>
                </a:cxn>
                <a:cxn ang="0">
                  <a:pos x="6" y="28"/>
                </a:cxn>
                <a:cxn ang="0">
                  <a:pos x="7" y="20"/>
                </a:cxn>
                <a:cxn ang="0">
                  <a:pos x="6" y="13"/>
                </a:cxn>
                <a:cxn ang="0">
                  <a:pos x="4" y="7"/>
                </a:cxn>
                <a:cxn ang="0">
                  <a:pos x="0" y="0"/>
                </a:cxn>
                <a:cxn ang="0">
                  <a:pos x="28" y="0"/>
                </a:cxn>
                <a:cxn ang="0">
                  <a:pos x="22" y="16"/>
                </a:cxn>
                <a:cxn ang="0">
                  <a:pos x="17" y="30"/>
                </a:cxn>
                <a:cxn ang="0">
                  <a:pos x="12" y="43"/>
                </a:cxn>
                <a:cxn ang="0">
                  <a:pos x="7" y="55"/>
                </a:cxn>
                <a:cxn ang="0">
                  <a:pos x="0" y="73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751513" y="2282058"/>
              <a:ext cx="234950" cy="395287"/>
            </a:xfrm>
            <a:custGeom>
              <a:avLst/>
              <a:gdLst/>
              <a:ahLst/>
              <a:cxnLst>
                <a:cxn ang="0">
                  <a:pos x="419" y="203"/>
                </a:cxn>
                <a:cxn ang="0">
                  <a:pos x="406" y="221"/>
                </a:cxn>
                <a:cxn ang="0">
                  <a:pos x="404" y="237"/>
                </a:cxn>
                <a:cxn ang="0">
                  <a:pos x="382" y="275"/>
                </a:cxn>
                <a:cxn ang="0">
                  <a:pos x="325" y="306"/>
                </a:cxn>
                <a:cxn ang="0">
                  <a:pos x="252" y="354"/>
                </a:cxn>
                <a:cxn ang="0">
                  <a:pos x="237" y="369"/>
                </a:cxn>
                <a:cxn ang="0">
                  <a:pos x="245" y="381"/>
                </a:cxn>
                <a:cxn ang="0">
                  <a:pos x="240" y="424"/>
                </a:cxn>
                <a:cxn ang="0">
                  <a:pos x="239" y="449"/>
                </a:cxn>
                <a:cxn ang="0">
                  <a:pos x="262" y="468"/>
                </a:cxn>
                <a:cxn ang="0">
                  <a:pos x="320" y="485"/>
                </a:cxn>
                <a:cxn ang="0">
                  <a:pos x="332" y="505"/>
                </a:cxn>
                <a:cxn ang="0">
                  <a:pos x="310" y="531"/>
                </a:cxn>
                <a:cxn ang="0">
                  <a:pos x="272" y="547"/>
                </a:cxn>
                <a:cxn ang="0">
                  <a:pos x="265" y="560"/>
                </a:cxn>
                <a:cxn ang="0">
                  <a:pos x="252" y="631"/>
                </a:cxn>
                <a:cxn ang="0">
                  <a:pos x="239" y="721"/>
                </a:cxn>
                <a:cxn ang="0">
                  <a:pos x="173" y="727"/>
                </a:cxn>
                <a:cxn ang="0">
                  <a:pos x="152" y="738"/>
                </a:cxn>
                <a:cxn ang="0">
                  <a:pos x="153" y="757"/>
                </a:cxn>
                <a:cxn ang="0">
                  <a:pos x="106" y="757"/>
                </a:cxn>
                <a:cxn ang="0">
                  <a:pos x="95" y="752"/>
                </a:cxn>
                <a:cxn ang="0">
                  <a:pos x="71" y="718"/>
                </a:cxn>
                <a:cxn ang="0">
                  <a:pos x="41" y="640"/>
                </a:cxn>
                <a:cxn ang="0">
                  <a:pos x="34" y="597"/>
                </a:cxn>
                <a:cxn ang="0">
                  <a:pos x="14" y="586"/>
                </a:cxn>
                <a:cxn ang="0">
                  <a:pos x="19" y="561"/>
                </a:cxn>
                <a:cxn ang="0">
                  <a:pos x="36" y="538"/>
                </a:cxn>
                <a:cxn ang="0">
                  <a:pos x="53" y="504"/>
                </a:cxn>
                <a:cxn ang="0">
                  <a:pos x="61" y="471"/>
                </a:cxn>
                <a:cxn ang="0">
                  <a:pos x="64" y="441"/>
                </a:cxn>
                <a:cxn ang="0">
                  <a:pos x="58" y="408"/>
                </a:cxn>
                <a:cxn ang="0">
                  <a:pos x="43" y="377"/>
                </a:cxn>
                <a:cxn ang="0">
                  <a:pos x="74" y="276"/>
                </a:cxn>
                <a:cxn ang="0">
                  <a:pos x="103" y="275"/>
                </a:cxn>
                <a:cxn ang="0">
                  <a:pos x="113" y="234"/>
                </a:cxn>
                <a:cxn ang="0">
                  <a:pos x="137" y="192"/>
                </a:cxn>
                <a:cxn ang="0">
                  <a:pos x="180" y="145"/>
                </a:cxn>
                <a:cxn ang="0">
                  <a:pos x="198" y="111"/>
                </a:cxn>
                <a:cxn ang="0">
                  <a:pos x="228" y="60"/>
                </a:cxn>
                <a:cxn ang="0">
                  <a:pos x="249" y="43"/>
                </a:cxn>
                <a:cxn ang="0">
                  <a:pos x="309" y="29"/>
                </a:cxn>
                <a:cxn ang="0">
                  <a:pos x="368" y="13"/>
                </a:cxn>
                <a:cxn ang="0">
                  <a:pos x="401" y="5"/>
                </a:cxn>
                <a:cxn ang="0">
                  <a:pos x="431" y="32"/>
                </a:cxn>
                <a:cxn ang="0">
                  <a:pos x="457" y="42"/>
                </a:cxn>
                <a:cxn ang="0">
                  <a:pos x="513" y="111"/>
                </a:cxn>
                <a:cxn ang="0">
                  <a:pos x="528" y="150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6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889625" y="2596382"/>
              <a:ext cx="26988" cy="57150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6" y="30"/>
                </a:cxn>
                <a:cxn ang="0">
                  <a:pos x="15" y="19"/>
                </a:cxn>
                <a:cxn ang="0">
                  <a:pos x="20" y="13"/>
                </a:cxn>
                <a:cxn ang="0">
                  <a:pos x="27" y="8"/>
                </a:cxn>
                <a:cxn ang="0">
                  <a:pos x="33" y="4"/>
                </a:cxn>
                <a:cxn ang="0">
                  <a:pos x="40" y="0"/>
                </a:cxn>
                <a:cxn ang="0">
                  <a:pos x="50" y="7"/>
                </a:cxn>
                <a:cxn ang="0">
                  <a:pos x="60" y="13"/>
                </a:cxn>
                <a:cxn ang="0">
                  <a:pos x="59" y="20"/>
                </a:cxn>
                <a:cxn ang="0">
                  <a:pos x="56" y="29"/>
                </a:cxn>
                <a:cxn ang="0">
                  <a:pos x="54" y="34"/>
                </a:cxn>
                <a:cxn ang="0">
                  <a:pos x="52" y="38"/>
                </a:cxn>
                <a:cxn ang="0">
                  <a:pos x="49" y="42"/>
                </a:cxn>
                <a:cxn ang="0">
                  <a:pos x="45" y="45"/>
                </a:cxn>
                <a:cxn ang="0">
                  <a:pos x="41" y="48"/>
                </a:cxn>
                <a:cxn ang="0">
                  <a:pos x="37" y="50"/>
                </a:cxn>
                <a:cxn ang="0">
                  <a:pos x="31" y="51"/>
                </a:cxn>
                <a:cxn ang="0">
                  <a:pos x="27" y="51"/>
                </a:cxn>
                <a:cxn ang="0">
                  <a:pos x="20" y="50"/>
                </a:cxn>
                <a:cxn ang="0">
                  <a:pos x="15" y="47"/>
                </a:cxn>
                <a:cxn ang="0">
                  <a:pos x="7" y="43"/>
                </a:cxn>
                <a:cxn ang="0">
                  <a:pos x="0" y="37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7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334001" y="2758307"/>
              <a:ext cx="28575" cy="57150"/>
            </a:xfrm>
            <a:custGeom>
              <a:avLst/>
              <a:gdLst/>
              <a:ahLst/>
              <a:cxnLst>
                <a:cxn ang="0">
                  <a:pos x="59" y="48"/>
                </a:cxn>
                <a:cxn ang="0">
                  <a:pos x="42" y="50"/>
                </a:cxn>
                <a:cxn ang="0">
                  <a:pos x="22" y="51"/>
                </a:cxn>
                <a:cxn ang="0">
                  <a:pos x="17" y="50"/>
                </a:cxn>
                <a:cxn ang="0">
                  <a:pos x="13" y="49"/>
                </a:cxn>
                <a:cxn ang="0">
                  <a:pos x="10" y="48"/>
                </a:cxn>
                <a:cxn ang="0">
                  <a:pos x="7" y="46"/>
                </a:cxn>
                <a:cxn ang="0">
                  <a:pos x="3" y="43"/>
                </a:cxn>
                <a:cxn ang="0">
                  <a:pos x="1" y="40"/>
                </a:cxn>
                <a:cxn ang="0">
                  <a:pos x="0" y="35"/>
                </a:cxn>
                <a:cxn ang="0">
                  <a:pos x="0" y="30"/>
                </a:cxn>
                <a:cxn ang="0">
                  <a:pos x="4" y="29"/>
                </a:cxn>
                <a:cxn ang="0">
                  <a:pos x="10" y="27"/>
                </a:cxn>
                <a:cxn ang="0">
                  <a:pos x="14" y="24"/>
                </a:cxn>
                <a:cxn ang="0">
                  <a:pos x="19" y="20"/>
                </a:cxn>
                <a:cxn ang="0">
                  <a:pos x="26" y="10"/>
                </a:cxn>
                <a:cxn ang="0">
                  <a:pos x="33" y="0"/>
                </a:cxn>
                <a:cxn ang="0">
                  <a:pos x="46" y="1"/>
                </a:cxn>
                <a:cxn ang="0">
                  <a:pos x="52" y="2"/>
                </a:cxn>
                <a:cxn ang="0">
                  <a:pos x="56" y="3"/>
                </a:cxn>
                <a:cxn ang="0">
                  <a:pos x="66" y="0"/>
                </a:cxn>
                <a:cxn ang="0">
                  <a:pos x="65" y="13"/>
                </a:cxn>
                <a:cxn ang="0">
                  <a:pos x="63" y="24"/>
                </a:cxn>
                <a:cxn ang="0">
                  <a:pos x="60" y="36"/>
                </a:cxn>
                <a:cxn ang="0">
                  <a:pos x="59" y="48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8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286500" y="3286944"/>
              <a:ext cx="50800" cy="57150"/>
            </a:xfrm>
            <a:custGeom>
              <a:avLst/>
              <a:gdLst/>
              <a:ahLst/>
              <a:cxnLst>
                <a:cxn ang="0">
                  <a:pos x="0" y="44"/>
                </a:cxn>
                <a:cxn ang="0">
                  <a:pos x="20" y="74"/>
                </a:cxn>
                <a:cxn ang="0">
                  <a:pos x="37" y="69"/>
                </a:cxn>
                <a:cxn ang="0">
                  <a:pos x="51" y="65"/>
                </a:cxn>
                <a:cxn ang="0">
                  <a:pos x="64" y="59"/>
                </a:cxn>
                <a:cxn ang="0">
                  <a:pos x="74" y="53"/>
                </a:cxn>
                <a:cxn ang="0">
                  <a:pos x="78" y="49"/>
                </a:cxn>
                <a:cxn ang="0">
                  <a:pos x="83" y="45"/>
                </a:cxn>
                <a:cxn ang="0">
                  <a:pos x="86" y="41"/>
                </a:cxn>
                <a:cxn ang="0">
                  <a:pos x="88" y="37"/>
                </a:cxn>
                <a:cxn ang="0">
                  <a:pos x="90" y="32"/>
                </a:cxn>
                <a:cxn ang="0">
                  <a:pos x="91" y="26"/>
                </a:cxn>
                <a:cxn ang="0">
                  <a:pos x="93" y="19"/>
                </a:cxn>
                <a:cxn ang="0">
                  <a:pos x="94" y="13"/>
                </a:cxn>
                <a:cxn ang="0">
                  <a:pos x="99" y="12"/>
                </a:cxn>
                <a:cxn ang="0">
                  <a:pos x="106" y="9"/>
                </a:cxn>
                <a:cxn ang="0">
                  <a:pos x="108" y="7"/>
                </a:cxn>
                <a:cxn ang="0">
                  <a:pos x="111" y="5"/>
                </a:cxn>
                <a:cxn ang="0">
                  <a:pos x="112" y="3"/>
                </a:cxn>
                <a:cxn ang="0">
                  <a:pos x="113" y="0"/>
                </a:cxn>
                <a:cxn ang="0">
                  <a:pos x="98" y="4"/>
                </a:cxn>
                <a:cxn ang="0">
                  <a:pos x="82" y="8"/>
                </a:cxn>
                <a:cxn ang="0">
                  <a:pos x="65" y="13"/>
                </a:cxn>
                <a:cxn ang="0">
                  <a:pos x="49" y="19"/>
                </a:cxn>
                <a:cxn ang="0">
                  <a:pos x="20" y="33"/>
                </a:cxn>
                <a:cxn ang="0">
                  <a:pos x="0" y="44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9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894389" y="4079108"/>
              <a:ext cx="325437" cy="244475"/>
            </a:xfrm>
            <a:custGeom>
              <a:avLst/>
              <a:gdLst/>
              <a:ahLst/>
              <a:cxnLst>
                <a:cxn ang="0">
                  <a:pos x="98" y="452"/>
                </a:cxn>
                <a:cxn ang="0">
                  <a:pos x="54" y="440"/>
                </a:cxn>
                <a:cxn ang="0">
                  <a:pos x="21" y="429"/>
                </a:cxn>
                <a:cxn ang="0">
                  <a:pos x="5" y="413"/>
                </a:cxn>
                <a:cxn ang="0">
                  <a:pos x="0" y="363"/>
                </a:cxn>
                <a:cxn ang="0">
                  <a:pos x="5" y="309"/>
                </a:cxn>
                <a:cxn ang="0">
                  <a:pos x="23" y="273"/>
                </a:cxn>
                <a:cxn ang="0">
                  <a:pos x="56" y="228"/>
                </a:cxn>
                <a:cxn ang="0">
                  <a:pos x="121" y="204"/>
                </a:cxn>
                <a:cxn ang="0">
                  <a:pos x="166" y="188"/>
                </a:cxn>
                <a:cxn ang="0">
                  <a:pos x="235" y="173"/>
                </a:cxn>
                <a:cxn ang="0">
                  <a:pos x="262" y="153"/>
                </a:cxn>
                <a:cxn ang="0">
                  <a:pos x="267" y="136"/>
                </a:cxn>
                <a:cxn ang="0">
                  <a:pos x="292" y="120"/>
                </a:cxn>
                <a:cxn ang="0">
                  <a:pos x="332" y="115"/>
                </a:cxn>
                <a:cxn ang="0">
                  <a:pos x="359" y="101"/>
                </a:cxn>
                <a:cxn ang="0">
                  <a:pos x="389" y="67"/>
                </a:cxn>
                <a:cxn ang="0">
                  <a:pos x="425" y="22"/>
                </a:cxn>
                <a:cxn ang="0">
                  <a:pos x="450" y="6"/>
                </a:cxn>
                <a:cxn ang="0">
                  <a:pos x="486" y="0"/>
                </a:cxn>
                <a:cxn ang="0">
                  <a:pos x="507" y="29"/>
                </a:cxn>
                <a:cxn ang="0">
                  <a:pos x="532" y="53"/>
                </a:cxn>
                <a:cxn ang="0">
                  <a:pos x="553" y="107"/>
                </a:cxn>
                <a:cxn ang="0">
                  <a:pos x="579" y="159"/>
                </a:cxn>
                <a:cxn ang="0">
                  <a:pos x="613" y="172"/>
                </a:cxn>
                <a:cxn ang="0">
                  <a:pos x="628" y="193"/>
                </a:cxn>
                <a:cxn ang="0">
                  <a:pos x="650" y="233"/>
                </a:cxn>
                <a:cxn ang="0">
                  <a:pos x="702" y="279"/>
                </a:cxn>
                <a:cxn ang="0">
                  <a:pos x="741" y="315"/>
                </a:cxn>
                <a:cxn ang="0">
                  <a:pos x="711" y="345"/>
                </a:cxn>
                <a:cxn ang="0">
                  <a:pos x="691" y="342"/>
                </a:cxn>
                <a:cxn ang="0">
                  <a:pos x="679" y="321"/>
                </a:cxn>
                <a:cxn ang="0">
                  <a:pos x="651" y="330"/>
                </a:cxn>
                <a:cxn ang="0">
                  <a:pos x="639" y="352"/>
                </a:cxn>
                <a:cxn ang="0">
                  <a:pos x="604" y="356"/>
                </a:cxn>
                <a:cxn ang="0">
                  <a:pos x="553" y="356"/>
                </a:cxn>
                <a:cxn ang="0">
                  <a:pos x="522" y="365"/>
                </a:cxn>
                <a:cxn ang="0">
                  <a:pos x="496" y="387"/>
                </a:cxn>
                <a:cxn ang="0">
                  <a:pos x="486" y="394"/>
                </a:cxn>
                <a:cxn ang="0">
                  <a:pos x="426" y="400"/>
                </a:cxn>
                <a:cxn ang="0">
                  <a:pos x="396" y="392"/>
                </a:cxn>
                <a:cxn ang="0">
                  <a:pos x="349" y="354"/>
                </a:cxn>
                <a:cxn ang="0">
                  <a:pos x="319" y="345"/>
                </a:cxn>
                <a:cxn ang="0">
                  <a:pos x="291" y="355"/>
                </a:cxn>
                <a:cxn ang="0">
                  <a:pos x="266" y="377"/>
                </a:cxn>
                <a:cxn ang="0">
                  <a:pos x="227" y="437"/>
                </a:cxn>
                <a:cxn ang="0">
                  <a:pos x="150" y="439"/>
                </a:cxn>
                <a:cxn ang="0">
                  <a:pos x="135" y="448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0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830888" y="4247382"/>
              <a:ext cx="500062" cy="552450"/>
            </a:xfrm>
            <a:custGeom>
              <a:avLst/>
              <a:gdLst/>
              <a:ahLst/>
              <a:cxnLst>
                <a:cxn ang="0">
                  <a:pos x="902" y="57"/>
                </a:cxn>
                <a:cxn ang="0">
                  <a:pos x="993" y="66"/>
                </a:cxn>
                <a:cxn ang="0">
                  <a:pos x="1080" y="81"/>
                </a:cxn>
                <a:cxn ang="0">
                  <a:pos x="1126" y="175"/>
                </a:cxn>
                <a:cxn ang="0">
                  <a:pos x="1133" y="211"/>
                </a:cxn>
                <a:cxn ang="0">
                  <a:pos x="1058" y="272"/>
                </a:cxn>
                <a:cxn ang="0">
                  <a:pos x="1045" y="360"/>
                </a:cxn>
                <a:cxn ang="0">
                  <a:pos x="1003" y="440"/>
                </a:cxn>
                <a:cxn ang="0">
                  <a:pos x="990" y="476"/>
                </a:cxn>
                <a:cxn ang="0">
                  <a:pos x="1019" y="576"/>
                </a:cxn>
                <a:cxn ang="0">
                  <a:pos x="1026" y="664"/>
                </a:cxn>
                <a:cxn ang="0">
                  <a:pos x="1047" y="731"/>
                </a:cxn>
                <a:cxn ang="0">
                  <a:pos x="1079" y="765"/>
                </a:cxn>
                <a:cxn ang="0">
                  <a:pos x="1092" y="825"/>
                </a:cxn>
                <a:cxn ang="0">
                  <a:pos x="1040" y="844"/>
                </a:cxn>
                <a:cxn ang="0">
                  <a:pos x="997" y="856"/>
                </a:cxn>
                <a:cxn ang="0">
                  <a:pos x="960" y="992"/>
                </a:cxn>
                <a:cxn ang="0">
                  <a:pos x="930" y="1026"/>
                </a:cxn>
                <a:cxn ang="0">
                  <a:pos x="902" y="1031"/>
                </a:cxn>
                <a:cxn ang="0">
                  <a:pos x="840" y="1053"/>
                </a:cxn>
                <a:cxn ang="0">
                  <a:pos x="782" y="1037"/>
                </a:cxn>
                <a:cxn ang="0">
                  <a:pos x="743" y="1014"/>
                </a:cxn>
                <a:cxn ang="0">
                  <a:pos x="707" y="997"/>
                </a:cxn>
                <a:cxn ang="0">
                  <a:pos x="674" y="986"/>
                </a:cxn>
                <a:cxn ang="0">
                  <a:pos x="608" y="987"/>
                </a:cxn>
                <a:cxn ang="0">
                  <a:pos x="594" y="942"/>
                </a:cxn>
                <a:cxn ang="0">
                  <a:pos x="575" y="884"/>
                </a:cxn>
                <a:cxn ang="0">
                  <a:pos x="590" y="846"/>
                </a:cxn>
                <a:cxn ang="0">
                  <a:pos x="590" y="779"/>
                </a:cxn>
                <a:cxn ang="0">
                  <a:pos x="454" y="755"/>
                </a:cxn>
                <a:cxn ang="0">
                  <a:pos x="443" y="785"/>
                </a:cxn>
                <a:cxn ang="0">
                  <a:pos x="396" y="817"/>
                </a:cxn>
                <a:cxn ang="0">
                  <a:pos x="337" y="797"/>
                </a:cxn>
                <a:cxn ang="0">
                  <a:pos x="297" y="708"/>
                </a:cxn>
                <a:cxn ang="0">
                  <a:pos x="3" y="671"/>
                </a:cxn>
                <a:cxn ang="0">
                  <a:pos x="45" y="667"/>
                </a:cxn>
                <a:cxn ang="0">
                  <a:pos x="26" y="631"/>
                </a:cxn>
                <a:cxn ang="0">
                  <a:pos x="75" y="615"/>
                </a:cxn>
                <a:cxn ang="0">
                  <a:pos x="145" y="614"/>
                </a:cxn>
                <a:cxn ang="0">
                  <a:pos x="183" y="620"/>
                </a:cxn>
                <a:cxn ang="0">
                  <a:pos x="220" y="574"/>
                </a:cxn>
                <a:cxn ang="0">
                  <a:pos x="260" y="555"/>
                </a:cxn>
                <a:cxn ang="0">
                  <a:pos x="281" y="440"/>
                </a:cxn>
                <a:cxn ang="0">
                  <a:pos x="346" y="370"/>
                </a:cxn>
                <a:cxn ang="0">
                  <a:pos x="370" y="276"/>
                </a:cxn>
                <a:cxn ang="0">
                  <a:pos x="372" y="180"/>
                </a:cxn>
                <a:cxn ang="0">
                  <a:pos x="383" y="122"/>
                </a:cxn>
                <a:cxn ang="0">
                  <a:pos x="440" y="35"/>
                </a:cxn>
                <a:cxn ang="0">
                  <a:pos x="491" y="30"/>
                </a:cxn>
                <a:cxn ang="0">
                  <a:pos x="558" y="77"/>
                </a:cxn>
                <a:cxn ang="0">
                  <a:pos x="637" y="73"/>
                </a:cxn>
                <a:cxn ang="0">
                  <a:pos x="670" y="44"/>
                </a:cxn>
                <a:cxn ang="0">
                  <a:pos x="734" y="34"/>
                </a:cxn>
                <a:cxn ang="0">
                  <a:pos x="795" y="17"/>
                </a:cxn>
                <a:cxn ang="0">
                  <a:pos x="828" y="8"/>
                </a:cxn>
                <a:cxn ang="0">
                  <a:pos x="859" y="24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1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767388" y="4347395"/>
              <a:ext cx="55562" cy="55563"/>
            </a:xfrm>
            <a:custGeom>
              <a:avLst/>
              <a:gdLst/>
              <a:ahLst/>
              <a:cxnLst>
                <a:cxn ang="0">
                  <a:pos x="120" y="0"/>
                </a:cxn>
                <a:cxn ang="0">
                  <a:pos x="121" y="27"/>
                </a:cxn>
                <a:cxn ang="0">
                  <a:pos x="124" y="46"/>
                </a:cxn>
                <a:cxn ang="0">
                  <a:pos x="125" y="53"/>
                </a:cxn>
                <a:cxn ang="0">
                  <a:pos x="125" y="59"/>
                </a:cxn>
                <a:cxn ang="0">
                  <a:pos x="125" y="65"/>
                </a:cxn>
                <a:cxn ang="0">
                  <a:pos x="123" y="69"/>
                </a:cxn>
                <a:cxn ang="0">
                  <a:pos x="119" y="72"/>
                </a:cxn>
                <a:cxn ang="0">
                  <a:pos x="112" y="74"/>
                </a:cxn>
                <a:cxn ang="0">
                  <a:pos x="103" y="76"/>
                </a:cxn>
                <a:cxn ang="0">
                  <a:pos x="91" y="77"/>
                </a:cxn>
                <a:cxn ang="0">
                  <a:pos x="57" y="79"/>
                </a:cxn>
                <a:cxn ang="0">
                  <a:pos x="7" y="81"/>
                </a:cxn>
                <a:cxn ang="0">
                  <a:pos x="5" y="79"/>
                </a:cxn>
                <a:cxn ang="0">
                  <a:pos x="3" y="72"/>
                </a:cxn>
                <a:cxn ang="0">
                  <a:pos x="1" y="59"/>
                </a:cxn>
                <a:cxn ang="0">
                  <a:pos x="0" y="43"/>
                </a:cxn>
                <a:cxn ang="0">
                  <a:pos x="0" y="37"/>
                </a:cxn>
                <a:cxn ang="0">
                  <a:pos x="1" y="31"/>
                </a:cxn>
                <a:cxn ang="0">
                  <a:pos x="2" y="25"/>
                </a:cxn>
                <a:cxn ang="0">
                  <a:pos x="4" y="20"/>
                </a:cxn>
                <a:cxn ang="0">
                  <a:pos x="8" y="15"/>
                </a:cxn>
                <a:cxn ang="0">
                  <a:pos x="11" y="10"/>
                </a:cxn>
                <a:cxn ang="0">
                  <a:pos x="14" y="5"/>
                </a:cxn>
                <a:cxn ang="0">
                  <a:pos x="20" y="0"/>
                </a:cxn>
                <a:cxn ang="0">
                  <a:pos x="120" y="0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2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749925" y="4347395"/>
              <a:ext cx="152400" cy="201613"/>
            </a:xfrm>
            <a:custGeom>
              <a:avLst/>
              <a:gdLst/>
              <a:ahLst/>
              <a:cxnLst>
                <a:cxn ang="0">
                  <a:pos x="262" y="15"/>
                </a:cxn>
                <a:cxn ang="0">
                  <a:pos x="257" y="37"/>
                </a:cxn>
                <a:cxn ang="0">
                  <a:pos x="264" y="51"/>
                </a:cxn>
                <a:cxn ang="0">
                  <a:pos x="283" y="60"/>
                </a:cxn>
                <a:cxn ang="0">
                  <a:pos x="319" y="55"/>
                </a:cxn>
                <a:cxn ang="0">
                  <a:pos x="332" y="57"/>
                </a:cxn>
                <a:cxn ang="0">
                  <a:pos x="340" y="68"/>
                </a:cxn>
                <a:cxn ang="0">
                  <a:pos x="345" y="83"/>
                </a:cxn>
                <a:cxn ang="0">
                  <a:pos x="351" y="94"/>
                </a:cxn>
                <a:cxn ang="0">
                  <a:pos x="345" y="108"/>
                </a:cxn>
                <a:cxn ang="0">
                  <a:pos x="320" y="136"/>
                </a:cxn>
                <a:cxn ang="0">
                  <a:pos x="348" y="175"/>
                </a:cxn>
                <a:cxn ang="0">
                  <a:pos x="355" y="202"/>
                </a:cxn>
                <a:cxn ang="0">
                  <a:pos x="353" y="219"/>
                </a:cxn>
                <a:cxn ang="0">
                  <a:pos x="345" y="254"/>
                </a:cxn>
                <a:cxn ang="0">
                  <a:pos x="333" y="271"/>
                </a:cxn>
                <a:cxn ang="0">
                  <a:pos x="312" y="280"/>
                </a:cxn>
                <a:cxn ang="0">
                  <a:pos x="286" y="282"/>
                </a:cxn>
                <a:cxn ang="0">
                  <a:pos x="270" y="282"/>
                </a:cxn>
                <a:cxn ang="0">
                  <a:pos x="252" y="265"/>
                </a:cxn>
                <a:cxn ang="0">
                  <a:pos x="240" y="259"/>
                </a:cxn>
                <a:cxn ang="0">
                  <a:pos x="221" y="269"/>
                </a:cxn>
                <a:cxn ang="0">
                  <a:pos x="205" y="279"/>
                </a:cxn>
                <a:cxn ang="0">
                  <a:pos x="194" y="285"/>
                </a:cxn>
                <a:cxn ang="0">
                  <a:pos x="185" y="298"/>
                </a:cxn>
                <a:cxn ang="0">
                  <a:pos x="187" y="321"/>
                </a:cxn>
                <a:cxn ang="0">
                  <a:pos x="207" y="358"/>
                </a:cxn>
                <a:cxn ang="0">
                  <a:pos x="195" y="353"/>
                </a:cxn>
                <a:cxn ang="0">
                  <a:pos x="177" y="355"/>
                </a:cxn>
                <a:cxn ang="0">
                  <a:pos x="162" y="365"/>
                </a:cxn>
                <a:cxn ang="0">
                  <a:pos x="146" y="388"/>
                </a:cxn>
                <a:cxn ang="0">
                  <a:pos x="123" y="370"/>
                </a:cxn>
                <a:cxn ang="0">
                  <a:pos x="113" y="358"/>
                </a:cxn>
                <a:cxn ang="0">
                  <a:pos x="96" y="324"/>
                </a:cxn>
                <a:cxn ang="0">
                  <a:pos x="50" y="280"/>
                </a:cxn>
                <a:cxn ang="0">
                  <a:pos x="22" y="254"/>
                </a:cxn>
                <a:cxn ang="0">
                  <a:pos x="5" y="223"/>
                </a:cxn>
                <a:cxn ang="0">
                  <a:pos x="1" y="187"/>
                </a:cxn>
                <a:cxn ang="0">
                  <a:pos x="11" y="162"/>
                </a:cxn>
                <a:cxn ang="0">
                  <a:pos x="41" y="134"/>
                </a:cxn>
                <a:cxn ang="0">
                  <a:pos x="54" y="116"/>
                </a:cxn>
                <a:cxn ang="0">
                  <a:pos x="56" y="91"/>
                </a:cxn>
                <a:cxn ang="0">
                  <a:pos x="108" y="83"/>
                </a:cxn>
                <a:cxn ang="0">
                  <a:pos x="156" y="80"/>
                </a:cxn>
                <a:cxn ang="0">
                  <a:pos x="172" y="73"/>
                </a:cxn>
                <a:cxn ang="0">
                  <a:pos x="177" y="63"/>
                </a:cxn>
                <a:cxn ang="0">
                  <a:pos x="174" y="41"/>
                </a:cxn>
                <a:cxn ang="0">
                  <a:pos x="167" y="12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3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283325" y="4752207"/>
              <a:ext cx="260350" cy="520700"/>
            </a:xfrm>
            <a:custGeom>
              <a:avLst/>
              <a:gdLst/>
              <a:ahLst/>
              <a:cxnLst>
                <a:cxn ang="0">
                  <a:pos x="0" y="259"/>
                </a:cxn>
                <a:cxn ang="0">
                  <a:pos x="182" y="224"/>
                </a:cxn>
                <a:cxn ang="0">
                  <a:pos x="230" y="240"/>
                </a:cxn>
                <a:cxn ang="0">
                  <a:pos x="258" y="258"/>
                </a:cxn>
                <a:cxn ang="0">
                  <a:pos x="252" y="296"/>
                </a:cxn>
                <a:cxn ang="0">
                  <a:pos x="234" y="327"/>
                </a:cxn>
                <a:cxn ang="0">
                  <a:pos x="250" y="357"/>
                </a:cxn>
                <a:cxn ang="0">
                  <a:pos x="294" y="365"/>
                </a:cxn>
                <a:cxn ang="0">
                  <a:pos x="319" y="340"/>
                </a:cxn>
                <a:cxn ang="0">
                  <a:pos x="338" y="317"/>
                </a:cxn>
                <a:cxn ang="0">
                  <a:pos x="332" y="261"/>
                </a:cxn>
                <a:cxn ang="0">
                  <a:pos x="314" y="204"/>
                </a:cxn>
                <a:cxn ang="0">
                  <a:pos x="271" y="157"/>
                </a:cxn>
                <a:cxn ang="0">
                  <a:pos x="254" y="125"/>
                </a:cxn>
                <a:cxn ang="0">
                  <a:pos x="270" y="62"/>
                </a:cxn>
                <a:cxn ang="0">
                  <a:pos x="320" y="55"/>
                </a:cxn>
                <a:cxn ang="0">
                  <a:pos x="418" y="60"/>
                </a:cxn>
                <a:cxn ang="0">
                  <a:pos x="521" y="36"/>
                </a:cxn>
                <a:cxn ang="0">
                  <a:pos x="597" y="3"/>
                </a:cxn>
                <a:cxn ang="0">
                  <a:pos x="597" y="30"/>
                </a:cxn>
                <a:cxn ang="0">
                  <a:pos x="597" y="126"/>
                </a:cxn>
                <a:cxn ang="0">
                  <a:pos x="592" y="228"/>
                </a:cxn>
                <a:cxn ang="0">
                  <a:pos x="585" y="276"/>
                </a:cxn>
                <a:cxn ang="0">
                  <a:pos x="550" y="337"/>
                </a:cxn>
                <a:cxn ang="0">
                  <a:pos x="468" y="402"/>
                </a:cxn>
                <a:cxn ang="0">
                  <a:pos x="374" y="426"/>
                </a:cxn>
                <a:cxn ang="0">
                  <a:pos x="353" y="464"/>
                </a:cxn>
                <a:cxn ang="0">
                  <a:pos x="293" y="507"/>
                </a:cxn>
                <a:cxn ang="0">
                  <a:pos x="243" y="549"/>
                </a:cxn>
                <a:cxn ang="0">
                  <a:pos x="229" y="582"/>
                </a:cxn>
                <a:cxn ang="0">
                  <a:pos x="237" y="619"/>
                </a:cxn>
                <a:cxn ang="0">
                  <a:pos x="267" y="654"/>
                </a:cxn>
                <a:cxn ang="0">
                  <a:pos x="254" y="694"/>
                </a:cxn>
                <a:cxn ang="0">
                  <a:pos x="265" y="729"/>
                </a:cxn>
                <a:cxn ang="0">
                  <a:pos x="267" y="790"/>
                </a:cxn>
                <a:cxn ang="0">
                  <a:pos x="256" y="814"/>
                </a:cxn>
                <a:cxn ang="0">
                  <a:pos x="193" y="873"/>
                </a:cxn>
                <a:cxn ang="0">
                  <a:pos x="147" y="887"/>
                </a:cxn>
                <a:cxn ang="0">
                  <a:pos x="102" y="894"/>
                </a:cxn>
                <a:cxn ang="0">
                  <a:pos x="87" y="913"/>
                </a:cxn>
                <a:cxn ang="0">
                  <a:pos x="95" y="939"/>
                </a:cxn>
                <a:cxn ang="0">
                  <a:pos x="91" y="992"/>
                </a:cxn>
                <a:cxn ang="0">
                  <a:pos x="74" y="810"/>
                </a:cxn>
                <a:cxn ang="0">
                  <a:pos x="58" y="765"/>
                </a:cxn>
                <a:cxn ang="0">
                  <a:pos x="41" y="720"/>
                </a:cxn>
                <a:cxn ang="0">
                  <a:pos x="108" y="666"/>
                </a:cxn>
                <a:cxn ang="0">
                  <a:pos x="109" y="614"/>
                </a:cxn>
                <a:cxn ang="0">
                  <a:pos x="149" y="571"/>
                </a:cxn>
                <a:cxn ang="0">
                  <a:pos x="174" y="526"/>
                </a:cxn>
                <a:cxn ang="0">
                  <a:pos x="168" y="441"/>
                </a:cxn>
                <a:cxn ang="0">
                  <a:pos x="152" y="364"/>
                </a:cxn>
                <a:cxn ang="0">
                  <a:pos x="81" y="341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4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018214" y="4991919"/>
              <a:ext cx="238125" cy="287338"/>
            </a:xfrm>
            <a:custGeom>
              <a:avLst/>
              <a:gdLst/>
              <a:ahLst/>
              <a:cxnLst>
                <a:cxn ang="0">
                  <a:pos x="30" y="428"/>
                </a:cxn>
                <a:cxn ang="0">
                  <a:pos x="46" y="454"/>
                </a:cxn>
                <a:cxn ang="0">
                  <a:pos x="46" y="512"/>
                </a:cxn>
                <a:cxn ang="0">
                  <a:pos x="48" y="527"/>
                </a:cxn>
                <a:cxn ang="0">
                  <a:pos x="55" y="537"/>
                </a:cxn>
                <a:cxn ang="0">
                  <a:pos x="68" y="545"/>
                </a:cxn>
                <a:cxn ang="0">
                  <a:pos x="100" y="549"/>
                </a:cxn>
                <a:cxn ang="0">
                  <a:pos x="113" y="546"/>
                </a:cxn>
                <a:cxn ang="0">
                  <a:pos x="130" y="533"/>
                </a:cxn>
                <a:cxn ang="0">
                  <a:pos x="143" y="507"/>
                </a:cxn>
                <a:cxn ang="0">
                  <a:pos x="154" y="477"/>
                </a:cxn>
                <a:cxn ang="0">
                  <a:pos x="169" y="454"/>
                </a:cxn>
                <a:cxn ang="0">
                  <a:pos x="183" y="445"/>
                </a:cxn>
                <a:cxn ang="0">
                  <a:pos x="201" y="444"/>
                </a:cxn>
                <a:cxn ang="0">
                  <a:pos x="222" y="448"/>
                </a:cxn>
                <a:cxn ang="0">
                  <a:pos x="252" y="461"/>
                </a:cxn>
                <a:cxn ang="0">
                  <a:pos x="272" y="468"/>
                </a:cxn>
                <a:cxn ang="0">
                  <a:pos x="297" y="469"/>
                </a:cxn>
                <a:cxn ang="0">
                  <a:pos x="319" y="464"/>
                </a:cxn>
                <a:cxn ang="0">
                  <a:pos x="332" y="453"/>
                </a:cxn>
                <a:cxn ang="0">
                  <a:pos x="359" y="388"/>
                </a:cxn>
                <a:cxn ang="0">
                  <a:pos x="382" y="363"/>
                </a:cxn>
                <a:cxn ang="0">
                  <a:pos x="447" y="314"/>
                </a:cxn>
                <a:cxn ang="0">
                  <a:pos x="527" y="264"/>
                </a:cxn>
                <a:cxn ang="0">
                  <a:pos x="528" y="232"/>
                </a:cxn>
                <a:cxn ang="0">
                  <a:pos x="503" y="218"/>
                </a:cxn>
                <a:cxn ang="0">
                  <a:pos x="485" y="199"/>
                </a:cxn>
                <a:cxn ang="0">
                  <a:pos x="460" y="157"/>
                </a:cxn>
                <a:cxn ang="0">
                  <a:pos x="440" y="132"/>
                </a:cxn>
                <a:cxn ang="0">
                  <a:pos x="377" y="76"/>
                </a:cxn>
                <a:cxn ang="0">
                  <a:pos x="359" y="53"/>
                </a:cxn>
                <a:cxn ang="0">
                  <a:pos x="348" y="24"/>
                </a:cxn>
                <a:cxn ang="0">
                  <a:pos x="319" y="0"/>
                </a:cxn>
                <a:cxn ang="0">
                  <a:pos x="244" y="2"/>
                </a:cxn>
                <a:cxn ang="0">
                  <a:pos x="176" y="13"/>
                </a:cxn>
                <a:cxn ang="0">
                  <a:pos x="95" y="22"/>
                </a:cxn>
                <a:cxn ang="0">
                  <a:pos x="71" y="27"/>
                </a:cxn>
                <a:cxn ang="0">
                  <a:pos x="67" y="38"/>
                </a:cxn>
                <a:cxn ang="0">
                  <a:pos x="73" y="56"/>
                </a:cxn>
                <a:cxn ang="0">
                  <a:pos x="84" y="74"/>
                </a:cxn>
                <a:cxn ang="0">
                  <a:pos x="86" y="107"/>
                </a:cxn>
                <a:cxn ang="0">
                  <a:pos x="74" y="171"/>
                </a:cxn>
                <a:cxn ang="0">
                  <a:pos x="62" y="237"/>
                </a:cxn>
                <a:cxn ang="0">
                  <a:pos x="47" y="263"/>
                </a:cxn>
                <a:cxn ang="0">
                  <a:pos x="26" y="277"/>
                </a:cxn>
                <a:cxn ang="0">
                  <a:pos x="5" y="307"/>
                </a:cxn>
                <a:cxn ang="0">
                  <a:pos x="1" y="339"/>
                </a:cxn>
                <a:cxn ang="0">
                  <a:pos x="8" y="367"/>
                </a:cxn>
                <a:cxn ang="0">
                  <a:pos x="8" y="391"/>
                </a:cxn>
                <a:cxn ang="0">
                  <a:pos x="0" y="408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5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591300" y="4793483"/>
              <a:ext cx="196850" cy="434975"/>
            </a:xfrm>
            <a:custGeom>
              <a:avLst/>
              <a:gdLst/>
              <a:ahLst/>
              <a:cxnLst>
                <a:cxn ang="0">
                  <a:pos x="112" y="261"/>
                </a:cxn>
                <a:cxn ang="0">
                  <a:pos x="138" y="248"/>
                </a:cxn>
                <a:cxn ang="0">
                  <a:pos x="165" y="240"/>
                </a:cxn>
                <a:cxn ang="0">
                  <a:pos x="192" y="232"/>
                </a:cxn>
                <a:cxn ang="0">
                  <a:pos x="215" y="217"/>
                </a:cxn>
                <a:cxn ang="0">
                  <a:pos x="232" y="200"/>
                </a:cxn>
                <a:cxn ang="0">
                  <a:pos x="232" y="179"/>
                </a:cxn>
                <a:cxn ang="0">
                  <a:pos x="265" y="178"/>
                </a:cxn>
                <a:cxn ang="0">
                  <a:pos x="282" y="173"/>
                </a:cxn>
                <a:cxn ang="0">
                  <a:pos x="298" y="162"/>
                </a:cxn>
                <a:cxn ang="0">
                  <a:pos x="320" y="133"/>
                </a:cxn>
                <a:cxn ang="0">
                  <a:pos x="350" y="75"/>
                </a:cxn>
                <a:cxn ang="0">
                  <a:pos x="378" y="0"/>
                </a:cxn>
                <a:cxn ang="0">
                  <a:pos x="385" y="19"/>
                </a:cxn>
                <a:cxn ang="0">
                  <a:pos x="407" y="47"/>
                </a:cxn>
                <a:cxn ang="0">
                  <a:pos x="448" y="85"/>
                </a:cxn>
                <a:cxn ang="0">
                  <a:pos x="440" y="103"/>
                </a:cxn>
                <a:cxn ang="0">
                  <a:pos x="444" y="138"/>
                </a:cxn>
                <a:cxn ang="0">
                  <a:pos x="452" y="185"/>
                </a:cxn>
                <a:cxn ang="0">
                  <a:pos x="448" y="206"/>
                </a:cxn>
                <a:cxn ang="0">
                  <a:pos x="428" y="234"/>
                </a:cxn>
                <a:cxn ang="0">
                  <a:pos x="409" y="261"/>
                </a:cxn>
                <a:cxn ang="0">
                  <a:pos x="405" y="283"/>
                </a:cxn>
                <a:cxn ang="0">
                  <a:pos x="393" y="308"/>
                </a:cxn>
                <a:cxn ang="0">
                  <a:pos x="383" y="318"/>
                </a:cxn>
                <a:cxn ang="0">
                  <a:pos x="377" y="332"/>
                </a:cxn>
                <a:cxn ang="0">
                  <a:pos x="368" y="364"/>
                </a:cxn>
                <a:cxn ang="0">
                  <a:pos x="338" y="427"/>
                </a:cxn>
                <a:cxn ang="0">
                  <a:pos x="321" y="470"/>
                </a:cxn>
                <a:cxn ang="0">
                  <a:pos x="318" y="500"/>
                </a:cxn>
                <a:cxn ang="0">
                  <a:pos x="310" y="531"/>
                </a:cxn>
                <a:cxn ang="0">
                  <a:pos x="281" y="602"/>
                </a:cxn>
                <a:cxn ang="0">
                  <a:pos x="260" y="637"/>
                </a:cxn>
                <a:cxn ang="0">
                  <a:pos x="242" y="655"/>
                </a:cxn>
                <a:cxn ang="0">
                  <a:pos x="232" y="660"/>
                </a:cxn>
                <a:cxn ang="0">
                  <a:pos x="228" y="714"/>
                </a:cxn>
                <a:cxn ang="0">
                  <a:pos x="215" y="759"/>
                </a:cxn>
                <a:cxn ang="0">
                  <a:pos x="191" y="795"/>
                </a:cxn>
                <a:cxn ang="0">
                  <a:pos x="157" y="819"/>
                </a:cxn>
                <a:cxn ang="0">
                  <a:pos x="110" y="831"/>
                </a:cxn>
                <a:cxn ang="0">
                  <a:pos x="80" y="827"/>
                </a:cxn>
                <a:cxn ang="0">
                  <a:pos x="73" y="817"/>
                </a:cxn>
                <a:cxn ang="0">
                  <a:pos x="50" y="810"/>
                </a:cxn>
                <a:cxn ang="0">
                  <a:pos x="26" y="798"/>
                </a:cxn>
                <a:cxn ang="0">
                  <a:pos x="12" y="777"/>
                </a:cxn>
                <a:cxn ang="0">
                  <a:pos x="3" y="752"/>
                </a:cxn>
                <a:cxn ang="0">
                  <a:pos x="0" y="708"/>
                </a:cxn>
                <a:cxn ang="0">
                  <a:pos x="4" y="694"/>
                </a:cxn>
                <a:cxn ang="0">
                  <a:pos x="19" y="678"/>
                </a:cxn>
                <a:cxn ang="0">
                  <a:pos x="11" y="672"/>
                </a:cxn>
                <a:cxn ang="0">
                  <a:pos x="0" y="652"/>
                </a:cxn>
                <a:cxn ang="0">
                  <a:pos x="5" y="628"/>
                </a:cxn>
                <a:cxn ang="0">
                  <a:pos x="8" y="610"/>
                </a:cxn>
                <a:cxn ang="0">
                  <a:pos x="5" y="591"/>
                </a:cxn>
                <a:cxn ang="0">
                  <a:pos x="18" y="587"/>
                </a:cxn>
                <a:cxn ang="0">
                  <a:pos x="43" y="568"/>
                </a:cxn>
                <a:cxn ang="0">
                  <a:pos x="63" y="538"/>
                </a:cxn>
                <a:cxn ang="0">
                  <a:pos x="76" y="506"/>
                </a:cxn>
                <a:cxn ang="0">
                  <a:pos x="86" y="462"/>
                </a:cxn>
                <a:cxn ang="0">
                  <a:pos x="83" y="438"/>
                </a:cxn>
                <a:cxn ang="0">
                  <a:pos x="70" y="408"/>
                </a:cxn>
                <a:cxn ang="0">
                  <a:pos x="56" y="382"/>
                </a:cxn>
                <a:cxn ang="0">
                  <a:pos x="53" y="363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6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267451" y="4491858"/>
              <a:ext cx="36513" cy="66675"/>
            </a:xfrm>
            <a:custGeom>
              <a:avLst/>
              <a:gdLst/>
              <a:ahLst/>
              <a:cxnLst>
                <a:cxn ang="0">
                  <a:pos x="80" y="2"/>
                </a:cxn>
                <a:cxn ang="0">
                  <a:pos x="80" y="101"/>
                </a:cxn>
                <a:cxn ang="0">
                  <a:pos x="78" y="104"/>
                </a:cxn>
                <a:cxn ang="0">
                  <a:pos x="75" y="107"/>
                </a:cxn>
                <a:cxn ang="0">
                  <a:pos x="70" y="109"/>
                </a:cxn>
                <a:cxn ang="0">
                  <a:pos x="67" y="111"/>
                </a:cxn>
                <a:cxn ang="0">
                  <a:pos x="58" y="114"/>
                </a:cxn>
                <a:cxn ang="0">
                  <a:pos x="48" y="116"/>
                </a:cxn>
                <a:cxn ang="0">
                  <a:pos x="36" y="117"/>
                </a:cxn>
                <a:cxn ang="0">
                  <a:pos x="25" y="119"/>
                </a:cxn>
                <a:cxn ang="0">
                  <a:pos x="13" y="123"/>
                </a:cxn>
                <a:cxn ang="0">
                  <a:pos x="0" y="126"/>
                </a:cxn>
                <a:cxn ang="0">
                  <a:pos x="7" y="40"/>
                </a:cxn>
                <a:cxn ang="0">
                  <a:pos x="23" y="27"/>
                </a:cxn>
                <a:cxn ang="0">
                  <a:pos x="41" y="12"/>
                </a:cxn>
                <a:cxn ang="0">
                  <a:pos x="51" y="5"/>
                </a:cxn>
                <a:cxn ang="0">
                  <a:pos x="60" y="1"/>
                </a:cxn>
                <a:cxn ang="0">
                  <a:pos x="65" y="0"/>
                </a:cxn>
                <a:cxn ang="0">
                  <a:pos x="70" y="0"/>
                </a:cxn>
                <a:cxn ang="0">
                  <a:pos x="75" y="1"/>
                </a:cxn>
                <a:cxn ang="0">
                  <a:pos x="80" y="2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7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256338" y="4452170"/>
              <a:ext cx="55562" cy="60325"/>
            </a:xfrm>
            <a:custGeom>
              <a:avLst/>
              <a:gdLst/>
              <a:ahLst/>
              <a:cxnLst>
                <a:cxn ang="0">
                  <a:pos x="113" y="0"/>
                </a:cxn>
                <a:cxn ang="0">
                  <a:pos x="116" y="15"/>
                </a:cxn>
                <a:cxn ang="0">
                  <a:pos x="122" y="35"/>
                </a:cxn>
                <a:cxn ang="0">
                  <a:pos x="124" y="45"/>
                </a:cxn>
                <a:cxn ang="0">
                  <a:pos x="124" y="54"/>
                </a:cxn>
                <a:cxn ang="0">
                  <a:pos x="124" y="59"/>
                </a:cxn>
                <a:cxn ang="0">
                  <a:pos x="123" y="64"/>
                </a:cxn>
                <a:cxn ang="0">
                  <a:pos x="122" y="69"/>
                </a:cxn>
                <a:cxn ang="0">
                  <a:pos x="119" y="73"/>
                </a:cxn>
                <a:cxn ang="0">
                  <a:pos x="114" y="72"/>
                </a:cxn>
                <a:cxn ang="0">
                  <a:pos x="108" y="71"/>
                </a:cxn>
                <a:cxn ang="0">
                  <a:pos x="103" y="72"/>
                </a:cxn>
                <a:cxn ang="0">
                  <a:pos x="96" y="73"/>
                </a:cxn>
                <a:cxn ang="0">
                  <a:pos x="83" y="78"/>
                </a:cxn>
                <a:cxn ang="0">
                  <a:pos x="71" y="85"/>
                </a:cxn>
                <a:cxn ang="0">
                  <a:pos x="46" y="103"/>
                </a:cxn>
                <a:cxn ang="0">
                  <a:pos x="26" y="117"/>
                </a:cxn>
                <a:cxn ang="0">
                  <a:pos x="23" y="112"/>
                </a:cxn>
                <a:cxn ang="0">
                  <a:pos x="13" y="101"/>
                </a:cxn>
                <a:cxn ang="0">
                  <a:pos x="4" y="89"/>
                </a:cxn>
                <a:cxn ang="0">
                  <a:pos x="0" y="79"/>
                </a:cxn>
                <a:cxn ang="0">
                  <a:pos x="1" y="76"/>
                </a:cxn>
                <a:cxn ang="0">
                  <a:pos x="2" y="72"/>
                </a:cxn>
                <a:cxn ang="0">
                  <a:pos x="5" y="67"/>
                </a:cxn>
                <a:cxn ang="0">
                  <a:pos x="9" y="62"/>
                </a:cxn>
                <a:cxn ang="0">
                  <a:pos x="17" y="52"/>
                </a:cxn>
                <a:cxn ang="0">
                  <a:pos x="27" y="42"/>
                </a:cxn>
                <a:cxn ang="0">
                  <a:pos x="48" y="22"/>
                </a:cxn>
                <a:cxn ang="0">
                  <a:pos x="60" y="12"/>
                </a:cxn>
                <a:cxn ang="0">
                  <a:pos x="73" y="12"/>
                </a:cxn>
                <a:cxn ang="0">
                  <a:pos x="86" y="12"/>
                </a:cxn>
                <a:cxn ang="0">
                  <a:pos x="100" y="6"/>
                </a:cxn>
                <a:cxn ang="0">
                  <a:pos x="113" y="0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8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565900" y="3152008"/>
              <a:ext cx="503238" cy="473075"/>
            </a:xfrm>
            <a:custGeom>
              <a:avLst/>
              <a:gdLst/>
              <a:ahLst/>
              <a:cxnLst>
                <a:cxn ang="0">
                  <a:pos x="928" y="191"/>
                </a:cxn>
                <a:cxn ang="0">
                  <a:pos x="859" y="162"/>
                </a:cxn>
                <a:cxn ang="0">
                  <a:pos x="773" y="111"/>
                </a:cxn>
                <a:cxn ang="0">
                  <a:pos x="617" y="104"/>
                </a:cxn>
                <a:cxn ang="0">
                  <a:pos x="551" y="154"/>
                </a:cxn>
                <a:cxn ang="0">
                  <a:pos x="504" y="179"/>
                </a:cxn>
                <a:cxn ang="0">
                  <a:pos x="426" y="197"/>
                </a:cxn>
                <a:cxn ang="0">
                  <a:pos x="383" y="199"/>
                </a:cxn>
                <a:cxn ang="0">
                  <a:pos x="355" y="173"/>
                </a:cxn>
                <a:cxn ang="0">
                  <a:pos x="260" y="136"/>
                </a:cxn>
                <a:cxn ang="0">
                  <a:pos x="228" y="86"/>
                </a:cxn>
                <a:cxn ang="0">
                  <a:pos x="220" y="23"/>
                </a:cxn>
                <a:cxn ang="0">
                  <a:pos x="188" y="1"/>
                </a:cxn>
                <a:cxn ang="0">
                  <a:pos x="155" y="21"/>
                </a:cxn>
                <a:cxn ang="0">
                  <a:pos x="136" y="67"/>
                </a:cxn>
                <a:cxn ang="0">
                  <a:pos x="79" y="54"/>
                </a:cxn>
                <a:cxn ang="0">
                  <a:pos x="4" y="16"/>
                </a:cxn>
                <a:cxn ang="0">
                  <a:pos x="5" y="72"/>
                </a:cxn>
                <a:cxn ang="0">
                  <a:pos x="45" y="146"/>
                </a:cxn>
                <a:cxn ang="0">
                  <a:pos x="73" y="205"/>
                </a:cxn>
                <a:cxn ang="0">
                  <a:pos x="135" y="284"/>
                </a:cxn>
                <a:cxn ang="0">
                  <a:pos x="122" y="316"/>
                </a:cxn>
                <a:cxn ang="0">
                  <a:pos x="133" y="370"/>
                </a:cxn>
                <a:cxn ang="0">
                  <a:pos x="188" y="428"/>
                </a:cxn>
                <a:cxn ang="0">
                  <a:pos x="259" y="456"/>
                </a:cxn>
                <a:cxn ang="0">
                  <a:pos x="259" y="524"/>
                </a:cxn>
                <a:cxn ang="0">
                  <a:pos x="335" y="581"/>
                </a:cxn>
                <a:cxn ang="0">
                  <a:pos x="423" y="664"/>
                </a:cxn>
                <a:cxn ang="0">
                  <a:pos x="471" y="720"/>
                </a:cxn>
                <a:cxn ang="0">
                  <a:pos x="504" y="733"/>
                </a:cxn>
                <a:cxn ang="0">
                  <a:pos x="542" y="755"/>
                </a:cxn>
                <a:cxn ang="0">
                  <a:pos x="598" y="787"/>
                </a:cxn>
                <a:cxn ang="0">
                  <a:pos x="685" y="795"/>
                </a:cxn>
                <a:cxn ang="0">
                  <a:pos x="732" y="780"/>
                </a:cxn>
                <a:cxn ang="0">
                  <a:pos x="779" y="764"/>
                </a:cxn>
                <a:cxn ang="0">
                  <a:pos x="801" y="796"/>
                </a:cxn>
                <a:cxn ang="0">
                  <a:pos x="813" y="857"/>
                </a:cxn>
                <a:cxn ang="0">
                  <a:pos x="874" y="874"/>
                </a:cxn>
                <a:cxn ang="0">
                  <a:pos x="1011" y="892"/>
                </a:cxn>
                <a:cxn ang="0">
                  <a:pos x="1091" y="879"/>
                </a:cxn>
                <a:cxn ang="0">
                  <a:pos x="1099" y="831"/>
                </a:cxn>
                <a:cxn ang="0">
                  <a:pos x="1156" y="770"/>
                </a:cxn>
                <a:cxn ang="0">
                  <a:pos x="1132" y="750"/>
                </a:cxn>
                <a:cxn ang="0">
                  <a:pos x="1096" y="708"/>
                </a:cxn>
                <a:cxn ang="0">
                  <a:pos x="1031" y="643"/>
                </a:cxn>
                <a:cxn ang="0">
                  <a:pos x="1018" y="603"/>
                </a:cxn>
                <a:cxn ang="0">
                  <a:pos x="1044" y="559"/>
                </a:cxn>
                <a:cxn ang="0">
                  <a:pos x="1048" y="526"/>
                </a:cxn>
                <a:cxn ang="0">
                  <a:pos x="1030" y="512"/>
                </a:cxn>
                <a:cxn ang="0">
                  <a:pos x="983" y="507"/>
                </a:cxn>
                <a:cxn ang="0">
                  <a:pos x="954" y="453"/>
                </a:cxn>
                <a:cxn ang="0">
                  <a:pos x="937" y="373"/>
                </a:cxn>
                <a:cxn ang="0">
                  <a:pos x="924" y="357"/>
                </a:cxn>
                <a:cxn ang="0">
                  <a:pos x="940" y="334"/>
                </a:cxn>
                <a:cxn ang="0">
                  <a:pos x="960" y="293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9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589713" y="3809232"/>
              <a:ext cx="247650" cy="228600"/>
            </a:xfrm>
            <a:custGeom>
              <a:avLst/>
              <a:gdLst/>
              <a:ahLst/>
              <a:cxnLst>
                <a:cxn ang="0">
                  <a:pos x="26" y="190"/>
                </a:cxn>
                <a:cxn ang="0">
                  <a:pos x="37" y="177"/>
                </a:cxn>
                <a:cxn ang="0">
                  <a:pos x="41" y="164"/>
                </a:cxn>
                <a:cxn ang="0">
                  <a:pos x="39" y="129"/>
                </a:cxn>
                <a:cxn ang="0">
                  <a:pos x="44" y="120"/>
                </a:cxn>
                <a:cxn ang="0">
                  <a:pos x="55" y="112"/>
                </a:cxn>
                <a:cxn ang="0">
                  <a:pos x="68" y="107"/>
                </a:cxn>
                <a:cxn ang="0">
                  <a:pos x="80" y="104"/>
                </a:cxn>
                <a:cxn ang="0">
                  <a:pos x="103" y="106"/>
                </a:cxn>
                <a:cxn ang="0">
                  <a:pos x="124" y="109"/>
                </a:cxn>
                <a:cxn ang="0">
                  <a:pos x="158" y="120"/>
                </a:cxn>
                <a:cxn ang="0">
                  <a:pos x="184" y="135"/>
                </a:cxn>
                <a:cxn ang="0">
                  <a:pos x="206" y="154"/>
                </a:cxn>
                <a:cxn ang="0">
                  <a:pos x="254" y="92"/>
                </a:cxn>
                <a:cxn ang="0">
                  <a:pos x="285" y="49"/>
                </a:cxn>
                <a:cxn ang="0">
                  <a:pos x="538" y="43"/>
                </a:cxn>
                <a:cxn ang="0">
                  <a:pos x="557" y="78"/>
                </a:cxn>
                <a:cxn ang="0">
                  <a:pos x="562" y="98"/>
                </a:cxn>
                <a:cxn ang="0">
                  <a:pos x="564" y="123"/>
                </a:cxn>
                <a:cxn ang="0">
                  <a:pos x="568" y="151"/>
                </a:cxn>
                <a:cxn ang="0">
                  <a:pos x="571" y="178"/>
                </a:cxn>
                <a:cxn ang="0">
                  <a:pos x="564" y="180"/>
                </a:cxn>
                <a:cxn ang="0">
                  <a:pos x="562" y="179"/>
                </a:cxn>
                <a:cxn ang="0">
                  <a:pos x="558" y="184"/>
                </a:cxn>
                <a:cxn ang="0">
                  <a:pos x="548" y="207"/>
                </a:cxn>
                <a:cxn ang="0">
                  <a:pos x="534" y="225"/>
                </a:cxn>
                <a:cxn ang="0">
                  <a:pos x="515" y="239"/>
                </a:cxn>
                <a:cxn ang="0">
                  <a:pos x="494" y="249"/>
                </a:cxn>
                <a:cxn ang="0">
                  <a:pos x="405" y="283"/>
                </a:cxn>
                <a:cxn ang="0">
                  <a:pos x="347" y="307"/>
                </a:cxn>
                <a:cxn ang="0">
                  <a:pos x="295" y="328"/>
                </a:cxn>
                <a:cxn ang="0">
                  <a:pos x="245" y="345"/>
                </a:cxn>
                <a:cxn ang="0">
                  <a:pos x="186" y="363"/>
                </a:cxn>
                <a:cxn ang="0">
                  <a:pos x="167" y="371"/>
                </a:cxn>
                <a:cxn ang="0">
                  <a:pos x="149" y="381"/>
                </a:cxn>
                <a:cxn ang="0">
                  <a:pos x="119" y="403"/>
                </a:cxn>
                <a:cxn ang="0">
                  <a:pos x="92" y="426"/>
                </a:cxn>
                <a:cxn ang="0">
                  <a:pos x="67" y="443"/>
                </a:cxn>
                <a:cxn ang="0">
                  <a:pos x="50" y="378"/>
                </a:cxn>
                <a:cxn ang="0">
                  <a:pos x="33" y="313"/>
                </a:cxn>
                <a:cxn ang="0">
                  <a:pos x="16" y="251"/>
                </a:cxn>
                <a:cxn ang="0">
                  <a:pos x="0" y="196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0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784975" y="3583807"/>
              <a:ext cx="120650" cy="120650"/>
            </a:xfrm>
            <a:custGeom>
              <a:avLst/>
              <a:gdLst/>
              <a:ahLst/>
              <a:cxnLst>
                <a:cxn ang="0">
                  <a:pos x="0" y="111"/>
                </a:cxn>
                <a:cxn ang="0">
                  <a:pos x="4" y="109"/>
                </a:cxn>
                <a:cxn ang="0">
                  <a:pos x="7" y="109"/>
                </a:cxn>
                <a:cxn ang="0">
                  <a:pos x="10" y="110"/>
                </a:cxn>
                <a:cxn ang="0">
                  <a:pos x="11" y="111"/>
                </a:cxn>
                <a:cxn ang="0">
                  <a:pos x="12" y="117"/>
                </a:cxn>
                <a:cxn ang="0">
                  <a:pos x="13" y="123"/>
                </a:cxn>
                <a:cxn ang="0">
                  <a:pos x="14" y="128"/>
                </a:cxn>
                <a:cxn ang="0">
                  <a:pos x="16" y="131"/>
                </a:cxn>
                <a:cxn ang="0">
                  <a:pos x="19" y="134"/>
                </a:cxn>
                <a:cxn ang="0">
                  <a:pos x="24" y="136"/>
                </a:cxn>
                <a:cxn ang="0">
                  <a:pos x="29" y="137"/>
                </a:cxn>
                <a:cxn ang="0">
                  <a:pos x="37" y="138"/>
                </a:cxn>
                <a:cxn ang="0">
                  <a:pos x="48" y="138"/>
                </a:cxn>
                <a:cxn ang="0">
                  <a:pos x="60" y="136"/>
                </a:cxn>
                <a:cxn ang="0">
                  <a:pos x="98" y="130"/>
                </a:cxn>
                <a:cxn ang="0">
                  <a:pos x="129" y="122"/>
                </a:cxn>
                <a:cxn ang="0">
                  <a:pos x="143" y="118"/>
                </a:cxn>
                <a:cxn ang="0">
                  <a:pos x="156" y="114"/>
                </a:cxn>
                <a:cxn ang="0">
                  <a:pos x="167" y="109"/>
                </a:cxn>
                <a:cxn ang="0">
                  <a:pos x="178" y="103"/>
                </a:cxn>
                <a:cxn ang="0">
                  <a:pos x="188" y="96"/>
                </a:cxn>
                <a:cxn ang="0">
                  <a:pos x="198" y="87"/>
                </a:cxn>
                <a:cxn ang="0">
                  <a:pos x="208" y="78"/>
                </a:cxn>
                <a:cxn ang="0">
                  <a:pos x="219" y="65"/>
                </a:cxn>
                <a:cxn ang="0">
                  <a:pos x="229" y="52"/>
                </a:cxn>
                <a:cxn ang="0">
                  <a:pos x="241" y="37"/>
                </a:cxn>
                <a:cxn ang="0">
                  <a:pos x="253" y="20"/>
                </a:cxn>
                <a:cxn ang="0">
                  <a:pos x="266" y="0"/>
                </a:cxn>
                <a:cxn ang="0">
                  <a:pos x="270" y="7"/>
                </a:cxn>
                <a:cxn ang="0">
                  <a:pos x="274" y="13"/>
                </a:cxn>
                <a:cxn ang="0">
                  <a:pos x="276" y="20"/>
                </a:cxn>
                <a:cxn ang="0">
                  <a:pos x="279" y="27"/>
                </a:cxn>
                <a:cxn ang="0">
                  <a:pos x="282" y="42"/>
                </a:cxn>
                <a:cxn ang="0">
                  <a:pos x="286" y="62"/>
                </a:cxn>
                <a:cxn ang="0">
                  <a:pos x="246" y="198"/>
                </a:cxn>
                <a:cxn ang="0">
                  <a:pos x="226" y="228"/>
                </a:cxn>
                <a:cxn ang="0">
                  <a:pos x="53" y="210"/>
                </a:cxn>
                <a:cxn ang="0">
                  <a:pos x="0" y="111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472238" y="3236145"/>
              <a:ext cx="222250" cy="263525"/>
            </a:xfrm>
            <a:custGeom>
              <a:avLst/>
              <a:gdLst/>
              <a:ahLst/>
              <a:cxnLst>
                <a:cxn ang="0">
                  <a:pos x="478" y="370"/>
                </a:cxn>
                <a:cxn ang="0">
                  <a:pos x="484" y="346"/>
                </a:cxn>
                <a:cxn ang="0">
                  <a:pos x="483" y="329"/>
                </a:cxn>
                <a:cxn ang="0">
                  <a:pos x="478" y="302"/>
                </a:cxn>
                <a:cxn ang="0">
                  <a:pos x="455" y="299"/>
                </a:cxn>
                <a:cxn ang="0">
                  <a:pos x="431" y="288"/>
                </a:cxn>
                <a:cxn ang="0">
                  <a:pos x="407" y="274"/>
                </a:cxn>
                <a:cxn ang="0">
                  <a:pos x="386" y="256"/>
                </a:cxn>
                <a:cxn ang="0">
                  <a:pos x="366" y="237"/>
                </a:cxn>
                <a:cxn ang="0">
                  <a:pos x="352" y="216"/>
                </a:cxn>
                <a:cxn ang="0">
                  <a:pos x="342" y="196"/>
                </a:cxn>
                <a:cxn ang="0">
                  <a:pos x="339" y="178"/>
                </a:cxn>
                <a:cxn ang="0">
                  <a:pos x="341" y="162"/>
                </a:cxn>
                <a:cxn ang="0">
                  <a:pos x="349" y="150"/>
                </a:cxn>
                <a:cxn ang="0">
                  <a:pos x="365" y="136"/>
                </a:cxn>
                <a:cxn ang="0">
                  <a:pos x="354" y="130"/>
                </a:cxn>
                <a:cxn ang="0">
                  <a:pos x="341" y="119"/>
                </a:cxn>
                <a:cxn ang="0">
                  <a:pos x="315" y="87"/>
                </a:cxn>
                <a:cxn ang="0">
                  <a:pos x="292" y="51"/>
                </a:cxn>
                <a:cxn ang="0">
                  <a:pos x="279" y="25"/>
                </a:cxn>
                <a:cxn ang="0">
                  <a:pos x="260" y="24"/>
                </a:cxn>
                <a:cxn ang="0">
                  <a:pos x="239" y="19"/>
                </a:cxn>
                <a:cxn ang="0">
                  <a:pos x="219" y="11"/>
                </a:cxn>
                <a:cxn ang="0">
                  <a:pos x="197" y="6"/>
                </a:cxn>
                <a:cxn ang="0">
                  <a:pos x="170" y="3"/>
                </a:cxn>
                <a:cxn ang="0">
                  <a:pos x="149" y="8"/>
                </a:cxn>
                <a:cxn ang="0">
                  <a:pos x="114" y="41"/>
                </a:cxn>
                <a:cxn ang="0">
                  <a:pos x="98" y="57"/>
                </a:cxn>
                <a:cxn ang="0">
                  <a:pos x="93" y="64"/>
                </a:cxn>
                <a:cxn ang="0">
                  <a:pos x="94" y="94"/>
                </a:cxn>
                <a:cxn ang="0">
                  <a:pos x="95" y="140"/>
                </a:cxn>
                <a:cxn ang="0">
                  <a:pos x="94" y="164"/>
                </a:cxn>
                <a:cxn ang="0">
                  <a:pos x="86" y="180"/>
                </a:cxn>
                <a:cxn ang="0">
                  <a:pos x="67" y="197"/>
                </a:cxn>
                <a:cxn ang="0">
                  <a:pos x="40" y="214"/>
                </a:cxn>
                <a:cxn ang="0">
                  <a:pos x="13" y="228"/>
                </a:cxn>
                <a:cxn ang="0">
                  <a:pos x="2" y="246"/>
                </a:cxn>
                <a:cxn ang="0">
                  <a:pos x="2" y="264"/>
                </a:cxn>
                <a:cxn ang="0">
                  <a:pos x="0" y="278"/>
                </a:cxn>
                <a:cxn ang="0">
                  <a:pos x="0" y="289"/>
                </a:cxn>
                <a:cxn ang="0">
                  <a:pos x="7" y="301"/>
                </a:cxn>
                <a:cxn ang="0">
                  <a:pos x="26" y="314"/>
                </a:cxn>
                <a:cxn ang="0">
                  <a:pos x="62" y="331"/>
                </a:cxn>
                <a:cxn ang="0">
                  <a:pos x="120" y="355"/>
                </a:cxn>
                <a:cxn ang="0">
                  <a:pos x="180" y="374"/>
                </a:cxn>
                <a:cxn ang="0">
                  <a:pos x="214" y="385"/>
                </a:cxn>
                <a:cxn ang="0">
                  <a:pos x="237" y="400"/>
                </a:cxn>
                <a:cxn ang="0">
                  <a:pos x="252" y="418"/>
                </a:cxn>
                <a:cxn ang="0">
                  <a:pos x="262" y="435"/>
                </a:cxn>
                <a:cxn ang="0">
                  <a:pos x="266" y="451"/>
                </a:cxn>
                <a:cxn ang="0">
                  <a:pos x="270" y="469"/>
                </a:cxn>
                <a:cxn ang="0">
                  <a:pos x="277" y="481"/>
                </a:cxn>
                <a:cxn ang="0">
                  <a:pos x="287" y="489"/>
                </a:cxn>
                <a:cxn ang="0">
                  <a:pos x="307" y="497"/>
                </a:cxn>
                <a:cxn ang="0">
                  <a:pos x="328" y="503"/>
                </a:cxn>
                <a:cxn ang="0">
                  <a:pos x="335" y="500"/>
                </a:cxn>
                <a:cxn ang="0">
                  <a:pos x="346" y="499"/>
                </a:cxn>
                <a:cxn ang="0">
                  <a:pos x="366" y="503"/>
                </a:cxn>
                <a:cxn ang="0">
                  <a:pos x="383" y="505"/>
                </a:cxn>
                <a:cxn ang="0">
                  <a:pos x="437" y="505"/>
                </a:cxn>
                <a:cxn ang="0">
                  <a:pos x="465" y="449"/>
                </a:cxn>
                <a:cxn ang="0">
                  <a:pos x="492" y="437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2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972300" y="3196457"/>
              <a:ext cx="331788" cy="290512"/>
            </a:xfrm>
            <a:custGeom>
              <a:avLst/>
              <a:gdLst/>
              <a:ahLst/>
              <a:cxnLst>
                <a:cxn ang="0">
                  <a:pos x="62" y="196"/>
                </a:cxn>
                <a:cxn ang="0">
                  <a:pos x="93" y="190"/>
                </a:cxn>
                <a:cxn ang="0">
                  <a:pos x="128" y="182"/>
                </a:cxn>
                <a:cxn ang="0">
                  <a:pos x="175" y="151"/>
                </a:cxn>
                <a:cxn ang="0">
                  <a:pos x="194" y="126"/>
                </a:cxn>
                <a:cxn ang="0">
                  <a:pos x="199" y="88"/>
                </a:cxn>
                <a:cxn ang="0">
                  <a:pos x="208" y="69"/>
                </a:cxn>
                <a:cxn ang="0">
                  <a:pos x="240" y="60"/>
                </a:cxn>
                <a:cxn ang="0">
                  <a:pos x="294" y="62"/>
                </a:cxn>
                <a:cxn ang="0">
                  <a:pos x="329" y="71"/>
                </a:cxn>
                <a:cxn ang="0">
                  <a:pos x="362" y="90"/>
                </a:cxn>
                <a:cxn ang="0">
                  <a:pos x="386" y="93"/>
                </a:cxn>
                <a:cxn ang="0">
                  <a:pos x="419" y="84"/>
                </a:cxn>
                <a:cxn ang="0">
                  <a:pos x="460" y="61"/>
                </a:cxn>
                <a:cxn ang="0">
                  <a:pos x="479" y="33"/>
                </a:cxn>
                <a:cxn ang="0">
                  <a:pos x="508" y="4"/>
                </a:cxn>
                <a:cxn ang="0">
                  <a:pos x="530" y="19"/>
                </a:cxn>
                <a:cxn ang="0">
                  <a:pos x="550" y="45"/>
                </a:cxn>
                <a:cxn ang="0">
                  <a:pos x="561" y="87"/>
                </a:cxn>
                <a:cxn ang="0">
                  <a:pos x="570" y="101"/>
                </a:cxn>
                <a:cxn ang="0">
                  <a:pos x="589" y="104"/>
                </a:cxn>
                <a:cxn ang="0">
                  <a:pos x="622" y="73"/>
                </a:cxn>
                <a:cxn ang="0">
                  <a:pos x="743" y="66"/>
                </a:cxn>
                <a:cxn ang="0">
                  <a:pos x="759" y="87"/>
                </a:cxn>
                <a:cxn ang="0">
                  <a:pos x="679" y="100"/>
                </a:cxn>
                <a:cxn ang="0">
                  <a:pos x="605" y="112"/>
                </a:cxn>
                <a:cxn ang="0">
                  <a:pos x="574" y="130"/>
                </a:cxn>
                <a:cxn ang="0">
                  <a:pos x="571" y="147"/>
                </a:cxn>
                <a:cxn ang="0">
                  <a:pos x="582" y="164"/>
                </a:cxn>
                <a:cxn ang="0">
                  <a:pos x="601" y="180"/>
                </a:cxn>
                <a:cxn ang="0">
                  <a:pos x="604" y="195"/>
                </a:cxn>
                <a:cxn ang="0">
                  <a:pos x="594" y="213"/>
                </a:cxn>
                <a:cxn ang="0">
                  <a:pos x="574" y="237"/>
                </a:cxn>
                <a:cxn ang="0">
                  <a:pos x="565" y="255"/>
                </a:cxn>
                <a:cxn ang="0">
                  <a:pos x="542" y="269"/>
                </a:cxn>
                <a:cxn ang="0">
                  <a:pos x="519" y="310"/>
                </a:cxn>
                <a:cxn ang="0">
                  <a:pos x="508" y="363"/>
                </a:cxn>
                <a:cxn ang="0">
                  <a:pos x="497" y="425"/>
                </a:cxn>
                <a:cxn ang="0">
                  <a:pos x="477" y="412"/>
                </a:cxn>
                <a:cxn ang="0">
                  <a:pos x="460" y="407"/>
                </a:cxn>
                <a:cxn ang="0">
                  <a:pos x="439" y="418"/>
                </a:cxn>
                <a:cxn ang="0">
                  <a:pos x="411" y="440"/>
                </a:cxn>
                <a:cxn ang="0">
                  <a:pos x="393" y="444"/>
                </a:cxn>
                <a:cxn ang="0">
                  <a:pos x="375" y="463"/>
                </a:cxn>
                <a:cxn ang="0">
                  <a:pos x="365" y="511"/>
                </a:cxn>
                <a:cxn ang="0">
                  <a:pos x="350" y="525"/>
                </a:cxn>
                <a:cxn ang="0">
                  <a:pos x="270" y="546"/>
                </a:cxn>
                <a:cxn ang="0">
                  <a:pos x="194" y="554"/>
                </a:cxn>
                <a:cxn ang="0">
                  <a:pos x="113" y="542"/>
                </a:cxn>
                <a:cxn ang="0">
                  <a:pos x="95" y="518"/>
                </a:cxn>
                <a:cxn ang="0">
                  <a:pos x="115" y="488"/>
                </a:cxn>
                <a:cxn ang="0">
                  <a:pos x="125" y="462"/>
                </a:cxn>
                <a:cxn ang="0">
                  <a:pos x="123" y="442"/>
                </a:cxn>
                <a:cxn ang="0">
                  <a:pos x="111" y="433"/>
                </a:cxn>
                <a:cxn ang="0">
                  <a:pos x="69" y="431"/>
                </a:cxn>
                <a:cxn ang="0">
                  <a:pos x="52" y="421"/>
                </a:cxn>
                <a:cxn ang="0">
                  <a:pos x="34" y="384"/>
                </a:cxn>
                <a:cxn ang="0">
                  <a:pos x="19" y="309"/>
                </a:cxn>
                <a:cxn ang="0">
                  <a:pos x="10" y="291"/>
                </a:cxn>
                <a:cxn ang="0">
                  <a:pos x="0" y="280"/>
                </a:cxn>
                <a:cxn ang="0">
                  <a:pos x="2" y="268"/>
                </a:cxn>
                <a:cxn ang="0">
                  <a:pos x="22" y="248"/>
                </a:cxn>
                <a:cxn ang="0">
                  <a:pos x="34" y="221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3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004051" y="3245670"/>
              <a:ext cx="365125" cy="423863"/>
            </a:xfrm>
            <a:custGeom>
              <a:avLst/>
              <a:gdLst/>
              <a:ahLst/>
              <a:cxnLst>
                <a:cxn ang="0">
                  <a:pos x="779" y="82"/>
                </a:cxn>
                <a:cxn ang="0">
                  <a:pos x="707" y="29"/>
                </a:cxn>
                <a:cxn ang="0">
                  <a:pos x="562" y="10"/>
                </a:cxn>
                <a:cxn ang="0">
                  <a:pos x="499" y="29"/>
                </a:cxn>
                <a:cxn ang="0">
                  <a:pos x="486" y="49"/>
                </a:cxn>
                <a:cxn ang="0">
                  <a:pos x="497" y="71"/>
                </a:cxn>
                <a:cxn ang="0">
                  <a:pos x="517" y="90"/>
                </a:cxn>
                <a:cxn ang="0">
                  <a:pos x="516" y="111"/>
                </a:cxn>
                <a:cxn ang="0">
                  <a:pos x="491" y="140"/>
                </a:cxn>
                <a:cxn ang="0">
                  <a:pos x="480" y="162"/>
                </a:cxn>
                <a:cxn ang="0">
                  <a:pos x="450" y="184"/>
                </a:cxn>
                <a:cxn ang="0">
                  <a:pos x="427" y="243"/>
                </a:cxn>
                <a:cxn ang="0">
                  <a:pos x="420" y="332"/>
                </a:cxn>
                <a:cxn ang="0">
                  <a:pos x="392" y="319"/>
                </a:cxn>
                <a:cxn ang="0">
                  <a:pos x="370" y="315"/>
                </a:cxn>
                <a:cxn ang="0">
                  <a:pos x="338" y="339"/>
                </a:cxn>
                <a:cxn ang="0">
                  <a:pos x="313" y="351"/>
                </a:cxn>
                <a:cxn ang="0">
                  <a:pos x="290" y="370"/>
                </a:cxn>
                <a:cxn ang="0">
                  <a:pos x="280" y="424"/>
                </a:cxn>
                <a:cxn ang="0">
                  <a:pos x="235" y="442"/>
                </a:cxn>
                <a:cxn ang="0">
                  <a:pos x="127" y="462"/>
                </a:cxn>
                <a:cxn ang="0">
                  <a:pos x="26" y="449"/>
                </a:cxn>
                <a:cxn ang="0">
                  <a:pos x="51" y="505"/>
                </a:cxn>
                <a:cxn ang="0">
                  <a:pos x="96" y="540"/>
                </a:cxn>
                <a:cxn ang="0">
                  <a:pos x="123" y="577"/>
                </a:cxn>
                <a:cxn ang="0">
                  <a:pos x="142" y="596"/>
                </a:cxn>
                <a:cxn ang="0">
                  <a:pos x="99" y="647"/>
                </a:cxn>
                <a:cxn ang="0">
                  <a:pos x="87" y="671"/>
                </a:cxn>
                <a:cxn ang="0">
                  <a:pos x="109" y="720"/>
                </a:cxn>
                <a:cxn ang="0">
                  <a:pos x="222" y="710"/>
                </a:cxn>
                <a:cxn ang="0">
                  <a:pos x="302" y="705"/>
                </a:cxn>
                <a:cxn ang="0">
                  <a:pos x="330" y="721"/>
                </a:cxn>
                <a:cxn ang="0">
                  <a:pos x="359" y="756"/>
                </a:cxn>
                <a:cxn ang="0">
                  <a:pos x="408" y="785"/>
                </a:cxn>
                <a:cxn ang="0">
                  <a:pos x="449" y="803"/>
                </a:cxn>
                <a:cxn ang="0">
                  <a:pos x="460" y="791"/>
                </a:cxn>
                <a:cxn ang="0">
                  <a:pos x="487" y="774"/>
                </a:cxn>
                <a:cxn ang="0">
                  <a:pos x="554" y="764"/>
                </a:cxn>
                <a:cxn ang="0">
                  <a:pos x="597" y="750"/>
                </a:cxn>
                <a:cxn ang="0">
                  <a:pos x="618" y="727"/>
                </a:cxn>
                <a:cxn ang="0">
                  <a:pos x="584" y="700"/>
                </a:cxn>
                <a:cxn ang="0">
                  <a:pos x="542" y="641"/>
                </a:cxn>
                <a:cxn ang="0">
                  <a:pos x="526" y="624"/>
                </a:cxn>
                <a:cxn ang="0">
                  <a:pos x="526" y="578"/>
                </a:cxn>
                <a:cxn ang="0">
                  <a:pos x="582" y="563"/>
                </a:cxn>
                <a:cxn ang="0">
                  <a:pos x="622" y="531"/>
                </a:cxn>
                <a:cxn ang="0">
                  <a:pos x="688" y="417"/>
                </a:cxn>
                <a:cxn ang="0">
                  <a:pos x="730" y="368"/>
                </a:cxn>
                <a:cxn ang="0">
                  <a:pos x="725" y="330"/>
                </a:cxn>
                <a:cxn ang="0">
                  <a:pos x="729" y="305"/>
                </a:cxn>
                <a:cxn ang="0">
                  <a:pos x="751" y="289"/>
                </a:cxn>
                <a:cxn ang="0">
                  <a:pos x="670" y="207"/>
                </a:cxn>
                <a:cxn ang="0">
                  <a:pos x="758" y="140"/>
                </a:cxn>
                <a:cxn ang="0">
                  <a:pos x="805" y="123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4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794626" y="3513958"/>
              <a:ext cx="220663" cy="585787"/>
            </a:xfrm>
            <a:custGeom>
              <a:avLst/>
              <a:gdLst/>
              <a:ahLst/>
              <a:cxnLst>
                <a:cxn ang="0">
                  <a:pos x="438" y="1067"/>
                </a:cxn>
                <a:cxn ang="0">
                  <a:pos x="443" y="1028"/>
                </a:cxn>
                <a:cxn ang="0">
                  <a:pos x="399" y="1022"/>
                </a:cxn>
                <a:cxn ang="0">
                  <a:pos x="405" y="957"/>
                </a:cxn>
                <a:cxn ang="0">
                  <a:pos x="419" y="931"/>
                </a:cxn>
                <a:cxn ang="0">
                  <a:pos x="413" y="899"/>
                </a:cxn>
                <a:cxn ang="0">
                  <a:pos x="398" y="893"/>
                </a:cxn>
                <a:cxn ang="0">
                  <a:pos x="382" y="838"/>
                </a:cxn>
                <a:cxn ang="0">
                  <a:pos x="324" y="719"/>
                </a:cxn>
                <a:cxn ang="0">
                  <a:pos x="296" y="703"/>
                </a:cxn>
                <a:cxn ang="0">
                  <a:pos x="282" y="718"/>
                </a:cxn>
                <a:cxn ang="0">
                  <a:pos x="226" y="742"/>
                </a:cxn>
                <a:cxn ang="0">
                  <a:pos x="169" y="736"/>
                </a:cxn>
                <a:cxn ang="0">
                  <a:pos x="133" y="567"/>
                </a:cxn>
                <a:cxn ang="0">
                  <a:pos x="101" y="520"/>
                </a:cxn>
                <a:cxn ang="0">
                  <a:pos x="51" y="502"/>
                </a:cxn>
                <a:cxn ang="0">
                  <a:pos x="8" y="471"/>
                </a:cxn>
                <a:cxn ang="0">
                  <a:pos x="23" y="445"/>
                </a:cxn>
                <a:cxn ang="0">
                  <a:pos x="58" y="361"/>
                </a:cxn>
                <a:cxn ang="0">
                  <a:pos x="67" y="277"/>
                </a:cxn>
                <a:cxn ang="0">
                  <a:pos x="80" y="265"/>
                </a:cxn>
                <a:cxn ang="0">
                  <a:pos x="113" y="258"/>
                </a:cxn>
                <a:cxn ang="0">
                  <a:pos x="134" y="222"/>
                </a:cxn>
                <a:cxn ang="0">
                  <a:pos x="140" y="117"/>
                </a:cxn>
                <a:cxn ang="0">
                  <a:pos x="159" y="98"/>
                </a:cxn>
                <a:cxn ang="0">
                  <a:pos x="213" y="74"/>
                </a:cxn>
                <a:cxn ang="0">
                  <a:pos x="234" y="21"/>
                </a:cxn>
                <a:cxn ang="0">
                  <a:pos x="277" y="31"/>
                </a:cxn>
                <a:cxn ang="0">
                  <a:pos x="312" y="49"/>
                </a:cxn>
                <a:cxn ang="0">
                  <a:pos x="337" y="122"/>
                </a:cxn>
                <a:cxn ang="0">
                  <a:pos x="335" y="167"/>
                </a:cxn>
                <a:cxn ang="0">
                  <a:pos x="300" y="216"/>
                </a:cxn>
                <a:cxn ang="0">
                  <a:pos x="293" y="245"/>
                </a:cxn>
                <a:cxn ang="0">
                  <a:pos x="309" y="261"/>
                </a:cxn>
                <a:cxn ang="0">
                  <a:pos x="346" y="270"/>
                </a:cxn>
                <a:cxn ang="0">
                  <a:pos x="371" y="291"/>
                </a:cxn>
                <a:cxn ang="0">
                  <a:pos x="398" y="345"/>
                </a:cxn>
                <a:cxn ang="0">
                  <a:pos x="430" y="400"/>
                </a:cxn>
                <a:cxn ang="0">
                  <a:pos x="464" y="418"/>
                </a:cxn>
                <a:cxn ang="0">
                  <a:pos x="505" y="418"/>
                </a:cxn>
                <a:cxn ang="0">
                  <a:pos x="476" y="494"/>
                </a:cxn>
                <a:cxn ang="0">
                  <a:pos x="427" y="510"/>
                </a:cxn>
                <a:cxn ang="0">
                  <a:pos x="383" y="528"/>
                </a:cxn>
                <a:cxn ang="0">
                  <a:pos x="360" y="572"/>
                </a:cxn>
                <a:cxn ang="0">
                  <a:pos x="370" y="637"/>
                </a:cxn>
                <a:cxn ang="0">
                  <a:pos x="402" y="683"/>
                </a:cxn>
                <a:cxn ang="0">
                  <a:pos x="430" y="735"/>
                </a:cxn>
                <a:cxn ang="0">
                  <a:pos x="428" y="776"/>
                </a:cxn>
                <a:cxn ang="0">
                  <a:pos x="419" y="801"/>
                </a:cxn>
                <a:cxn ang="0">
                  <a:pos x="435" y="851"/>
                </a:cxn>
                <a:cxn ang="0">
                  <a:pos x="483" y="965"/>
                </a:cxn>
                <a:cxn ang="0">
                  <a:pos x="458" y="1082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5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118101" y="4023544"/>
              <a:ext cx="80963" cy="58738"/>
            </a:xfrm>
            <a:custGeom>
              <a:avLst/>
              <a:gdLst/>
              <a:ahLst/>
              <a:cxnLst>
                <a:cxn ang="0">
                  <a:pos x="180" y="7"/>
                </a:cxn>
                <a:cxn ang="0">
                  <a:pos x="171" y="24"/>
                </a:cxn>
                <a:cxn ang="0">
                  <a:pos x="163" y="39"/>
                </a:cxn>
                <a:cxn ang="0">
                  <a:pos x="152" y="53"/>
                </a:cxn>
                <a:cxn ang="0">
                  <a:pos x="141" y="66"/>
                </a:cxn>
                <a:cxn ang="0">
                  <a:pos x="129" y="80"/>
                </a:cxn>
                <a:cxn ang="0">
                  <a:pos x="115" y="92"/>
                </a:cxn>
                <a:cxn ang="0">
                  <a:pos x="101" y="102"/>
                </a:cxn>
                <a:cxn ang="0">
                  <a:pos x="87" y="112"/>
                </a:cxn>
                <a:cxn ang="0">
                  <a:pos x="82" y="107"/>
                </a:cxn>
                <a:cxn ang="0">
                  <a:pos x="79" y="101"/>
                </a:cxn>
                <a:cxn ang="0">
                  <a:pos x="76" y="95"/>
                </a:cxn>
                <a:cxn ang="0">
                  <a:pos x="74" y="88"/>
                </a:cxn>
                <a:cxn ang="0">
                  <a:pos x="70" y="81"/>
                </a:cxn>
                <a:cxn ang="0">
                  <a:pos x="68" y="74"/>
                </a:cxn>
                <a:cxn ang="0">
                  <a:pos x="65" y="69"/>
                </a:cxn>
                <a:cxn ang="0">
                  <a:pos x="60" y="63"/>
                </a:cxn>
                <a:cxn ang="0">
                  <a:pos x="45" y="48"/>
                </a:cxn>
                <a:cxn ang="0">
                  <a:pos x="36" y="38"/>
                </a:cxn>
                <a:cxn ang="0">
                  <a:pos x="30" y="33"/>
                </a:cxn>
                <a:cxn ang="0">
                  <a:pos x="25" y="31"/>
                </a:cxn>
                <a:cxn ang="0">
                  <a:pos x="18" y="30"/>
                </a:cxn>
                <a:cxn ang="0">
                  <a:pos x="0" y="26"/>
                </a:cxn>
                <a:cxn ang="0">
                  <a:pos x="26" y="14"/>
                </a:cxn>
                <a:cxn ang="0">
                  <a:pos x="41" y="9"/>
                </a:cxn>
                <a:cxn ang="0">
                  <a:pos x="56" y="5"/>
                </a:cxn>
                <a:cxn ang="0">
                  <a:pos x="74" y="3"/>
                </a:cxn>
                <a:cxn ang="0">
                  <a:pos x="93" y="1"/>
                </a:cxn>
                <a:cxn ang="0">
                  <a:pos x="114" y="0"/>
                </a:cxn>
                <a:cxn ang="0">
                  <a:pos x="135" y="1"/>
                </a:cxn>
                <a:cxn ang="0">
                  <a:pos x="157" y="3"/>
                </a:cxn>
                <a:cxn ang="0">
                  <a:pos x="180" y="7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6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202238" y="4106095"/>
              <a:ext cx="74612" cy="100013"/>
            </a:xfrm>
            <a:custGeom>
              <a:avLst/>
              <a:gdLst/>
              <a:ahLst/>
              <a:cxnLst>
                <a:cxn ang="0">
                  <a:pos x="0" y="68"/>
                </a:cxn>
                <a:cxn ang="0">
                  <a:pos x="27" y="42"/>
                </a:cxn>
                <a:cxn ang="0">
                  <a:pos x="51" y="21"/>
                </a:cxn>
                <a:cxn ang="0">
                  <a:pos x="56" y="16"/>
                </a:cxn>
                <a:cxn ang="0">
                  <a:pos x="63" y="12"/>
                </a:cxn>
                <a:cxn ang="0">
                  <a:pos x="70" y="8"/>
                </a:cxn>
                <a:cxn ang="0">
                  <a:pos x="76" y="6"/>
                </a:cxn>
                <a:cxn ang="0">
                  <a:pos x="83" y="3"/>
                </a:cxn>
                <a:cxn ang="0">
                  <a:pos x="90" y="2"/>
                </a:cxn>
                <a:cxn ang="0">
                  <a:pos x="98" y="1"/>
                </a:cxn>
                <a:cxn ang="0">
                  <a:pos x="107" y="0"/>
                </a:cxn>
                <a:cxn ang="0">
                  <a:pos x="116" y="1"/>
                </a:cxn>
                <a:cxn ang="0">
                  <a:pos x="124" y="2"/>
                </a:cxn>
                <a:cxn ang="0">
                  <a:pos x="132" y="5"/>
                </a:cxn>
                <a:cxn ang="0">
                  <a:pos x="139" y="8"/>
                </a:cxn>
                <a:cxn ang="0">
                  <a:pos x="145" y="13"/>
                </a:cxn>
                <a:cxn ang="0">
                  <a:pos x="151" y="19"/>
                </a:cxn>
                <a:cxn ang="0">
                  <a:pos x="155" y="24"/>
                </a:cxn>
                <a:cxn ang="0">
                  <a:pos x="160" y="30"/>
                </a:cxn>
                <a:cxn ang="0">
                  <a:pos x="163" y="37"/>
                </a:cxn>
                <a:cxn ang="0">
                  <a:pos x="166" y="43"/>
                </a:cxn>
                <a:cxn ang="0">
                  <a:pos x="168" y="50"/>
                </a:cxn>
                <a:cxn ang="0">
                  <a:pos x="169" y="57"/>
                </a:cxn>
                <a:cxn ang="0">
                  <a:pos x="172" y="72"/>
                </a:cxn>
                <a:cxn ang="0">
                  <a:pos x="173" y="87"/>
                </a:cxn>
                <a:cxn ang="0">
                  <a:pos x="157" y="114"/>
                </a:cxn>
                <a:cxn ang="0">
                  <a:pos x="146" y="137"/>
                </a:cxn>
                <a:cxn ang="0">
                  <a:pos x="139" y="148"/>
                </a:cxn>
                <a:cxn ang="0">
                  <a:pos x="130" y="160"/>
                </a:cxn>
                <a:cxn ang="0">
                  <a:pos x="117" y="174"/>
                </a:cxn>
                <a:cxn ang="0">
                  <a:pos x="99" y="192"/>
                </a:cxn>
                <a:cxn ang="0">
                  <a:pos x="86" y="183"/>
                </a:cxn>
                <a:cxn ang="0">
                  <a:pos x="74" y="176"/>
                </a:cxn>
                <a:cxn ang="0">
                  <a:pos x="63" y="169"/>
                </a:cxn>
                <a:cxn ang="0">
                  <a:pos x="54" y="163"/>
                </a:cxn>
                <a:cxn ang="0">
                  <a:pos x="46" y="156"/>
                </a:cxn>
                <a:cxn ang="0">
                  <a:pos x="40" y="150"/>
                </a:cxn>
                <a:cxn ang="0">
                  <a:pos x="34" y="144"/>
                </a:cxn>
                <a:cxn ang="0">
                  <a:pos x="30" y="137"/>
                </a:cxn>
                <a:cxn ang="0">
                  <a:pos x="22" y="123"/>
                </a:cxn>
                <a:cxn ang="0">
                  <a:pos x="16" y="107"/>
                </a:cxn>
                <a:cxn ang="0">
                  <a:pos x="9" y="90"/>
                </a:cxn>
                <a:cxn ang="0">
                  <a:pos x="0" y="68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7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245101" y="4156895"/>
              <a:ext cx="104775" cy="131763"/>
            </a:xfrm>
            <a:custGeom>
              <a:avLst/>
              <a:gdLst/>
              <a:ahLst/>
              <a:cxnLst>
                <a:cxn ang="0">
                  <a:pos x="74" y="0"/>
                </a:cxn>
                <a:cxn ang="0">
                  <a:pos x="83" y="2"/>
                </a:cxn>
                <a:cxn ang="0">
                  <a:pos x="89" y="3"/>
                </a:cxn>
                <a:cxn ang="0">
                  <a:pos x="95" y="3"/>
                </a:cxn>
                <a:cxn ang="0">
                  <a:pos x="99" y="2"/>
                </a:cxn>
                <a:cxn ang="0">
                  <a:pos x="106" y="1"/>
                </a:cxn>
                <a:cxn ang="0">
                  <a:pos x="113" y="0"/>
                </a:cxn>
                <a:cxn ang="0">
                  <a:pos x="125" y="17"/>
                </a:cxn>
                <a:cxn ang="0">
                  <a:pos x="140" y="37"/>
                </a:cxn>
                <a:cxn ang="0">
                  <a:pos x="144" y="42"/>
                </a:cxn>
                <a:cxn ang="0">
                  <a:pos x="148" y="46"/>
                </a:cxn>
                <a:cxn ang="0">
                  <a:pos x="153" y="49"/>
                </a:cxn>
                <a:cxn ang="0">
                  <a:pos x="157" y="52"/>
                </a:cxn>
                <a:cxn ang="0">
                  <a:pos x="163" y="54"/>
                </a:cxn>
                <a:cxn ang="0">
                  <a:pos x="168" y="56"/>
                </a:cxn>
                <a:cxn ang="0">
                  <a:pos x="174" y="56"/>
                </a:cxn>
                <a:cxn ang="0">
                  <a:pos x="180" y="56"/>
                </a:cxn>
                <a:cxn ang="0">
                  <a:pos x="180" y="80"/>
                </a:cxn>
                <a:cxn ang="0">
                  <a:pos x="193" y="103"/>
                </a:cxn>
                <a:cxn ang="0">
                  <a:pos x="212" y="128"/>
                </a:cxn>
                <a:cxn ang="0">
                  <a:pos x="215" y="135"/>
                </a:cxn>
                <a:cxn ang="0">
                  <a:pos x="220" y="142"/>
                </a:cxn>
                <a:cxn ang="0">
                  <a:pos x="223" y="151"/>
                </a:cxn>
                <a:cxn ang="0">
                  <a:pos x="226" y="160"/>
                </a:cxn>
                <a:cxn ang="0">
                  <a:pos x="230" y="170"/>
                </a:cxn>
                <a:cxn ang="0">
                  <a:pos x="232" y="180"/>
                </a:cxn>
                <a:cxn ang="0">
                  <a:pos x="233" y="191"/>
                </a:cxn>
                <a:cxn ang="0">
                  <a:pos x="233" y="204"/>
                </a:cxn>
                <a:cxn ang="0">
                  <a:pos x="232" y="216"/>
                </a:cxn>
                <a:cxn ang="0">
                  <a:pos x="230" y="228"/>
                </a:cxn>
                <a:cxn ang="0">
                  <a:pos x="227" y="240"/>
                </a:cxn>
                <a:cxn ang="0">
                  <a:pos x="226" y="252"/>
                </a:cxn>
                <a:cxn ang="0">
                  <a:pos x="222" y="252"/>
                </a:cxn>
                <a:cxn ang="0">
                  <a:pos x="215" y="250"/>
                </a:cxn>
                <a:cxn ang="0">
                  <a:pos x="208" y="246"/>
                </a:cxn>
                <a:cxn ang="0">
                  <a:pos x="198" y="241"/>
                </a:cxn>
                <a:cxn ang="0">
                  <a:pos x="176" y="226"/>
                </a:cxn>
                <a:cxn ang="0">
                  <a:pos x="151" y="208"/>
                </a:cxn>
                <a:cxn ang="0">
                  <a:pos x="125" y="186"/>
                </a:cxn>
                <a:cxn ang="0">
                  <a:pos x="100" y="165"/>
                </a:cxn>
                <a:cxn ang="0">
                  <a:pos x="78" y="145"/>
                </a:cxn>
                <a:cxn ang="0">
                  <a:pos x="61" y="129"/>
                </a:cxn>
                <a:cxn ang="0">
                  <a:pos x="55" y="125"/>
                </a:cxn>
                <a:cxn ang="0">
                  <a:pos x="48" y="120"/>
                </a:cxn>
                <a:cxn ang="0">
                  <a:pos x="41" y="116"/>
                </a:cxn>
                <a:cxn ang="0">
                  <a:pos x="33" y="112"/>
                </a:cxn>
                <a:cxn ang="0">
                  <a:pos x="17" y="104"/>
                </a:cxn>
                <a:cxn ang="0">
                  <a:pos x="0" y="99"/>
                </a:cxn>
                <a:cxn ang="0">
                  <a:pos x="40" y="63"/>
                </a:cxn>
                <a:cxn ang="0">
                  <a:pos x="59" y="43"/>
                </a:cxn>
                <a:cxn ang="0">
                  <a:pos x="65" y="33"/>
                </a:cxn>
                <a:cxn ang="0">
                  <a:pos x="69" y="25"/>
                </a:cxn>
                <a:cxn ang="0">
                  <a:pos x="72" y="14"/>
                </a:cxn>
                <a:cxn ang="0">
                  <a:pos x="74" y="0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8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459414" y="4075932"/>
              <a:ext cx="104775" cy="201612"/>
            </a:xfrm>
            <a:custGeom>
              <a:avLst/>
              <a:gdLst/>
              <a:ahLst/>
              <a:cxnLst>
                <a:cxn ang="0">
                  <a:pos x="13" y="376"/>
                </a:cxn>
                <a:cxn ang="0">
                  <a:pos x="14" y="367"/>
                </a:cxn>
                <a:cxn ang="0">
                  <a:pos x="15" y="359"/>
                </a:cxn>
                <a:cxn ang="0">
                  <a:pos x="18" y="351"/>
                </a:cxn>
                <a:cxn ang="0">
                  <a:pos x="20" y="344"/>
                </a:cxn>
                <a:cxn ang="0">
                  <a:pos x="25" y="333"/>
                </a:cxn>
                <a:cxn ang="0">
                  <a:pos x="26" y="327"/>
                </a:cxn>
                <a:cxn ang="0">
                  <a:pos x="25" y="321"/>
                </a:cxn>
                <a:cxn ang="0">
                  <a:pos x="23" y="314"/>
                </a:cxn>
                <a:cxn ang="0">
                  <a:pos x="19" y="305"/>
                </a:cxn>
                <a:cxn ang="0">
                  <a:pos x="13" y="295"/>
                </a:cxn>
                <a:cxn ang="0">
                  <a:pos x="9" y="285"/>
                </a:cxn>
                <a:cxn ang="0">
                  <a:pos x="4" y="275"/>
                </a:cxn>
                <a:cxn ang="0">
                  <a:pos x="1" y="267"/>
                </a:cxn>
                <a:cxn ang="0">
                  <a:pos x="0" y="259"/>
                </a:cxn>
                <a:cxn ang="0">
                  <a:pos x="1" y="251"/>
                </a:cxn>
                <a:cxn ang="0">
                  <a:pos x="2" y="243"/>
                </a:cxn>
                <a:cxn ang="0">
                  <a:pos x="3" y="236"/>
                </a:cxn>
                <a:cxn ang="0">
                  <a:pos x="6" y="230"/>
                </a:cxn>
                <a:cxn ang="0">
                  <a:pos x="11" y="218"/>
                </a:cxn>
                <a:cxn ang="0">
                  <a:pos x="19" y="207"/>
                </a:cxn>
                <a:cxn ang="0">
                  <a:pos x="26" y="197"/>
                </a:cxn>
                <a:cxn ang="0">
                  <a:pos x="34" y="185"/>
                </a:cxn>
                <a:cxn ang="0">
                  <a:pos x="41" y="173"/>
                </a:cxn>
                <a:cxn ang="0">
                  <a:pos x="47" y="160"/>
                </a:cxn>
                <a:cxn ang="0">
                  <a:pos x="26" y="73"/>
                </a:cxn>
                <a:cxn ang="0">
                  <a:pos x="26" y="50"/>
                </a:cxn>
                <a:cxn ang="0">
                  <a:pos x="24" y="33"/>
                </a:cxn>
                <a:cxn ang="0">
                  <a:pos x="24" y="25"/>
                </a:cxn>
                <a:cxn ang="0">
                  <a:pos x="24" y="16"/>
                </a:cxn>
                <a:cxn ang="0">
                  <a:pos x="25" y="8"/>
                </a:cxn>
                <a:cxn ang="0">
                  <a:pos x="26" y="0"/>
                </a:cxn>
                <a:cxn ang="0">
                  <a:pos x="180" y="0"/>
                </a:cxn>
                <a:cxn ang="0">
                  <a:pos x="220" y="129"/>
                </a:cxn>
                <a:cxn ang="0">
                  <a:pos x="220" y="210"/>
                </a:cxn>
                <a:cxn ang="0">
                  <a:pos x="220" y="220"/>
                </a:cxn>
                <a:cxn ang="0">
                  <a:pos x="221" y="230"/>
                </a:cxn>
                <a:cxn ang="0">
                  <a:pos x="223" y="240"/>
                </a:cxn>
                <a:cxn ang="0">
                  <a:pos x="225" y="250"/>
                </a:cxn>
                <a:cxn ang="0">
                  <a:pos x="228" y="259"/>
                </a:cxn>
                <a:cxn ang="0">
                  <a:pos x="234" y="268"/>
                </a:cxn>
                <a:cxn ang="0">
                  <a:pos x="239" y="278"/>
                </a:cxn>
                <a:cxn ang="0">
                  <a:pos x="246" y="289"/>
                </a:cxn>
                <a:cxn ang="0">
                  <a:pos x="224" y="295"/>
                </a:cxn>
                <a:cxn ang="0">
                  <a:pos x="202" y="302"/>
                </a:cxn>
                <a:cxn ang="0">
                  <a:pos x="181" y="310"/>
                </a:cxn>
                <a:cxn ang="0">
                  <a:pos x="160" y="319"/>
                </a:cxn>
                <a:cxn ang="0">
                  <a:pos x="141" y="328"/>
                </a:cxn>
                <a:cxn ang="0">
                  <a:pos x="120" y="338"/>
                </a:cxn>
                <a:cxn ang="0">
                  <a:pos x="100" y="347"/>
                </a:cxn>
                <a:cxn ang="0">
                  <a:pos x="80" y="358"/>
                </a:cxn>
                <a:cxn ang="0">
                  <a:pos x="75" y="363"/>
                </a:cxn>
                <a:cxn ang="0">
                  <a:pos x="69" y="367"/>
                </a:cxn>
                <a:cxn ang="0">
                  <a:pos x="62" y="372"/>
                </a:cxn>
                <a:cxn ang="0">
                  <a:pos x="54" y="376"/>
                </a:cxn>
                <a:cxn ang="0">
                  <a:pos x="46" y="379"/>
                </a:cxn>
                <a:cxn ang="0">
                  <a:pos x="36" y="380"/>
                </a:cxn>
                <a:cxn ang="0">
                  <a:pos x="31" y="380"/>
                </a:cxn>
                <a:cxn ang="0">
                  <a:pos x="25" y="379"/>
                </a:cxn>
                <a:cxn ang="0">
                  <a:pos x="20" y="378"/>
                </a:cxn>
                <a:cxn ang="0">
                  <a:pos x="13" y="376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9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111751" y="3991794"/>
              <a:ext cx="87313" cy="58738"/>
            </a:xfrm>
            <a:custGeom>
              <a:avLst/>
              <a:gdLst/>
              <a:ahLst/>
              <a:cxnLst>
                <a:cxn ang="0">
                  <a:pos x="7" y="20"/>
                </a:cxn>
                <a:cxn ang="0">
                  <a:pos x="38" y="11"/>
                </a:cxn>
                <a:cxn ang="0">
                  <a:pos x="67" y="5"/>
                </a:cxn>
                <a:cxn ang="0">
                  <a:pos x="80" y="3"/>
                </a:cxn>
                <a:cxn ang="0">
                  <a:pos x="94" y="2"/>
                </a:cxn>
                <a:cxn ang="0">
                  <a:pos x="110" y="1"/>
                </a:cxn>
                <a:cxn ang="0">
                  <a:pos x="126" y="0"/>
                </a:cxn>
                <a:cxn ang="0">
                  <a:pos x="138" y="1"/>
                </a:cxn>
                <a:cxn ang="0">
                  <a:pos x="149" y="1"/>
                </a:cxn>
                <a:cxn ang="0">
                  <a:pos x="160" y="2"/>
                </a:cxn>
                <a:cxn ang="0">
                  <a:pos x="169" y="4"/>
                </a:cxn>
                <a:cxn ang="0">
                  <a:pos x="178" y="6"/>
                </a:cxn>
                <a:cxn ang="0">
                  <a:pos x="184" y="11"/>
                </a:cxn>
                <a:cxn ang="0">
                  <a:pos x="187" y="13"/>
                </a:cxn>
                <a:cxn ang="0">
                  <a:pos x="189" y="18"/>
                </a:cxn>
                <a:cxn ang="0">
                  <a:pos x="191" y="21"/>
                </a:cxn>
                <a:cxn ang="0">
                  <a:pos x="193" y="26"/>
                </a:cxn>
                <a:cxn ang="0">
                  <a:pos x="183" y="27"/>
                </a:cxn>
                <a:cxn ang="0">
                  <a:pos x="173" y="28"/>
                </a:cxn>
                <a:cxn ang="0">
                  <a:pos x="165" y="28"/>
                </a:cxn>
                <a:cxn ang="0">
                  <a:pos x="156" y="28"/>
                </a:cxn>
                <a:cxn ang="0">
                  <a:pos x="138" y="27"/>
                </a:cxn>
                <a:cxn ang="0">
                  <a:pos x="120" y="26"/>
                </a:cxn>
                <a:cxn ang="0">
                  <a:pos x="103" y="26"/>
                </a:cxn>
                <a:cxn ang="0">
                  <a:pos x="89" y="28"/>
                </a:cxn>
                <a:cxn ang="0">
                  <a:pos x="76" y="30"/>
                </a:cxn>
                <a:cxn ang="0">
                  <a:pos x="63" y="32"/>
                </a:cxn>
                <a:cxn ang="0">
                  <a:pos x="49" y="34"/>
                </a:cxn>
                <a:cxn ang="0">
                  <a:pos x="35" y="36"/>
                </a:cxn>
                <a:cxn ang="0">
                  <a:pos x="19" y="37"/>
                </a:cxn>
                <a:cxn ang="0">
                  <a:pos x="0" y="38"/>
                </a:cxn>
                <a:cxn ang="0">
                  <a:pos x="0" y="33"/>
                </a:cxn>
                <a:cxn ang="0">
                  <a:pos x="1" y="29"/>
                </a:cxn>
                <a:cxn ang="0">
                  <a:pos x="3" y="24"/>
                </a:cxn>
                <a:cxn ang="0">
                  <a:pos x="7" y="20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0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537201" y="4069583"/>
              <a:ext cx="42863" cy="155575"/>
            </a:xfrm>
            <a:custGeom>
              <a:avLst/>
              <a:gdLst/>
              <a:ahLst/>
              <a:cxnLst>
                <a:cxn ang="0">
                  <a:pos x="53" y="12"/>
                </a:cxn>
                <a:cxn ang="0">
                  <a:pos x="59" y="12"/>
                </a:cxn>
                <a:cxn ang="0">
                  <a:pos x="59" y="19"/>
                </a:cxn>
                <a:cxn ang="0">
                  <a:pos x="62" y="26"/>
                </a:cxn>
                <a:cxn ang="0">
                  <a:pos x="63" y="33"/>
                </a:cxn>
                <a:cxn ang="0">
                  <a:pos x="66" y="42"/>
                </a:cxn>
                <a:cxn ang="0">
                  <a:pos x="72" y="58"/>
                </a:cxn>
                <a:cxn ang="0">
                  <a:pos x="79" y="75"/>
                </a:cxn>
                <a:cxn ang="0">
                  <a:pos x="87" y="93"/>
                </a:cxn>
                <a:cxn ang="0">
                  <a:pos x="93" y="111"/>
                </a:cxn>
                <a:cxn ang="0">
                  <a:pos x="96" y="120"/>
                </a:cxn>
                <a:cxn ang="0">
                  <a:pos x="98" y="129"/>
                </a:cxn>
                <a:cxn ang="0">
                  <a:pos x="99" y="138"/>
                </a:cxn>
                <a:cxn ang="0">
                  <a:pos x="99" y="148"/>
                </a:cxn>
                <a:cxn ang="0">
                  <a:pos x="99" y="289"/>
                </a:cxn>
                <a:cxn ang="0">
                  <a:pos x="89" y="290"/>
                </a:cxn>
                <a:cxn ang="0">
                  <a:pos x="80" y="293"/>
                </a:cxn>
                <a:cxn ang="0">
                  <a:pos x="73" y="297"/>
                </a:cxn>
                <a:cxn ang="0">
                  <a:pos x="66" y="301"/>
                </a:cxn>
                <a:cxn ang="0">
                  <a:pos x="59" y="290"/>
                </a:cxn>
                <a:cxn ang="0">
                  <a:pos x="54" y="280"/>
                </a:cxn>
                <a:cxn ang="0">
                  <a:pos x="48" y="271"/>
                </a:cxn>
                <a:cxn ang="0">
                  <a:pos x="45" y="262"/>
                </a:cxn>
                <a:cxn ang="0">
                  <a:pos x="43" y="252"/>
                </a:cxn>
                <a:cxn ang="0">
                  <a:pos x="41" y="242"/>
                </a:cxn>
                <a:cxn ang="0">
                  <a:pos x="40" y="232"/>
                </a:cxn>
                <a:cxn ang="0">
                  <a:pos x="40" y="222"/>
                </a:cxn>
                <a:cxn ang="0">
                  <a:pos x="40" y="141"/>
                </a:cxn>
                <a:cxn ang="0">
                  <a:pos x="0" y="6"/>
                </a:cxn>
                <a:cxn ang="0">
                  <a:pos x="5" y="2"/>
                </a:cxn>
                <a:cxn ang="0">
                  <a:pos x="10" y="0"/>
                </a:cxn>
                <a:cxn ang="0">
                  <a:pos x="14" y="0"/>
                </a:cxn>
                <a:cxn ang="0">
                  <a:pos x="20" y="0"/>
                </a:cxn>
                <a:cxn ang="0">
                  <a:pos x="26" y="0"/>
                </a:cxn>
                <a:cxn ang="0">
                  <a:pos x="32" y="2"/>
                </a:cxn>
                <a:cxn ang="0">
                  <a:pos x="37" y="4"/>
                </a:cxn>
                <a:cxn ang="0">
                  <a:pos x="41" y="6"/>
                </a:cxn>
                <a:cxn ang="0">
                  <a:pos x="47" y="10"/>
                </a:cxn>
                <a:cxn ang="0">
                  <a:pos x="53" y="12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1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562600" y="4031482"/>
              <a:ext cx="76200" cy="188912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9" y="72"/>
                </a:cxn>
                <a:cxn ang="0">
                  <a:pos x="17" y="65"/>
                </a:cxn>
                <a:cxn ang="0">
                  <a:pos x="25" y="60"/>
                </a:cxn>
                <a:cxn ang="0">
                  <a:pos x="33" y="56"/>
                </a:cxn>
                <a:cxn ang="0">
                  <a:pos x="40" y="50"/>
                </a:cxn>
                <a:cxn ang="0">
                  <a:pos x="67" y="50"/>
                </a:cxn>
                <a:cxn ang="0">
                  <a:pos x="94" y="0"/>
                </a:cxn>
                <a:cxn ang="0">
                  <a:pos x="101" y="3"/>
                </a:cxn>
                <a:cxn ang="0">
                  <a:pos x="108" y="7"/>
                </a:cxn>
                <a:cxn ang="0">
                  <a:pos x="116" y="12"/>
                </a:cxn>
                <a:cxn ang="0">
                  <a:pos x="123" y="18"/>
                </a:cxn>
                <a:cxn ang="0">
                  <a:pos x="131" y="22"/>
                </a:cxn>
                <a:cxn ang="0">
                  <a:pos x="139" y="27"/>
                </a:cxn>
                <a:cxn ang="0">
                  <a:pos x="145" y="29"/>
                </a:cxn>
                <a:cxn ang="0">
                  <a:pos x="153" y="30"/>
                </a:cxn>
                <a:cxn ang="0">
                  <a:pos x="163" y="39"/>
                </a:cxn>
                <a:cxn ang="0">
                  <a:pos x="173" y="50"/>
                </a:cxn>
                <a:cxn ang="0">
                  <a:pos x="173" y="61"/>
                </a:cxn>
                <a:cxn ang="0">
                  <a:pos x="173" y="69"/>
                </a:cxn>
                <a:cxn ang="0">
                  <a:pos x="173" y="80"/>
                </a:cxn>
                <a:cxn ang="0">
                  <a:pos x="173" y="98"/>
                </a:cxn>
                <a:cxn ang="0">
                  <a:pos x="173" y="109"/>
                </a:cxn>
                <a:cxn ang="0">
                  <a:pos x="171" y="118"/>
                </a:cxn>
                <a:cxn ang="0">
                  <a:pos x="167" y="127"/>
                </a:cxn>
                <a:cxn ang="0">
                  <a:pos x="163" y="135"/>
                </a:cxn>
                <a:cxn ang="0">
                  <a:pos x="152" y="151"/>
                </a:cxn>
                <a:cxn ang="0">
                  <a:pos x="140" y="167"/>
                </a:cxn>
                <a:cxn ang="0">
                  <a:pos x="128" y="183"/>
                </a:cxn>
                <a:cxn ang="0">
                  <a:pos x="117" y="200"/>
                </a:cxn>
                <a:cxn ang="0">
                  <a:pos x="112" y="209"/>
                </a:cxn>
                <a:cxn ang="0">
                  <a:pos x="109" y="219"/>
                </a:cxn>
                <a:cxn ang="0">
                  <a:pos x="108" y="229"/>
                </a:cxn>
                <a:cxn ang="0">
                  <a:pos x="107" y="240"/>
                </a:cxn>
                <a:cxn ang="0">
                  <a:pos x="108" y="273"/>
                </a:cxn>
                <a:cxn ang="0">
                  <a:pos x="109" y="293"/>
                </a:cxn>
                <a:cxn ang="0">
                  <a:pos x="110" y="302"/>
                </a:cxn>
                <a:cxn ang="0">
                  <a:pos x="109" y="313"/>
                </a:cxn>
                <a:cxn ang="0">
                  <a:pos x="109" y="327"/>
                </a:cxn>
                <a:cxn ang="0">
                  <a:pos x="107" y="345"/>
                </a:cxn>
                <a:cxn ang="0">
                  <a:pos x="97" y="346"/>
                </a:cxn>
                <a:cxn ang="0">
                  <a:pos x="88" y="347"/>
                </a:cxn>
                <a:cxn ang="0">
                  <a:pos x="79" y="349"/>
                </a:cxn>
                <a:cxn ang="0">
                  <a:pos x="71" y="351"/>
                </a:cxn>
                <a:cxn ang="0">
                  <a:pos x="63" y="353"/>
                </a:cxn>
                <a:cxn ang="0">
                  <a:pos x="55" y="355"/>
                </a:cxn>
                <a:cxn ang="0">
                  <a:pos x="48" y="357"/>
                </a:cxn>
                <a:cxn ang="0">
                  <a:pos x="40" y="357"/>
                </a:cxn>
                <a:cxn ang="0">
                  <a:pos x="40" y="216"/>
                </a:cxn>
                <a:cxn ang="0">
                  <a:pos x="40" y="206"/>
                </a:cxn>
                <a:cxn ang="0">
                  <a:pos x="39" y="197"/>
                </a:cxn>
                <a:cxn ang="0">
                  <a:pos x="37" y="188"/>
                </a:cxn>
                <a:cxn ang="0">
                  <a:pos x="34" y="179"/>
                </a:cxn>
                <a:cxn ang="0">
                  <a:pos x="28" y="161"/>
                </a:cxn>
                <a:cxn ang="0">
                  <a:pos x="20" y="143"/>
                </a:cxn>
                <a:cxn ang="0">
                  <a:pos x="13" y="126"/>
                </a:cxn>
                <a:cxn ang="0">
                  <a:pos x="7" y="110"/>
                </a:cxn>
                <a:cxn ang="0">
                  <a:pos x="4" y="101"/>
                </a:cxn>
                <a:cxn ang="0">
                  <a:pos x="3" y="94"/>
                </a:cxn>
                <a:cxn ang="0">
                  <a:pos x="0" y="87"/>
                </a:cxn>
                <a:cxn ang="0">
                  <a:pos x="0" y="80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2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291263" y="5236395"/>
              <a:ext cx="25400" cy="6032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6" y="14"/>
                </a:cxn>
                <a:cxn ang="0">
                  <a:pos x="2" y="26"/>
                </a:cxn>
                <a:cxn ang="0">
                  <a:pos x="0" y="36"/>
                </a:cxn>
                <a:cxn ang="0">
                  <a:pos x="0" y="43"/>
                </a:cxn>
                <a:cxn ang="0">
                  <a:pos x="0" y="50"/>
                </a:cxn>
                <a:cxn ang="0">
                  <a:pos x="2" y="56"/>
                </a:cxn>
                <a:cxn ang="0">
                  <a:pos x="6" y="61"/>
                </a:cxn>
                <a:cxn ang="0">
                  <a:pos x="10" y="68"/>
                </a:cxn>
                <a:cxn ang="0">
                  <a:pos x="50" y="74"/>
                </a:cxn>
                <a:cxn ang="0">
                  <a:pos x="50" y="51"/>
                </a:cxn>
                <a:cxn ang="0">
                  <a:pos x="50" y="34"/>
                </a:cxn>
                <a:cxn ang="0">
                  <a:pos x="50" y="19"/>
                </a:cxn>
                <a:cxn ang="0">
                  <a:pos x="50" y="0"/>
                </a:cxn>
                <a:cxn ang="0">
                  <a:pos x="38" y="0"/>
                </a:cxn>
                <a:cxn ang="0">
                  <a:pos x="25" y="0"/>
                </a:cxn>
                <a:cxn ang="0">
                  <a:pos x="14" y="0"/>
                </a:cxn>
                <a:cxn ang="0">
                  <a:pos x="10" y="0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3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186488" y="5333232"/>
              <a:ext cx="61912" cy="57150"/>
            </a:xfrm>
            <a:custGeom>
              <a:avLst/>
              <a:gdLst/>
              <a:ahLst/>
              <a:cxnLst>
                <a:cxn ang="0">
                  <a:pos x="3" y="55"/>
                </a:cxn>
                <a:cxn ang="0">
                  <a:pos x="11" y="54"/>
                </a:cxn>
                <a:cxn ang="0">
                  <a:pos x="18" y="53"/>
                </a:cxn>
                <a:cxn ang="0">
                  <a:pos x="24" y="50"/>
                </a:cxn>
                <a:cxn ang="0">
                  <a:pos x="31" y="47"/>
                </a:cxn>
                <a:cxn ang="0">
                  <a:pos x="42" y="38"/>
                </a:cxn>
                <a:cxn ang="0">
                  <a:pos x="52" y="28"/>
                </a:cxn>
                <a:cxn ang="0">
                  <a:pos x="61" y="18"/>
                </a:cxn>
                <a:cxn ang="0">
                  <a:pos x="71" y="8"/>
                </a:cxn>
                <a:cxn ang="0">
                  <a:pos x="76" y="5"/>
                </a:cxn>
                <a:cxn ang="0">
                  <a:pos x="82" y="2"/>
                </a:cxn>
                <a:cxn ang="0">
                  <a:pos x="88" y="0"/>
                </a:cxn>
                <a:cxn ang="0">
                  <a:pos x="96" y="0"/>
                </a:cxn>
                <a:cxn ang="0">
                  <a:pos x="102" y="0"/>
                </a:cxn>
                <a:cxn ang="0">
                  <a:pos x="110" y="3"/>
                </a:cxn>
                <a:cxn ang="0">
                  <a:pos x="117" y="6"/>
                </a:cxn>
                <a:cxn ang="0">
                  <a:pos x="123" y="11"/>
                </a:cxn>
                <a:cxn ang="0">
                  <a:pos x="128" y="16"/>
                </a:cxn>
                <a:cxn ang="0">
                  <a:pos x="132" y="24"/>
                </a:cxn>
                <a:cxn ang="0">
                  <a:pos x="134" y="30"/>
                </a:cxn>
                <a:cxn ang="0">
                  <a:pos x="135" y="37"/>
                </a:cxn>
                <a:cxn ang="0">
                  <a:pos x="134" y="40"/>
                </a:cxn>
                <a:cxn ang="0">
                  <a:pos x="132" y="43"/>
                </a:cxn>
                <a:cxn ang="0">
                  <a:pos x="129" y="47"/>
                </a:cxn>
                <a:cxn ang="0">
                  <a:pos x="124" y="51"/>
                </a:cxn>
                <a:cxn ang="0">
                  <a:pos x="113" y="61"/>
                </a:cxn>
                <a:cxn ang="0">
                  <a:pos x="100" y="72"/>
                </a:cxn>
                <a:cxn ang="0">
                  <a:pos x="87" y="82"/>
                </a:cxn>
                <a:cxn ang="0">
                  <a:pos x="74" y="91"/>
                </a:cxn>
                <a:cxn ang="0">
                  <a:pos x="63" y="96"/>
                </a:cxn>
                <a:cxn ang="0">
                  <a:pos x="55" y="98"/>
                </a:cxn>
                <a:cxn ang="0">
                  <a:pos x="51" y="97"/>
                </a:cxn>
                <a:cxn ang="0">
                  <a:pos x="43" y="92"/>
                </a:cxn>
                <a:cxn ang="0">
                  <a:pos x="32" y="85"/>
                </a:cxn>
                <a:cxn ang="0">
                  <a:pos x="21" y="77"/>
                </a:cxn>
                <a:cxn ang="0">
                  <a:pos x="11" y="68"/>
                </a:cxn>
                <a:cxn ang="0">
                  <a:pos x="5" y="62"/>
                </a:cxn>
                <a:cxn ang="0">
                  <a:pos x="1" y="59"/>
                </a:cxn>
                <a:cxn ang="0">
                  <a:pos x="0" y="57"/>
                </a:cxn>
                <a:cxn ang="0">
                  <a:pos x="0" y="56"/>
                </a:cxn>
                <a:cxn ang="0">
                  <a:pos x="3" y="55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4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404225" y="3047232"/>
              <a:ext cx="120650" cy="171450"/>
            </a:xfrm>
            <a:custGeom>
              <a:avLst/>
              <a:gdLst/>
              <a:ahLst/>
              <a:cxnLst>
                <a:cxn ang="0">
                  <a:pos x="240" y="9"/>
                </a:cxn>
                <a:cxn ang="0">
                  <a:pos x="240" y="28"/>
                </a:cxn>
                <a:cxn ang="0">
                  <a:pos x="249" y="42"/>
                </a:cxn>
                <a:cxn ang="0">
                  <a:pos x="245" y="55"/>
                </a:cxn>
                <a:cxn ang="0">
                  <a:pos x="225" y="50"/>
                </a:cxn>
                <a:cxn ang="0">
                  <a:pos x="210" y="51"/>
                </a:cxn>
                <a:cxn ang="0">
                  <a:pos x="195" y="65"/>
                </a:cxn>
                <a:cxn ang="0">
                  <a:pos x="193" y="78"/>
                </a:cxn>
                <a:cxn ang="0">
                  <a:pos x="198" y="89"/>
                </a:cxn>
                <a:cxn ang="0">
                  <a:pos x="215" y="110"/>
                </a:cxn>
                <a:cxn ang="0">
                  <a:pos x="224" y="122"/>
                </a:cxn>
                <a:cxn ang="0">
                  <a:pos x="225" y="133"/>
                </a:cxn>
                <a:cxn ang="0">
                  <a:pos x="222" y="143"/>
                </a:cxn>
                <a:cxn ang="0">
                  <a:pos x="207" y="154"/>
                </a:cxn>
                <a:cxn ang="0">
                  <a:pos x="200" y="160"/>
                </a:cxn>
                <a:cxn ang="0">
                  <a:pos x="181" y="166"/>
                </a:cxn>
                <a:cxn ang="0">
                  <a:pos x="164" y="178"/>
                </a:cxn>
                <a:cxn ang="0">
                  <a:pos x="160" y="191"/>
                </a:cxn>
                <a:cxn ang="0">
                  <a:pos x="173" y="207"/>
                </a:cxn>
                <a:cxn ang="0">
                  <a:pos x="189" y="215"/>
                </a:cxn>
                <a:cxn ang="0">
                  <a:pos x="214" y="227"/>
                </a:cxn>
                <a:cxn ang="0">
                  <a:pos x="245" y="259"/>
                </a:cxn>
                <a:cxn ang="0">
                  <a:pos x="251" y="285"/>
                </a:cxn>
                <a:cxn ang="0">
                  <a:pos x="220" y="291"/>
                </a:cxn>
                <a:cxn ang="0">
                  <a:pos x="207" y="298"/>
                </a:cxn>
                <a:cxn ang="0">
                  <a:pos x="198" y="312"/>
                </a:cxn>
                <a:cxn ang="0">
                  <a:pos x="189" y="326"/>
                </a:cxn>
                <a:cxn ang="0">
                  <a:pos x="170" y="321"/>
                </a:cxn>
                <a:cxn ang="0">
                  <a:pos x="167" y="316"/>
                </a:cxn>
                <a:cxn ang="0">
                  <a:pos x="154" y="310"/>
                </a:cxn>
                <a:cxn ang="0">
                  <a:pos x="139" y="301"/>
                </a:cxn>
                <a:cxn ang="0">
                  <a:pos x="126" y="295"/>
                </a:cxn>
                <a:cxn ang="0">
                  <a:pos x="98" y="290"/>
                </a:cxn>
                <a:cxn ang="0">
                  <a:pos x="63" y="277"/>
                </a:cxn>
                <a:cxn ang="0">
                  <a:pos x="54" y="268"/>
                </a:cxn>
                <a:cxn ang="0">
                  <a:pos x="55" y="256"/>
                </a:cxn>
                <a:cxn ang="0">
                  <a:pos x="70" y="244"/>
                </a:cxn>
                <a:cxn ang="0">
                  <a:pos x="59" y="221"/>
                </a:cxn>
                <a:cxn ang="0">
                  <a:pos x="34" y="194"/>
                </a:cxn>
                <a:cxn ang="0">
                  <a:pos x="13" y="182"/>
                </a:cxn>
                <a:cxn ang="0">
                  <a:pos x="4" y="171"/>
                </a:cxn>
                <a:cxn ang="0">
                  <a:pos x="19" y="152"/>
                </a:cxn>
                <a:cxn ang="0">
                  <a:pos x="54" y="124"/>
                </a:cxn>
                <a:cxn ang="0">
                  <a:pos x="73" y="105"/>
                </a:cxn>
                <a:cxn ang="0">
                  <a:pos x="88" y="92"/>
                </a:cxn>
                <a:cxn ang="0">
                  <a:pos x="110" y="88"/>
                </a:cxn>
                <a:cxn ang="0">
                  <a:pos x="144" y="70"/>
                </a:cxn>
                <a:cxn ang="0">
                  <a:pos x="168" y="46"/>
                </a:cxn>
                <a:cxn ang="0">
                  <a:pos x="191" y="21"/>
                </a:cxn>
                <a:cxn ang="0">
                  <a:pos x="220" y="4"/>
                </a:cxn>
                <a:cxn ang="0">
                  <a:pos x="238" y="0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5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475539" y="3461570"/>
              <a:ext cx="206375" cy="123825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92" y="7"/>
                </a:cxn>
                <a:cxn ang="0">
                  <a:pos x="102" y="13"/>
                </a:cxn>
                <a:cxn ang="0">
                  <a:pos x="125" y="23"/>
                </a:cxn>
                <a:cxn ang="0">
                  <a:pos x="159" y="37"/>
                </a:cxn>
                <a:cxn ang="0">
                  <a:pos x="223" y="77"/>
                </a:cxn>
                <a:cxn ang="0">
                  <a:pos x="253" y="97"/>
                </a:cxn>
                <a:cxn ang="0">
                  <a:pos x="283" y="113"/>
                </a:cxn>
                <a:cxn ang="0">
                  <a:pos x="316" y="127"/>
                </a:cxn>
                <a:cxn ang="0">
                  <a:pos x="355" y="139"/>
                </a:cxn>
                <a:cxn ang="0">
                  <a:pos x="399" y="146"/>
                </a:cxn>
                <a:cxn ang="0">
                  <a:pos x="451" y="148"/>
                </a:cxn>
                <a:cxn ang="0">
                  <a:pos x="452" y="187"/>
                </a:cxn>
                <a:cxn ang="0">
                  <a:pos x="459" y="211"/>
                </a:cxn>
                <a:cxn ang="0">
                  <a:pos x="467" y="227"/>
                </a:cxn>
                <a:cxn ang="0">
                  <a:pos x="467" y="236"/>
                </a:cxn>
                <a:cxn ang="0">
                  <a:pos x="451" y="236"/>
                </a:cxn>
                <a:cxn ang="0">
                  <a:pos x="416" y="231"/>
                </a:cxn>
                <a:cxn ang="0">
                  <a:pos x="362" y="219"/>
                </a:cxn>
                <a:cxn ang="0">
                  <a:pos x="315" y="207"/>
                </a:cxn>
                <a:cxn ang="0">
                  <a:pos x="294" y="203"/>
                </a:cxn>
                <a:cxn ang="0">
                  <a:pos x="287" y="199"/>
                </a:cxn>
                <a:cxn ang="0">
                  <a:pos x="277" y="190"/>
                </a:cxn>
                <a:cxn ang="0">
                  <a:pos x="267" y="178"/>
                </a:cxn>
                <a:cxn ang="0">
                  <a:pos x="255" y="166"/>
                </a:cxn>
                <a:cxn ang="0">
                  <a:pos x="240" y="159"/>
                </a:cxn>
                <a:cxn ang="0">
                  <a:pos x="227" y="159"/>
                </a:cxn>
                <a:cxn ang="0">
                  <a:pos x="205" y="163"/>
                </a:cxn>
                <a:cxn ang="0">
                  <a:pos x="183" y="167"/>
                </a:cxn>
                <a:cxn ang="0">
                  <a:pos x="169" y="168"/>
                </a:cxn>
                <a:cxn ang="0">
                  <a:pos x="158" y="164"/>
                </a:cxn>
                <a:cxn ang="0">
                  <a:pos x="148" y="155"/>
                </a:cxn>
                <a:cxn ang="0">
                  <a:pos x="139" y="148"/>
                </a:cxn>
                <a:cxn ang="0">
                  <a:pos x="122" y="145"/>
                </a:cxn>
                <a:cxn ang="0">
                  <a:pos x="92" y="135"/>
                </a:cxn>
                <a:cxn ang="0">
                  <a:pos x="48" y="117"/>
                </a:cxn>
                <a:cxn ang="0">
                  <a:pos x="12" y="96"/>
                </a:cxn>
                <a:cxn ang="0">
                  <a:pos x="7" y="0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6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691439" y="3517133"/>
              <a:ext cx="73025" cy="65087"/>
            </a:xfrm>
            <a:custGeom>
              <a:avLst/>
              <a:gdLst/>
              <a:ahLst/>
              <a:cxnLst>
                <a:cxn ang="0">
                  <a:pos x="167" y="43"/>
                </a:cxn>
                <a:cxn ang="0">
                  <a:pos x="164" y="54"/>
                </a:cxn>
                <a:cxn ang="0">
                  <a:pos x="161" y="66"/>
                </a:cxn>
                <a:cxn ang="0">
                  <a:pos x="155" y="79"/>
                </a:cxn>
                <a:cxn ang="0">
                  <a:pos x="150" y="93"/>
                </a:cxn>
                <a:cxn ang="0">
                  <a:pos x="146" y="99"/>
                </a:cxn>
                <a:cxn ang="0">
                  <a:pos x="142" y="105"/>
                </a:cxn>
                <a:cxn ang="0">
                  <a:pos x="138" y="110"/>
                </a:cxn>
                <a:cxn ang="0">
                  <a:pos x="132" y="114"/>
                </a:cxn>
                <a:cxn ang="0">
                  <a:pos x="127" y="118"/>
                </a:cxn>
                <a:cxn ang="0">
                  <a:pos x="121" y="121"/>
                </a:cxn>
                <a:cxn ang="0">
                  <a:pos x="115" y="122"/>
                </a:cxn>
                <a:cxn ang="0">
                  <a:pos x="107" y="123"/>
                </a:cxn>
                <a:cxn ang="0">
                  <a:pos x="100" y="122"/>
                </a:cxn>
                <a:cxn ang="0">
                  <a:pos x="92" y="119"/>
                </a:cxn>
                <a:cxn ang="0">
                  <a:pos x="87" y="116"/>
                </a:cxn>
                <a:cxn ang="0">
                  <a:pos x="84" y="113"/>
                </a:cxn>
                <a:cxn ang="0">
                  <a:pos x="82" y="109"/>
                </a:cxn>
                <a:cxn ang="0">
                  <a:pos x="81" y="105"/>
                </a:cxn>
                <a:cxn ang="0">
                  <a:pos x="71" y="104"/>
                </a:cxn>
                <a:cxn ang="0">
                  <a:pos x="61" y="103"/>
                </a:cxn>
                <a:cxn ang="0">
                  <a:pos x="51" y="101"/>
                </a:cxn>
                <a:cxn ang="0">
                  <a:pos x="41" y="98"/>
                </a:cxn>
                <a:cxn ang="0">
                  <a:pos x="21" y="92"/>
                </a:cxn>
                <a:cxn ang="0">
                  <a:pos x="0" y="86"/>
                </a:cxn>
                <a:cxn ang="0">
                  <a:pos x="2" y="77"/>
                </a:cxn>
                <a:cxn ang="0">
                  <a:pos x="5" y="67"/>
                </a:cxn>
                <a:cxn ang="0">
                  <a:pos x="9" y="56"/>
                </a:cxn>
                <a:cxn ang="0">
                  <a:pos x="15" y="43"/>
                </a:cxn>
                <a:cxn ang="0">
                  <a:pos x="20" y="43"/>
                </a:cxn>
                <a:cxn ang="0">
                  <a:pos x="26" y="42"/>
                </a:cxn>
                <a:cxn ang="0">
                  <a:pos x="30" y="41"/>
                </a:cxn>
                <a:cxn ang="0">
                  <a:pos x="33" y="38"/>
                </a:cxn>
                <a:cxn ang="0">
                  <a:pos x="40" y="33"/>
                </a:cxn>
                <a:cxn ang="0">
                  <a:pos x="45" y="26"/>
                </a:cxn>
                <a:cxn ang="0">
                  <a:pos x="52" y="12"/>
                </a:cxn>
                <a:cxn ang="0">
                  <a:pos x="61" y="0"/>
                </a:cxn>
                <a:cxn ang="0">
                  <a:pos x="64" y="4"/>
                </a:cxn>
                <a:cxn ang="0">
                  <a:pos x="67" y="7"/>
                </a:cxn>
                <a:cxn ang="0">
                  <a:pos x="73" y="11"/>
                </a:cxn>
                <a:cxn ang="0">
                  <a:pos x="78" y="14"/>
                </a:cxn>
                <a:cxn ang="0">
                  <a:pos x="92" y="21"/>
                </a:cxn>
                <a:cxn ang="0">
                  <a:pos x="107" y="28"/>
                </a:cxn>
                <a:cxn ang="0">
                  <a:pos x="122" y="35"/>
                </a:cxn>
                <a:cxn ang="0">
                  <a:pos x="139" y="39"/>
                </a:cxn>
                <a:cxn ang="0">
                  <a:pos x="153" y="42"/>
                </a:cxn>
                <a:cxn ang="0">
                  <a:pos x="167" y="4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7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681913" y="3588569"/>
              <a:ext cx="133350" cy="166688"/>
            </a:xfrm>
            <a:custGeom>
              <a:avLst/>
              <a:gdLst/>
              <a:ahLst/>
              <a:cxnLst>
                <a:cxn ang="0">
                  <a:pos x="259" y="160"/>
                </a:cxn>
                <a:cxn ang="0">
                  <a:pos x="252" y="173"/>
                </a:cxn>
                <a:cxn ang="0">
                  <a:pos x="243" y="182"/>
                </a:cxn>
                <a:cxn ang="0">
                  <a:pos x="233" y="186"/>
                </a:cxn>
                <a:cxn ang="0">
                  <a:pos x="223" y="184"/>
                </a:cxn>
                <a:cxn ang="0">
                  <a:pos x="214" y="178"/>
                </a:cxn>
                <a:cxn ang="0">
                  <a:pos x="209" y="169"/>
                </a:cxn>
                <a:cxn ang="0">
                  <a:pos x="206" y="160"/>
                </a:cxn>
                <a:cxn ang="0">
                  <a:pos x="209" y="148"/>
                </a:cxn>
                <a:cxn ang="0">
                  <a:pos x="213" y="136"/>
                </a:cxn>
                <a:cxn ang="0">
                  <a:pos x="230" y="114"/>
                </a:cxn>
                <a:cxn ang="0">
                  <a:pos x="246" y="93"/>
                </a:cxn>
                <a:cxn ang="0">
                  <a:pos x="250" y="82"/>
                </a:cxn>
                <a:cxn ang="0">
                  <a:pos x="253" y="69"/>
                </a:cxn>
                <a:cxn ang="0">
                  <a:pos x="129" y="68"/>
                </a:cxn>
                <a:cxn ang="0">
                  <a:pos x="119" y="59"/>
                </a:cxn>
                <a:cxn ang="0">
                  <a:pos x="112" y="45"/>
                </a:cxn>
                <a:cxn ang="0">
                  <a:pos x="108" y="28"/>
                </a:cxn>
                <a:cxn ang="0">
                  <a:pos x="101" y="19"/>
                </a:cxn>
                <a:cxn ang="0">
                  <a:pos x="90" y="17"/>
                </a:cxn>
                <a:cxn ang="0">
                  <a:pos x="80" y="12"/>
                </a:cxn>
                <a:cxn ang="0">
                  <a:pos x="75" y="4"/>
                </a:cxn>
                <a:cxn ang="0">
                  <a:pos x="65" y="0"/>
                </a:cxn>
                <a:cxn ang="0">
                  <a:pos x="49" y="0"/>
                </a:cxn>
                <a:cxn ang="0">
                  <a:pos x="34" y="1"/>
                </a:cxn>
                <a:cxn ang="0">
                  <a:pos x="22" y="5"/>
                </a:cxn>
                <a:cxn ang="0">
                  <a:pos x="10" y="14"/>
                </a:cxn>
                <a:cxn ang="0">
                  <a:pos x="1" y="25"/>
                </a:cxn>
                <a:cxn ang="0">
                  <a:pos x="2" y="35"/>
                </a:cxn>
                <a:cxn ang="0">
                  <a:pos x="15" y="46"/>
                </a:cxn>
                <a:cxn ang="0">
                  <a:pos x="35" y="58"/>
                </a:cxn>
                <a:cxn ang="0">
                  <a:pos x="54" y="67"/>
                </a:cxn>
                <a:cxn ang="0">
                  <a:pos x="47" y="79"/>
                </a:cxn>
                <a:cxn ang="0">
                  <a:pos x="25" y="97"/>
                </a:cxn>
                <a:cxn ang="0">
                  <a:pos x="17" y="107"/>
                </a:cxn>
                <a:cxn ang="0">
                  <a:pos x="14" y="114"/>
                </a:cxn>
                <a:cxn ang="0">
                  <a:pos x="14" y="122"/>
                </a:cxn>
                <a:cxn ang="0">
                  <a:pos x="18" y="129"/>
                </a:cxn>
                <a:cxn ang="0">
                  <a:pos x="28" y="141"/>
                </a:cxn>
                <a:cxn ang="0">
                  <a:pos x="47" y="156"/>
                </a:cxn>
                <a:cxn ang="0">
                  <a:pos x="64" y="164"/>
                </a:cxn>
                <a:cxn ang="0">
                  <a:pos x="75" y="166"/>
                </a:cxn>
                <a:cxn ang="0">
                  <a:pos x="107" y="271"/>
                </a:cxn>
                <a:cxn ang="0">
                  <a:pos x="108" y="263"/>
                </a:cxn>
                <a:cxn ang="0">
                  <a:pos x="112" y="256"/>
                </a:cxn>
                <a:cxn ang="0">
                  <a:pos x="127" y="246"/>
                </a:cxn>
                <a:cxn ang="0">
                  <a:pos x="148" y="240"/>
                </a:cxn>
                <a:cxn ang="0">
                  <a:pos x="174" y="235"/>
                </a:cxn>
                <a:cxn ang="0">
                  <a:pos x="174" y="210"/>
                </a:cxn>
                <a:cxn ang="0">
                  <a:pos x="183" y="212"/>
                </a:cxn>
                <a:cxn ang="0">
                  <a:pos x="193" y="212"/>
                </a:cxn>
                <a:cxn ang="0">
                  <a:pos x="213" y="210"/>
                </a:cxn>
                <a:cxn ang="0">
                  <a:pos x="232" y="261"/>
                </a:cxn>
                <a:cxn ang="0">
                  <a:pos x="259" y="321"/>
                </a:cxn>
                <a:cxn ang="0">
                  <a:pos x="272" y="311"/>
                </a:cxn>
                <a:cxn ang="0">
                  <a:pos x="282" y="302"/>
                </a:cxn>
                <a:cxn ang="0">
                  <a:pos x="295" y="280"/>
                </a:cxn>
                <a:cxn ang="0">
                  <a:pos x="306" y="23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8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999413" y="3704458"/>
              <a:ext cx="201612" cy="269875"/>
            </a:xfrm>
            <a:custGeom>
              <a:avLst/>
              <a:gdLst/>
              <a:ahLst/>
              <a:cxnLst>
                <a:cxn ang="0">
                  <a:pos x="94" y="12"/>
                </a:cxn>
                <a:cxn ang="0">
                  <a:pos x="67" y="32"/>
                </a:cxn>
                <a:cxn ang="0">
                  <a:pos x="40" y="49"/>
                </a:cxn>
                <a:cxn ang="0">
                  <a:pos x="27" y="82"/>
                </a:cxn>
                <a:cxn ang="0">
                  <a:pos x="8" y="118"/>
                </a:cxn>
                <a:cxn ang="0">
                  <a:pos x="7" y="136"/>
                </a:cxn>
                <a:cxn ang="0">
                  <a:pos x="30" y="153"/>
                </a:cxn>
                <a:cxn ang="0">
                  <a:pos x="50" y="168"/>
                </a:cxn>
                <a:cxn ang="0">
                  <a:pos x="62" y="172"/>
                </a:cxn>
                <a:cxn ang="0">
                  <a:pos x="75" y="211"/>
                </a:cxn>
                <a:cxn ang="0">
                  <a:pos x="84" y="272"/>
                </a:cxn>
                <a:cxn ang="0">
                  <a:pos x="94" y="299"/>
                </a:cxn>
                <a:cxn ang="0">
                  <a:pos x="104" y="302"/>
                </a:cxn>
                <a:cxn ang="0">
                  <a:pos x="112" y="297"/>
                </a:cxn>
                <a:cxn ang="0">
                  <a:pos x="128" y="268"/>
                </a:cxn>
                <a:cxn ang="0">
                  <a:pos x="145" y="262"/>
                </a:cxn>
                <a:cxn ang="0">
                  <a:pos x="160" y="272"/>
                </a:cxn>
                <a:cxn ang="0">
                  <a:pos x="173" y="277"/>
                </a:cxn>
                <a:cxn ang="0">
                  <a:pos x="183" y="274"/>
                </a:cxn>
                <a:cxn ang="0">
                  <a:pos x="192" y="259"/>
                </a:cxn>
                <a:cxn ang="0">
                  <a:pos x="203" y="244"/>
                </a:cxn>
                <a:cxn ang="0">
                  <a:pos x="212" y="241"/>
                </a:cxn>
                <a:cxn ang="0">
                  <a:pos x="241" y="247"/>
                </a:cxn>
                <a:cxn ang="0">
                  <a:pos x="259" y="271"/>
                </a:cxn>
                <a:cxn ang="0">
                  <a:pos x="308" y="336"/>
                </a:cxn>
                <a:cxn ang="0">
                  <a:pos x="341" y="382"/>
                </a:cxn>
                <a:cxn ang="0">
                  <a:pos x="358" y="419"/>
                </a:cxn>
                <a:cxn ang="0">
                  <a:pos x="366" y="457"/>
                </a:cxn>
                <a:cxn ang="0">
                  <a:pos x="359" y="470"/>
                </a:cxn>
                <a:cxn ang="0">
                  <a:pos x="339" y="487"/>
                </a:cxn>
                <a:cxn ang="0">
                  <a:pos x="363" y="496"/>
                </a:cxn>
                <a:cxn ang="0">
                  <a:pos x="392" y="518"/>
                </a:cxn>
                <a:cxn ang="0">
                  <a:pos x="401" y="499"/>
                </a:cxn>
                <a:cxn ang="0">
                  <a:pos x="413" y="489"/>
                </a:cxn>
                <a:cxn ang="0">
                  <a:pos x="444" y="483"/>
                </a:cxn>
                <a:cxn ang="0">
                  <a:pos x="468" y="438"/>
                </a:cxn>
                <a:cxn ang="0">
                  <a:pos x="449" y="387"/>
                </a:cxn>
                <a:cxn ang="0">
                  <a:pos x="421" y="347"/>
                </a:cxn>
                <a:cxn ang="0">
                  <a:pos x="345" y="277"/>
                </a:cxn>
                <a:cxn ang="0">
                  <a:pos x="279" y="218"/>
                </a:cxn>
                <a:cxn ang="0">
                  <a:pos x="224" y="162"/>
                </a:cxn>
                <a:cxn ang="0">
                  <a:pos x="179" y="105"/>
                </a:cxn>
                <a:cxn ang="0">
                  <a:pos x="127" y="40"/>
                </a:cxn>
                <a:cxn ang="0">
                  <a:pos x="115" y="14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9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081963" y="3955283"/>
              <a:ext cx="133350" cy="130175"/>
            </a:xfrm>
            <a:custGeom>
              <a:avLst/>
              <a:gdLst/>
              <a:ahLst/>
              <a:cxnLst>
                <a:cxn ang="0">
                  <a:pos x="152" y="19"/>
                </a:cxn>
                <a:cxn ang="0">
                  <a:pos x="179" y="30"/>
                </a:cxn>
                <a:cxn ang="0">
                  <a:pos x="196" y="30"/>
                </a:cxn>
                <a:cxn ang="0">
                  <a:pos x="202" y="18"/>
                </a:cxn>
                <a:cxn ang="0">
                  <a:pos x="210" y="10"/>
                </a:cxn>
                <a:cxn ang="0">
                  <a:pos x="219" y="6"/>
                </a:cxn>
                <a:cxn ang="0">
                  <a:pos x="245" y="2"/>
                </a:cxn>
                <a:cxn ang="0">
                  <a:pos x="293" y="80"/>
                </a:cxn>
                <a:cxn ang="0">
                  <a:pos x="266" y="107"/>
                </a:cxn>
                <a:cxn ang="0">
                  <a:pos x="237" y="141"/>
                </a:cxn>
                <a:cxn ang="0">
                  <a:pos x="225" y="159"/>
                </a:cxn>
                <a:cxn ang="0">
                  <a:pos x="215" y="178"/>
                </a:cxn>
                <a:cxn ang="0">
                  <a:pos x="209" y="197"/>
                </a:cxn>
                <a:cxn ang="0">
                  <a:pos x="206" y="216"/>
                </a:cxn>
                <a:cxn ang="0">
                  <a:pos x="196" y="217"/>
                </a:cxn>
                <a:cxn ang="0">
                  <a:pos x="186" y="220"/>
                </a:cxn>
                <a:cxn ang="0">
                  <a:pos x="170" y="229"/>
                </a:cxn>
                <a:cxn ang="0">
                  <a:pos x="154" y="239"/>
                </a:cxn>
                <a:cxn ang="0">
                  <a:pos x="133" y="246"/>
                </a:cxn>
                <a:cxn ang="0">
                  <a:pos x="102" y="240"/>
                </a:cxn>
                <a:cxn ang="0">
                  <a:pos x="71" y="232"/>
                </a:cxn>
                <a:cxn ang="0">
                  <a:pos x="59" y="226"/>
                </a:cxn>
                <a:cxn ang="0">
                  <a:pos x="49" y="220"/>
                </a:cxn>
                <a:cxn ang="0">
                  <a:pos x="43" y="212"/>
                </a:cxn>
                <a:cxn ang="0">
                  <a:pos x="41" y="204"/>
                </a:cxn>
                <a:cxn ang="0">
                  <a:pos x="47" y="178"/>
                </a:cxn>
                <a:cxn ang="0">
                  <a:pos x="45" y="162"/>
                </a:cxn>
                <a:cxn ang="0">
                  <a:pos x="40" y="147"/>
                </a:cxn>
                <a:cxn ang="0">
                  <a:pos x="24" y="119"/>
                </a:cxn>
                <a:cxn ang="0">
                  <a:pos x="8" y="91"/>
                </a:cxn>
                <a:cxn ang="0">
                  <a:pos x="2" y="74"/>
                </a:cxn>
                <a:cxn ang="0">
                  <a:pos x="0" y="55"/>
                </a:cxn>
                <a:cxn ang="0">
                  <a:pos x="2" y="45"/>
                </a:cxn>
                <a:cxn ang="0">
                  <a:pos x="8" y="36"/>
                </a:cxn>
                <a:cxn ang="0">
                  <a:pos x="17" y="29"/>
                </a:cxn>
                <a:cxn ang="0">
                  <a:pos x="26" y="22"/>
                </a:cxn>
                <a:cxn ang="0">
                  <a:pos x="48" y="14"/>
                </a:cxn>
                <a:cxn ang="0">
                  <a:pos x="67" y="12"/>
                </a:cxn>
                <a:cxn ang="0">
                  <a:pos x="96" y="12"/>
                </a:cxn>
                <a:cxn ang="0">
                  <a:pos x="133" y="12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0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483601" y="3191695"/>
              <a:ext cx="85725" cy="130175"/>
            </a:xfrm>
            <a:custGeom>
              <a:avLst/>
              <a:gdLst/>
              <a:ahLst/>
              <a:cxnLst>
                <a:cxn ang="0">
                  <a:pos x="18" y="41"/>
                </a:cxn>
                <a:cxn ang="0">
                  <a:pos x="28" y="26"/>
                </a:cxn>
                <a:cxn ang="0">
                  <a:pos x="38" y="16"/>
                </a:cxn>
                <a:cxn ang="0">
                  <a:pos x="50" y="9"/>
                </a:cxn>
                <a:cxn ang="0">
                  <a:pos x="73" y="1"/>
                </a:cxn>
                <a:cxn ang="0">
                  <a:pos x="88" y="12"/>
                </a:cxn>
                <a:cxn ang="0">
                  <a:pos x="108" y="34"/>
                </a:cxn>
                <a:cxn ang="0">
                  <a:pos x="125" y="50"/>
                </a:cxn>
                <a:cxn ang="0">
                  <a:pos x="139" y="58"/>
                </a:cxn>
                <a:cxn ang="0">
                  <a:pos x="152" y="64"/>
                </a:cxn>
                <a:cxn ang="0">
                  <a:pos x="166" y="67"/>
                </a:cxn>
                <a:cxn ang="0">
                  <a:pos x="184" y="96"/>
                </a:cxn>
                <a:cxn ang="0">
                  <a:pos x="195" y="137"/>
                </a:cxn>
                <a:cxn ang="0">
                  <a:pos x="199" y="165"/>
                </a:cxn>
                <a:cxn ang="0">
                  <a:pos x="200" y="185"/>
                </a:cxn>
                <a:cxn ang="0">
                  <a:pos x="198" y="197"/>
                </a:cxn>
                <a:cxn ang="0">
                  <a:pos x="195" y="207"/>
                </a:cxn>
                <a:cxn ang="0">
                  <a:pos x="189" y="214"/>
                </a:cxn>
                <a:cxn ang="0">
                  <a:pos x="179" y="220"/>
                </a:cxn>
                <a:cxn ang="0">
                  <a:pos x="164" y="224"/>
                </a:cxn>
                <a:cxn ang="0">
                  <a:pos x="140" y="224"/>
                </a:cxn>
                <a:cxn ang="0">
                  <a:pos x="118" y="229"/>
                </a:cxn>
                <a:cxn ang="0">
                  <a:pos x="111" y="235"/>
                </a:cxn>
                <a:cxn ang="0">
                  <a:pos x="108" y="242"/>
                </a:cxn>
                <a:cxn ang="0">
                  <a:pos x="98" y="245"/>
                </a:cxn>
                <a:cxn ang="0">
                  <a:pos x="85" y="240"/>
                </a:cxn>
                <a:cxn ang="0">
                  <a:pos x="77" y="230"/>
                </a:cxn>
                <a:cxn ang="0">
                  <a:pos x="73" y="216"/>
                </a:cxn>
                <a:cxn ang="0">
                  <a:pos x="72" y="192"/>
                </a:cxn>
                <a:cxn ang="0">
                  <a:pos x="71" y="168"/>
                </a:cxn>
                <a:cxn ang="0">
                  <a:pos x="69" y="154"/>
                </a:cxn>
                <a:cxn ang="0">
                  <a:pos x="64" y="142"/>
                </a:cxn>
                <a:cxn ang="0">
                  <a:pos x="56" y="134"/>
                </a:cxn>
                <a:cxn ang="0">
                  <a:pos x="40" y="125"/>
                </a:cxn>
                <a:cxn ang="0">
                  <a:pos x="18" y="115"/>
                </a:cxn>
                <a:cxn ang="0">
                  <a:pos x="6" y="106"/>
                </a:cxn>
                <a:cxn ang="0">
                  <a:pos x="1" y="98"/>
                </a:cxn>
                <a:cxn ang="0">
                  <a:pos x="1" y="87"/>
                </a:cxn>
                <a:cxn ang="0">
                  <a:pos x="5" y="78"/>
                </a:cxn>
                <a:cxn ang="0">
                  <a:pos x="10" y="68"/>
                </a:cxn>
                <a:cxn ang="0">
                  <a:pos x="13" y="56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1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051926" y="4488682"/>
              <a:ext cx="231775" cy="254000"/>
            </a:xfrm>
            <a:custGeom>
              <a:avLst/>
              <a:gdLst/>
              <a:ahLst/>
              <a:cxnLst>
                <a:cxn ang="0">
                  <a:pos x="91" y="21"/>
                </a:cxn>
                <a:cxn ang="0">
                  <a:pos x="160" y="47"/>
                </a:cxn>
                <a:cxn ang="0">
                  <a:pos x="202" y="70"/>
                </a:cxn>
                <a:cxn ang="0">
                  <a:pos x="253" y="110"/>
                </a:cxn>
                <a:cxn ang="0">
                  <a:pos x="300" y="136"/>
                </a:cxn>
                <a:cxn ang="0">
                  <a:pos x="299" y="161"/>
                </a:cxn>
                <a:cxn ang="0">
                  <a:pos x="347" y="205"/>
                </a:cxn>
                <a:cxn ang="0">
                  <a:pos x="393" y="248"/>
                </a:cxn>
                <a:cxn ang="0">
                  <a:pos x="379" y="250"/>
                </a:cxn>
                <a:cxn ang="0">
                  <a:pos x="372" y="256"/>
                </a:cxn>
                <a:cxn ang="0">
                  <a:pos x="372" y="278"/>
                </a:cxn>
                <a:cxn ang="0">
                  <a:pos x="377" y="301"/>
                </a:cxn>
                <a:cxn ang="0">
                  <a:pos x="389" y="325"/>
                </a:cxn>
                <a:cxn ang="0">
                  <a:pos x="407" y="348"/>
                </a:cxn>
                <a:cxn ang="0">
                  <a:pos x="428" y="366"/>
                </a:cxn>
                <a:cxn ang="0">
                  <a:pos x="451" y="376"/>
                </a:cxn>
                <a:cxn ang="0">
                  <a:pos x="461" y="390"/>
                </a:cxn>
                <a:cxn ang="0">
                  <a:pos x="472" y="406"/>
                </a:cxn>
                <a:cxn ang="0">
                  <a:pos x="489" y="417"/>
                </a:cxn>
                <a:cxn ang="0">
                  <a:pos x="513" y="432"/>
                </a:cxn>
                <a:cxn ang="0">
                  <a:pos x="518" y="444"/>
                </a:cxn>
                <a:cxn ang="0">
                  <a:pos x="525" y="450"/>
                </a:cxn>
                <a:cxn ang="0">
                  <a:pos x="538" y="456"/>
                </a:cxn>
                <a:cxn ang="0">
                  <a:pos x="534" y="472"/>
                </a:cxn>
                <a:cxn ang="0">
                  <a:pos x="519" y="484"/>
                </a:cxn>
                <a:cxn ang="0">
                  <a:pos x="490" y="487"/>
                </a:cxn>
                <a:cxn ang="0">
                  <a:pos x="448" y="480"/>
                </a:cxn>
                <a:cxn ang="0">
                  <a:pos x="414" y="466"/>
                </a:cxn>
                <a:cxn ang="0">
                  <a:pos x="386" y="446"/>
                </a:cxn>
                <a:cxn ang="0">
                  <a:pos x="355" y="415"/>
                </a:cxn>
                <a:cxn ang="0">
                  <a:pos x="312" y="365"/>
                </a:cxn>
                <a:cxn ang="0">
                  <a:pos x="274" y="330"/>
                </a:cxn>
                <a:cxn ang="0">
                  <a:pos x="246" y="316"/>
                </a:cxn>
                <a:cxn ang="0">
                  <a:pos x="212" y="309"/>
                </a:cxn>
                <a:cxn ang="0">
                  <a:pos x="180" y="310"/>
                </a:cxn>
                <a:cxn ang="0">
                  <a:pos x="153" y="317"/>
                </a:cxn>
                <a:cxn ang="0">
                  <a:pos x="113" y="345"/>
                </a:cxn>
                <a:cxn ang="0">
                  <a:pos x="136" y="361"/>
                </a:cxn>
                <a:cxn ang="0">
                  <a:pos x="140" y="370"/>
                </a:cxn>
                <a:cxn ang="0">
                  <a:pos x="124" y="401"/>
                </a:cxn>
                <a:cxn ang="0">
                  <a:pos x="113" y="414"/>
                </a:cxn>
                <a:cxn ang="0">
                  <a:pos x="47" y="403"/>
                </a:cxn>
                <a:cxn ang="0">
                  <a:pos x="20" y="259"/>
                </a:cxn>
                <a:cxn ang="0">
                  <a:pos x="20" y="0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2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244013" y="4472808"/>
              <a:ext cx="106362" cy="128587"/>
            </a:xfrm>
            <a:custGeom>
              <a:avLst/>
              <a:gdLst/>
              <a:ahLst/>
              <a:cxnLst>
                <a:cxn ang="0">
                  <a:pos x="136" y="1"/>
                </a:cxn>
                <a:cxn ang="0">
                  <a:pos x="157" y="8"/>
                </a:cxn>
                <a:cxn ang="0">
                  <a:pos x="179" y="21"/>
                </a:cxn>
                <a:cxn ang="0">
                  <a:pos x="199" y="37"/>
                </a:cxn>
                <a:cxn ang="0">
                  <a:pos x="218" y="57"/>
                </a:cxn>
                <a:cxn ang="0">
                  <a:pos x="234" y="76"/>
                </a:cxn>
                <a:cxn ang="0">
                  <a:pos x="245" y="94"/>
                </a:cxn>
                <a:cxn ang="0">
                  <a:pos x="252" y="111"/>
                </a:cxn>
                <a:cxn ang="0">
                  <a:pos x="252" y="128"/>
                </a:cxn>
                <a:cxn ang="0">
                  <a:pos x="243" y="151"/>
                </a:cxn>
                <a:cxn ang="0">
                  <a:pos x="229" y="174"/>
                </a:cxn>
                <a:cxn ang="0">
                  <a:pos x="209" y="195"/>
                </a:cxn>
                <a:cxn ang="0">
                  <a:pos x="184" y="214"/>
                </a:cxn>
                <a:cxn ang="0">
                  <a:pos x="157" y="229"/>
                </a:cxn>
                <a:cxn ang="0">
                  <a:pos x="129" y="240"/>
                </a:cxn>
                <a:cxn ang="0">
                  <a:pos x="100" y="245"/>
                </a:cxn>
                <a:cxn ang="0">
                  <a:pos x="74" y="245"/>
                </a:cxn>
                <a:cxn ang="0">
                  <a:pos x="53" y="240"/>
                </a:cxn>
                <a:cxn ang="0">
                  <a:pos x="33" y="234"/>
                </a:cxn>
                <a:cxn ang="0">
                  <a:pos x="11" y="229"/>
                </a:cxn>
                <a:cxn ang="0">
                  <a:pos x="3" y="219"/>
                </a:cxn>
                <a:cxn ang="0">
                  <a:pos x="10" y="205"/>
                </a:cxn>
                <a:cxn ang="0">
                  <a:pos x="22" y="196"/>
                </a:cxn>
                <a:cxn ang="0">
                  <a:pos x="37" y="191"/>
                </a:cxn>
                <a:cxn ang="0">
                  <a:pos x="50" y="197"/>
                </a:cxn>
                <a:cxn ang="0">
                  <a:pos x="60" y="207"/>
                </a:cxn>
                <a:cxn ang="0">
                  <a:pos x="68" y="201"/>
                </a:cxn>
                <a:cxn ang="0">
                  <a:pos x="75" y="190"/>
                </a:cxn>
                <a:cxn ang="0">
                  <a:pos x="84" y="180"/>
                </a:cxn>
                <a:cxn ang="0">
                  <a:pos x="91" y="181"/>
                </a:cxn>
                <a:cxn ang="0">
                  <a:pos x="98" y="179"/>
                </a:cxn>
                <a:cxn ang="0">
                  <a:pos x="106" y="178"/>
                </a:cxn>
                <a:cxn ang="0">
                  <a:pos x="120" y="174"/>
                </a:cxn>
                <a:cxn ang="0">
                  <a:pos x="149" y="164"/>
                </a:cxn>
                <a:cxn ang="0">
                  <a:pos x="179" y="147"/>
                </a:cxn>
                <a:cxn ang="0">
                  <a:pos x="197" y="135"/>
                </a:cxn>
                <a:cxn ang="0">
                  <a:pos x="210" y="123"/>
                </a:cxn>
                <a:cxn ang="0">
                  <a:pos x="218" y="111"/>
                </a:cxn>
                <a:cxn ang="0">
                  <a:pos x="219" y="98"/>
                </a:cxn>
                <a:cxn ang="0">
                  <a:pos x="214" y="88"/>
                </a:cxn>
                <a:cxn ang="0">
                  <a:pos x="210" y="80"/>
                </a:cxn>
                <a:cxn ang="0">
                  <a:pos x="207" y="72"/>
                </a:cxn>
                <a:cxn ang="0">
                  <a:pos x="201" y="67"/>
                </a:cxn>
                <a:cxn ang="0">
                  <a:pos x="191" y="65"/>
                </a:cxn>
                <a:cxn ang="0">
                  <a:pos x="184" y="61"/>
                </a:cxn>
                <a:cxn ang="0">
                  <a:pos x="180" y="54"/>
                </a:cxn>
                <a:cxn ang="0">
                  <a:pos x="140" y="49"/>
                </a:cxn>
                <a:cxn ang="0">
                  <a:pos x="136" y="44"/>
                </a:cxn>
                <a:cxn ang="0">
                  <a:pos x="136" y="36"/>
                </a:cxn>
                <a:cxn ang="0">
                  <a:pos x="140" y="18"/>
                </a:cxn>
                <a:cxn ang="0">
                  <a:pos x="110" y="11"/>
                </a:cxn>
                <a:cxn ang="0">
                  <a:pos x="97" y="12"/>
                </a:cxn>
                <a:cxn ang="0">
                  <a:pos x="86" y="18"/>
                </a:cxn>
                <a:cxn ang="0">
                  <a:pos x="104" y="5"/>
                </a:cxn>
                <a:cxn ang="0">
                  <a:pos x="113" y="1"/>
                </a:cxn>
                <a:cxn ang="0">
                  <a:pos x="127" y="0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3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519988" y="4106095"/>
              <a:ext cx="63500" cy="119063"/>
            </a:xfrm>
            <a:custGeom>
              <a:avLst/>
              <a:gdLst/>
              <a:ahLst/>
              <a:cxnLst>
                <a:cxn ang="0">
                  <a:pos x="41" y="228"/>
                </a:cxn>
                <a:cxn ang="0">
                  <a:pos x="36" y="220"/>
                </a:cxn>
                <a:cxn ang="0">
                  <a:pos x="29" y="208"/>
                </a:cxn>
                <a:cxn ang="0">
                  <a:pos x="22" y="194"/>
                </a:cxn>
                <a:cxn ang="0">
                  <a:pos x="16" y="178"/>
                </a:cxn>
                <a:cxn ang="0">
                  <a:pos x="10" y="163"/>
                </a:cxn>
                <a:cxn ang="0">
                  <a:pos x="5" y="148"/>
                </a:cxn>
                <a:cxn ang="0">
                  <a:pos x="2" y="135"/>
                </a:cxn>
                <a:cxn ang="0">
                  <a:pos x="0" y="123"/>
                </a:cxn>
                <a:cxn ang="0">
                  <a:pos x="2" y="104"/>
                </a:cxn>
                <a:cxn ang="0">
                  <a:pos x="4" y="87"/>
                </a:cxn>
                <a:cxn ang="0">
                  <a:pos x="6" y="70"/>
                </a:cxn>
                <a:cxn ang="0">
                  <a:pos x="9" y="55"/>
                </a:cxn>
                <a:cxn ang="0">
                  <a:pos x="18" y="28"/>
                </a:cxn>
                <a:cxn ang="0">
                  <a:pos x="28" y="0"/>
                </a:cxn>
                <a:cxn ang="0">
                  <a:pos x="45" y="16"/>
                </a:cxn>
                <a:cxn ang="0">
                  <a:pos x="62" y="28"/>
                </a:cxn>
                <a:cxn ang="0">
                  <a:pos x="76" y="37"/>
                </a:cxn>
                <a:cxn ang="0">
                  <a:pos x="89" y="48"/>
                </a:cxn>
                <a:cxn ang="0">
                  <a:pos x="95" y="55"/>
                </a:cxn>
                <a:cxn ang="0">
                  <a:pos x="101" y="63"/>
                </a:cxn>
                <a:cxn ang="0">
                  <a:pos x="107" y="74"/>
                </a:cxn>
                <a:cxn ang="0">
                  <a:pos x="114" y="86"/>
                </a:cxn>
                <a:cxn ang="0">
                  <a:pos x="120" y="100"/>
                </a:cxn>
                <a:cxn ang="0">
                  <a:pos x="127" y="117"/>
                </a:cxn>
                <a:cxn ang="0">
                  <a:pos x="133" y="138"/>
                </a:cxn>
                <a:cxn ang="0">
                  <a:pos x="141" y="161"/>
                </a:cxn>
                <a:cxn ang="0">
                  <a:pos x="140" y="169"/>
                </a:cxn>
                <a:cxn ang="0">
                  <a:pos x="138" y="177"/>
                </a:cxn>
                <a:cxn ang="0">
                  <a:pos x="135" y="186"/>
                </a:cxn>
                <a:cxn ang="0">
                  <a:pos x="131" y="192"/>
                </a:cxn>
                <a:cxn ang="0">
                  <a:pos x="127" y="199"/>
                </a:cxn>
                <a:cxn ang="0">
                  <a:pos x="121" y="204"/>
                </a:cxn>
                <a:cxn ang="0">
                  <a:pos x="115" y="209"/>
                </a:cxn>
                <a:cxn ang="0">
                  <a:pos x="108" y="213"/>
                </a:cxn>
                <a:cxn ang="0">
                  <a:pos x="100" y="217"/>
                </a:cxn>
                <a:cxn ang="0">
                  <a:pos x="93" y="220"/>
                </a:cxn>
                <a:cxn ang="0">
                  <a:pos x="85" y="223"/>
                </a:cxn>
                <a:cxn ang="0">
                  <a:pos x="76" y="225"/>
                </a:cxn>
                <a:cxn ang="0">
                  <a:pos x="59" y="227"/>
                </a:cxn>
                <a:cxn ang="0">
                  <a:pos x="41" y="228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14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8459788" y="3817169"/>
              <a:ext cx="233362" cy="439738"/>
              <a:chOff x="5062" y="2295"/>
              <a:chExt cx="177" cy="279"/>
            </a:xfrm>
            <a:grpFill/>
          </p:grpSpPr>
          <p:sp>
            <p:nvSpPr>
              <p:cNvPr id="459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/>
                <a:ahLst/>
                <a:cxnLst>
                  <a:cxn ang="0">
                    <a:pos x="39" y="110"/>
                  </a:cxn>
                  <a:cxn ang="0">
                    <a:pos x="42" y="109"/>
                  </a:cxn>
                  <a:cxn ang="0">
                    <a:pos x="46" y="106"/>
                  </a:cxn>
                  <a:cxn ang="0">
                    <a:pos x="49" y="101"/>
                  </a:cxn>
                  <a:cxn ang="0">
                    <a:pos x="52" y="96"/>
                  </a:cxn>
                  <a:cxn ang="0">
                    <a:pos x="54" y="90"/>
                  </a:cxn>
                  <a:cxn ang="0">
                    <a:pos x="57" y="84"/>
                  </a:cxn>
                  <a:cxn ang="0">
                    <a:pos x="59" y="78"/>
                  </a:cxn>
                  <a:cxn ang="0">
                    <a:pos x="60" y="73"/>
                  </a:cxn>
                  <a:cxn ang="0">
                    <a:pos x="59" y="60"/>
                  </a:cxn>
                  <a:cxn ang="0">
                    <a:pos x="58" y="48"/>
                  </a:cxn>
                  <a:cxn ang="0">
                    <a:pos x="57" y="38"/>
                  </a:cxn>
                  <a:cxn ang="0">
                    <a:pos x="54" y="29"/>
                  </a:cxn>
                  <a:cxn ang="0">
                    <a:pos x="51" y="21"/>
                  </a:cxn>
                  <a:cxn ang="0">
                    <a:pos x="48" y="13"/>
                  </a:cxn>
                  <a:cxn ang="0">
                    <a:pos x="45" y="6"/>
                  </a:cxn>
                  <a:cxn ang="0">
                    <a:pos x="39" y="0"/>
                  </a:cxn>
                  <a:cxn ang="0">
                    <a:pos x="35" y="3"/>
                  </a:cxn>
                  <a:cxn ang="0">
                    <a:pos x="30" y="8"/>
                  </a:cxn>
                  <a:cxn ang="0">
                    <a:pos x="27" y="13"/>
                  </a:cxn>
                  <a:cxn ang="0">
                    <a:pos x="24" y="18"/>
                  </a:cxn>
                  <a:cxn ang="0">
                    <a:pos x="18" y="29"/>
                  </a:cxn>
                  <a:cxn ang="0">
                    <a:pos x="15" y="40"/>
                  </a:cxn>
                  <a:cxn ang="0">
                    <a:pos x="10" y="51"/>
                  </a:cxn>
                  <a:cxn ang="0">
                    <a:pos x="7" y="62"/>
                  </a:cxn>
                  <a:cxn ang="0">
                    <a:pos x="6" y="66"/>
                  </a:cxn>
                  <a:cxn ang="0">
                    <a:pos x="4" y="69"/>
                  </a:cxn>
                  <a:cxn ang="0">
                    <a:pos x="2" y="72"/>
                  </a:cxn>
                  <a:cxn ang="0">
                    <a:pos x="0" y="73"/>
                  </a:cxn>
                  <a:cxn ang="0">
                    <a:pos x="1" y="78"/>
                  </a:cxn>
                  <a:cxn ang="0">
                    <a:pos x="3" y="84"/>
                  </a:cxn>
                  <a:cxn ang="0">
                    <a:pos x="7" y="90"/>
                  </a:cxn>
                  <a:cxn ang="0">
                    <a:pos x="12" y="96"/>
                  </a:cxn>
                  <a:cxn ang="0">
                    <a:pos x="18" y="101"/>
                  </a:cxn>
                  <a:cxn ang="0">
                    <a:pos x="25" y="106"/>
                  </a:cxn>
                  <a:cxn ang="0">
                    <a:pos x="32" y="109"/>
                  </a:cxn>
                  <a:cxn ang="0">
                    <a:pos x="39" y="110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0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8" y="18"/>
                  </a:cxn>
                  <a:cxn ang="0">
                    <a:pos x="15" y="25"/>
                  </a:cxn>
                  <a:cxn ang="0">
                    <a:pos x="23" y="32"/>
                  </a:cxn>
                  <a:cxn ang="0">
                    <a:pos x="31" y="40"/>
                  </a:cxn>
                  <a:cxn ang="0">
                    <a:pos x="37" y="48"/>
                  </a:cxn>
                  <a:cxn ang="0">
                    <a:pos x="42" y="57"/>
                  </a:cxn>
                  <a:cxn ang="0">
                    <a:pos x="45" y="65"/>
                  </a:cxn>
                  <a:cxn ang="0">
                    <a:pos x="46" y="75"/>
                  </a:cxn>
                  <a:cxn ang="0">
                    <a:pos x="72" y="75"/>
                  </a:cxn>
                  <a:cxn ang="0">
                    <a:pos x="65" y="50"/>
                  </a:cxn>
                  <a:cxn ang="0">
                    <a:pos x="60" y="34"/>
                  </a:cxn>
                  <a:cxn ang="0">
                    <a:pos x="60" y="27"/>
                  </a:cxn>
                  <a:cxn ang="0">
                    <a:pos x="63" y="19"/>
                  </a:cxn>
                  <a:cxn ang="0">
                    <a:pos x="67" y="11"/>
                  </a:cxn>
                  <a:cxn ang="0">
                    <a:pos x="72" y="1"/>
                  </a:cxn>
                  <a:cxn ang="0">
                    <a:pos x="52" y="0"/>
                  </a:cxn>
                  <a:cxn ang="0">
                    <a:pos x="32" y="0"/>
                  </a:cxn>
                  <a:cxn ang="0">
                    <a:pos x="22" y="1"/>
                  </a:cxn>
                  <a:cxn ang="0">
                    <a:pos x="13" y="3"/>
                  </a:cxn>
                  <a:cxn ang="0">
                    <a:pos x="9" y="5"/>
                  </a:cxn>
                  <a:cxn ang="0">
                    <a:pos x="6" y="7"/>
                  </a:cxn>
                  <a:cxn ang="0">
                    <a:pos x="2" y="10"/>
                  </a:cxn>
                  <a:cxn ang="0">
                    <a:pos x="0" y="13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1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/>
                <a:ahLst/>
                <a:cxnLst>
                  <a:cxn ang="0">
                    <a:pos x="15" y="49"/>
                  </a:cxn>
                  <a:cxn ang="0">
                    <a:pos x="15" y="33"/>
                  </a:cxn>
                  <a:cxn ang="0">
                    <a:pos x="15" y="19"/>
                  </a:cxn>
                  <a:cxn ang="0">
                    <a:pos x="14" y="13"/>
                  </a:cxn>
                  <a:cxn ang="0">
                    <a:pos x="13" y="7"/>
                  </a:cxn>
                  <a:cxn ang="0">
                    <a:pos x="11" y="3"/>
                  </a:cxn>
                  <a:cxn ang="0">
                    <a:pos x="9" y="0"/>
                  </a:cxn>
                  <a:cxn ang="0">
                    <a:pos x="4" y="7"/>
                  </a:cxn>
                  <a:cxn ang="0">
                    <a:pos x="2" y="15"/>
                  </a:cxn>
                  <a:cxn ang="0">
                    <a:pos x="0" y="23"/>
                  </a:cxn>
                  <a:cxn ang="0">
                    <a:pos x="0" y="30"/>
                  </a:cxn>
                  <a:cxn ang="0">
                    <a:pos x="1" y="36"/>
                  </a:cxn>
                  <a:cxn ang="0">
                    <a:pos x="4" y="42"/>
                  </a:cxn>
                  <a:cxn ang="0">
                    <a:pos x="7" y="44"/>
                  </a:cxn>
                  <a:cxn ang="0">
                    <a:pos x="9" y="46"/>
                  </a:cxn>
                  <a:cxn ang="0">
                    <a:pos x="12" y="48"/>
                  </a:cxn>
                  <a:cxn ang="0">
                    <a:pos x="15" y="49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2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/>
                <a:ahLst/>
                <a:cxnLst>
                  <a:cxn ang="0">
                    <a:pos x="20" y="6"/>
                  </a:cxn>
                  <a:cxn ang="0">
                    <a:pos x="0" y="37"/>
                  </a:cxn>
                  <a:cxn ang="0">
                    <a:pos x="6" y="39"/>
                  </a:cxn>
                  <a:cxn ang="0">
                    <a:pos x="12" y="40"/>
                  </a:cxn>
                  <a:cxn ang="0">
                    <a:pos x="19" y="39"/>
                  </a:cxn>
                  <a:cxn ang="0">
                    <a:pos x="26" y="38"/>
                  </a:cxn>
                  <a:cxn ang="0">
                    <a:pos x="32" y="36"/>
                  </a:cxn>
                  <a:cxn ang="0">
                    <a:pos x="39" y="33"/>
                  </a:cxn>
                  <a:cxn ang="0">
                    <a:pos x="43" y="30"/>
                  </a:cxn>
                  <a:cxn ang="0">
                    <a:pos x="47" y="25"/>
                  </a:cxn>
                  <a:cxn ang="0">
                    <a:pos x="47" y="0"/>
                  </a:cxn>
                  <a:cxn ang="0">
                    <a:pos x="41" y="0"/>
                  </a:cxn>
                  <a:cxn ang="0">
                    <a:pos x="33" y="1"/>
                  </a:cxn>
                  <a:cxn ang="0">
                    <a:pos x="26" y="3"/>
                  </a:cxn>
                  <a:cxn ang="0">
                    <a:pos x="20" y="6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3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8"/>
                  </a:cxn>
                  <a:cxn ang="0">
                    <a:pos x="6" y="13"/>
                  </a:cxn>
                  <a:cxn ang="0">
                    <a:pos x="12" y="19"/>
                  </a:cxn>
                  <a:cxn ang="0">
                    <a:pos x="17" y="23"/>
                  </a:cxn>
                  <a:cxn ang="0">
                    <a:pos x="23" y="26"/>
                  </a:cxn>
                  <a:cxn ang="0">
                    <a:pos x="28" y="29"/>
                  </a:cxn>
                  <a:cxn ang="0">
                    <a:pos x="34" y="31"/>
                  </a:cxn>
                  <a:cxn ang="0">
                    <a:pos x="39" y="31"/>
                  </a:cxn>
                  <a:cxn ang="0">
                    <a:pos x="33" y="22"/>
                  </a:cxn>
                  <a:cxn ang="0">
                    <a:pos x="25" y="14"/>
                  </a:cxn>
                  <a:cxn ang="0">
                    <a:pos x="16" y="7"/>
                  </a:cxn>
                  <a:cxn ang="0">
                    <a:pos x="6" y="0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4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4" y="19"/>
                  </a:cxn>
                  <a:cxn ang="0">
                    <a:pos x="34" y="0"/>
                  </a:cxn>
                  <a:cxn ang="0">
                    <a:pos x="24" y="0"/>
                  </a:cxn>
                  <a:cxn ang="0">
                    <a:pos x="14" y="0"/>
                  </a:cxn>
                  <a:cxn ang="0">
                    <a:pos x="7" y="0"/>
                  </a:cxn>
                  <a:cxn ang="0">
                    <a:pos x="0" y="0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5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" y="12"/>
                  </a:cxn>
                  <a:cxn ang="0">
                    <a:pos x="13" y="6"/>
                  </a:cxn>
                  <a:cxn ang="0">
                    <a:pos x="6" y="6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6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/>
                <a:ahLst/>
                <a:cxnLst>
                  <a:cxn ang="0">
                    <a:pos x="113" y="0"/>
                  </a:cxn>
                  <a:cxn ang="0">
                    <a:pos x="117" y="5"/>
                  </a:cxn>
                  <a:cxn ang="0">
                    <a:pos x="121" y="10"/>
                  </a:cxn>
                  <a:cxn ang="0">
                    <a:pos x="124" y="13"/>
                  </a:cxn>
                  <a:cxn ang="0">
                    <a:pos x="125" y="17"/>
                  </a:cxn>
                  <a:cxn ang="0">
                    <a:pos x="126" y="20"/>
                  </a:cxn>
                  <a:cxn ang="0">
                    <a:pos x="126" y="25"/>
                  </a:cxn>
                  <a:cxn ang="0">
                    <a:pos x="123" y="32"/>
                  </a:cxn>
                  <a:cxn ang="0">
                    <a:pos x="118" y="41"/>
                  </a:cxn>
                  <a:cxn ang="0">
                    <a:pos x="113" y="50"/>
                  </a:cxn>
                  <a:cxn ang="0">
                    <a:pos x="106" y="61"/>
                  </a:cxn>
                  <a:cxn ang="0">
                    <a:pos x="91" y="83"/>
                  </a:cxn>
                  <a:cxn ang="0">
                    <a:pos x="72" y="104"/>
                  </a:cxn>
                  <a:cxn ang="0">
                    <a:pos x="53" y="126"/>
                  </a:cxn>
                  <a:cxn ang="0">
                    <a:pos x="34" y="144"/>
                  </a:cxn>
                  <a:cxn ang="0">
                    <a:pos x="25" y="152"/>
                  </a:cxn>
                  <a:cxn ang="0">
                    <a:pos x="16" y="158"/>
                  </a:cxn>
                  <a:cxn ang="0">
                    <a:pos x="7" y="163"/>
                  </a:cxn>
                  <a:cxn ang="0">
                    <a:pos x="0" y="166"/>
                  </a:cxn>
                  <a:cxn ang="0">
                    <a:pos x="0" y="160"/>
                  </a:cxn>
                  <a:cxn ang="0">
                    <a:pos x="0" y="153"/>
                  </a:cxn>
                  <a:cxn ang="0">
                    <a:pos x="0" y="145"/>
                  </a:cxn>
                  <a:cxn ang="0">
                    <a:pos x="0" y="136"/>
                  </a:cxn>
                  <a:cxn ang="0">
                    <a:pos x="3" y="131"/>
                  </a:cxn>
                  <a:cxn ang="0">
                    <a:pos x="6" y="128"/>
                  </a:cxn>
                  <a:cxn ang="0">
                    <a:pos x="12" y="124"/>
                  </a:cxn>
                  <a:cxn ang="0">
                    <a:pos x="16" y="121"/>
                  </a:cxn>
                  <a:cxn ang="0">
                    <a:pos x="26" y="116"/>
                  </a:cxn>
                  <a:cxn ang="0">
                    <a:pos x="33" y="110"/>
                  </a:cxn>
                  <a:cxn ang="0">
                    <a:pos x="40" y="104"/>
                  </a:cxn>
                  <a:cxn ang="0">
                    <a:pos x="48" y="96"/>
                  </a:cxn>
                  <a:cxn ang="0">
                    <a:pos x="53" y="89"/>
                  </a:cxn>
                  <a:cxn ang="0">
                    <a:pos x="58" y="82"/>
                  </a:cxn>
                  <a:cxn ang="0">
                    <a:pos x="67" y="66"/>
                  </a:cxn>
                  <a:cxn ang="0">
                    <a:pos x="72" y="50"/>
                  </a:cxn>
                  <a:cxn ang="0">
                    <a:pos x="79" y="36"/>
                  </a:cxn>
                  <a:cxn ang="0">
                    <a:pos x="87" y="23"/>
                  </a:cxn>
                  <a:cxn ang="0">
                    <a:pos x="92" y="16"/>
                  </a:cxn>
                  <a:cxn ang="0">
                    <a:pos x="97" y="11"/>
                  </a:cxn>
                  <a:cxn ang="0">
                    <a:pos x="104" y="5"/>
                  </a:cxn>
                  <a:cxn ang="0">
                    <a:pos x="113" y="0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7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/>
                <a:ahLst/>
                <a:cxnLst>
                  <a:cxn ang="0">
                    <a:pos x="8" y="182"/>
                  </a:cxn>
                  <a:cxn ang="0">
                    <a:pos x="1" y="163"/>
                  </a:cxn>
                  <a:cxn ang="0">
                    <a:pos x="0" y="142"/>
                  </a:cxn>
                  <a:cxn ang="0">
                    <a:pos x="6" y="130"/>
                  </a:cxn>
                  <a:cxn ang="0">
                    <a:pos x="19" y="126"/>
                  </a:cxn>
                  <a:cxn ang="0">
                    <a:pos x="34" y="117"/>
                  </a:cxn>
                  <a:cxn ang="0">
                    <a:pos x="48" y="100"/>
                  </a:cxn>
                  <a:cxn ang="0">
                    <a:pos x="60" y="91"/>
                  </a:cxn>
                  <a:cxn ang="0">
                    <a:pos x="68" y="87"/>
                  </a:cxn>
                  <a:cxn ang="0">
                    <a:pos x="83" y="87"/>
                  </a:cxn>
                  <a:cxn ang="0">
                    <a:pos x="94" y="93"/>
                  </a:cxn>
                  <a:cxn ang="0">
                    <a:pos x="101" y="105"/>
                  </a:cxn>
                  <a:cxn ang="0">
                    <a:pos x="108" y="110"/>
                  </a:cxn>
                  <a:cxn ang="0">
                    <a:pos x="120" y="110"/>
                  </a:cxn>
                  <a:cxn ang="0">
                    <a:pos x="135" y="104"/>
                  </a:cxn>
                  <a:cxn ang="0">
                    <a:pos x="148" y="93"/>
                  </a:cxn>
                  <a:cxn ang="0">
                    <a:pos x="160" y="78"/>
                  </a:cxn>
                  <a:cxn ang="0">
                    <a:pos x="174" y="51"/>
                  </a:cxn>
                  <a:cxn ang="0">
                    <a:pos x="188" y="16"/>
                  </a:cxn>
                  <a:cxn ang="0">
                    <a:pos x="195" y="4"/>
                  </a:cxn>
                  <a:cxn ang="0">
                    <a:pos x="202" y="12"/>
                  </a:cxn>
                  <a:cxn ang="0">
                    <a:pos x="213" y="18"/>
                  </a:cxn>
                  <a:cxn ang="0">
                    <a:pos x="219" y="32"/>
                  </a:cxn>
                  <a:cxn ang="0">
                    <a:pos x="219" y="52"/>
                  </a:cxn>
                  <a:cxn ang="0">
                    <a:pos x="227" y="61"/>
                  </a:cxn>
                  <a:cxn ang="0">
                    <a:pos x="234" y="70"/>
                  </a:cxn>
                  <a:cxn ang="0">
                    <a:pos x="234" y="88"/>
                  </a:cxn>
                  <a:cxn ang="0">
                    <a:pos x="234" y="104"/>
                  </a:cxn>
                  <a:cxn ang="0">
                    <a:pos x="237" y="110"/>
                  </a:cxn>
                  <a:cxn ang="0">
                    <a:pos x="243" y="121"/>
                  </a:cxn>
                  <a:cxn ang="0">
                    <a:pos x="249" y="137"/>
                  </a:cxn>
                  <a:cxn ang="0">
                    <a:pos x="254" y="161"/>
                  </a:cxn>
                  <a:cxn ang="0">
                    <a:pos x="245" y="235"/>
                  </a:cxn>
                  <a:cxn ang="0">
                    <a:pos x="239" y="222"/>
                  </a:cxn>
                  <a:cxn ang="0">
                    <a:pos x="237" y="208"/>
                  </a:cxn>
                  <a:cxn ang="0">
                    <a:pos x="239" y="192"/>
                  </a:cxn>
                  <a:cxn ang="0">
                    <a:pos x="222" y="188"/>
                  </a:cxn>
                  <a:cxn ang="0">
                    <a:pos x="206" y="179"/>
                  </a:cxn>
                  <a:cxn ang="0">
                    <a:pos x="194" y="199"/>
                  </a:cxn>
                  <a:cxn ang="0">
                    <a:pos x="188" y="219"/>
                  </a:cxn>
                  <a:cxn ang="0">
                    <a:pos x="185" y="259"/>
                  </a:cxn>
                  <a:cxn ang="0">
                    <a:pos x="124" y="242"/>
                  </a:cxn>
                  <a:cxn ang="0">
                    <a:pos x="110" y="220"/>
                  </a:cxn>
                  <a:cxn ang="0">
                    <a:pos x="99" y="209"/>
                  </a:cxn>
                  <a:cxn ang="0">
                    <a:pos x="97" y="196"/>
                  </a:cxn>
                  <a:cxn ang="0">
                    <a:pos x="105" y="186"/>
                  </a:cxn>
                  <a:cxn ang="0">
                    <a:pos x="112" y="180"/>
                  </a:cxn>
                  <a:cxn ang="0">
                    <a:pos x="117" y="173"/>
                  </a:cxn>
                  <a:cxn ang="0">
                    <a:pos x="93" y="154"/>
                  </a:cxn>
                  <a:cxn ang="0">
                    <a:pos x="28" y="155"/>
                  </a:cxn>
                  <a:cxn ang="0">
                    <a:pos x="20" y="163"/>
                  </a:cxn>
                  <a:cxn ang="0">
                    <a:pos x="16" y="175"/>
                  </a:cxn>
                  <a:cxn ang="0">
                    <a:pos x="13" y="187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8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/>
                <a:ahLst/>
                <a:cxnLst>
                  <a:cxn ang="0">
                    <a:pos x="72" y="43"/>
                  </a:cxn>
                  <a:cxn ang="0">
                    <a:pos x="72" y="92"/>
                  </a:cxn>
                  <a:cxn ang="0">
                    <a:pos x="65" y="86"/>
                  </a:cxn>
                  <a:cxn ang="0">
                    <a:pos x="58" y="81"/>
                  </a:cxn>
                  <a:cxn ang="0">
                    <a:pos x="51" y="75"/>
                  </a:cxn>
                  <a:cxn ang="0">
                    <a:pos x="46" y="69"/>
                  </a:cxn>
                  <a:cxn ang="0">
                    <a:pos x="38" y="58"/>
                  </a:cxn>
                  <a:cxn ang="0">
                    <a:pos x="32" y="46"/>
                  </a:cxn>
                  <a:cxn ang="0">
                    <a:pos x="25" y="34"/>
                  </a:cxn>
                  <a:cxn ang="0">
                    <a:pos x="19" y="23"/>
                  </a:cxn>
                  <a:cxn ang="0">
                    <a:pos x="11" y="12"/>
                  </a:cxn>
                  <a:cxn ang="0">
                    <a:pos x="0" y="0"/>
                  </a:cxn>
                  <a:cxn ang="0">
                    <a:pos x="25" y="12"/>
                  </a:cxn>
                  <a:cxn ang="0">
                    <a:pos x="44" y="21"/>
                  </a:cxn>
                  <a:cxn ang="0">
                    <a:pos x="51" y="26"/>
                  </a:cxn>
                  <a:cxn ang="0">
                    <a:pos x="58" y="31"/>
                  </a:cxn>
                  <a:cxn ang="0">
                    <a:pos x="66" y="36"/>
                  </a:cxn>
                  <a:cxn ang="0">
                    <a:pos x="72" y="43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9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19" y="5"/>
                  </a:cxn>
                  <a:cxn ang="0">
                    <a:pos x="31" y="3"/>
                  </a:cxn>
                  <a:cxn ang="0">
                    <a:pos x="39" y="1"/>
                  </a:cxn>
                  <a:cxn ang="0">
                    <a:pos x="46" y="0"/>
                  </a:cxn>
                  <a:cxn ang="0">
                    <a:pos x="46" y="9"/>
                  </a:cxn>
                  <a:cxn ang="0">
                    <a:pos x="46" y="18"/>
                  </a:cxn>
                  <a:cxn ang="0">
                    <a:pos x="46" y="27"/>
                  </a:cxn>
                  <a:cxn ang="0">
                    <a:pos x="46" y="38"/>
                  </a:cxn>
                  <a:cxn ang="0">
                    <a:pos x="45" y="46"/>
                  </a:cxn>
                  <a:cxn ang="0">
                    <a:pos x="41" y="54"/>
                  </a:cxn>
                  <a:cxn ang="0">
                    <a:pos x="39" y="57"/>
                  </a:cxn>
                  <a:cxn ang="0">
                    <a:pos x="37" y="60"/>
                  </a:cxn>
                  <a:cxn ang="0">
                    <a:pos x="35" y="61"/>
                  </a:cxn>
                  <a:cxn ang="0">
                    <a:pos x="33" y="62"/>
                  </a:cxn>
                  <a:cxn ang="0">
                    <a:pos x="27" y="61"/>
                  </a:cxn>
                  <a:cxn ang="0">
                    <a:pos x="22" y="60"/>
                  </a:cxn>
                  <a:cxn ang="0">
                    <a:pos x="17" y="59"/>
                  </a:cxn>
                  <a:cxn ang="0">
                    <a:pos x="14" y="57"/>
                  </a:cxn>
                  <a:cxn ang="0">
                    <a:pos x="11" y="54"/>
                  </a:cxn>
                  <a:cxn ang="0">
                    <a:pos x="7" y="51"/>
                  </a:cxn>
                  <a:cxn ang="0">
                    <a:pos x="5" y="47"/>
                  </a:cxn>
                  <a:cxn ang="0">
                    <a:pos x="4" y="44"/>
                  </a:cxn>
                  <a:cxn ang="0">
                    <a:pos x="1" y="34"/>
                  </a:cxn>
                  <a:cxn ang="0">
                    <a:pos x="0" y="25"/>
                  </a:cxn>
                  <a:cxn ang="0">
                    <a:pos x="0" y="16"/>
                  </a:cxn>
                  <a:cxn ang="0">
                    <a:pos x="0" y="6"/>
                  </a:cxn>
                  <a:cxn ang="0">
                    <a:pos x="6" y="6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0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/>
                <a:ahLst/>
                <a:cxnLst>
                  <a:cxn ang="0">
                    <a:pos x="59" y="0"/>
                  </a:cxn>
                  <a:cxn ang="0">
                    <a:pos x="66" y="9"/>
                  </a:cxn>
                  <a:cxn ang="0">
                    <a:pos x="77" y="17"/>
                  </a:cxn>
                  <a:cxn ang="0">
                    <a:pos x="88" y="23"/>
                  </a:cxn>
                  <a:cxn ang="0">
                    <a:pos x="99" y="25"/>
                  </a:cxn>
                  <a:cxn ang="0">
                    <a:pos x="108" y="21"/>
                  </a:cxn>
                  <a:cxn ang="0">
                    <a:pos x="118" y="12"/>
                  </a:cxn>
                  <a:cxn ang="0">
                    <a:pos x="122" y="35"/>
                  </a:cxn>
                  <a:cxn ang="0">
                    <a:pos x="130" y="62"/>
                  </a:cxn>
                  <a:cxn ang="0">
                    <a:pos x="141" y="86"/>
                  </a:cxn>
                  <a:cxn ang="0">
                    <a:pos x="147" y="94"/>
                  </a:cxn>
                  <a:cxn ang="0">
                    <a:pos x="152" y="99"/>
                  </a:cxn>
                  <a:cxn ang="0">
                    <a:pos x="143" y="120"/>
                  </a:cxn>
                  <a:cxn ang="0">
                    <a:pos x="129" y="140"/>
                  </a:cxn>
                  <a:cxn ang="0">
                    <a:pos x="117" y="157"/>
                  </a:cxn>
                  <a:cxn ang="0">
                    <a:pos x="112" y="172"/>
                  </a:cxn>
                  <a:cxn ang="0">
                    <a:pos x="115" y="197"/>
                  </a:cxn>
                  <a:cxn ang="0">
                    <a:pos x="115" y="205"/>
                  </a:cxn>
                  <a:cxn ang="0">
                    <a:pos x="112" y="216"/>
                  </a:cxn>
                  <a:cxn ang="0">
                    <a:pos x="126" y="216"/>
                  </a:cxn>
                  <a:cxn ang="0">
                    <a:pos x="146" y="216"/>
                  </a:cxn>
                  <a:cxn ang="0">
                    <a:pos x="136" y="252"/>
                  </a:cxn>
                  <a:cxn ang="0">
                    <a:pos x="136" y="267"/>
                  </a:cxn>
                  <a:cxn ang="0">
                    <a:pos x="146" y="283"/>
                  </a:cxn>
                  <a:cxn ang="0">
                    <a:pos x="125" y="291"/>
                  </a:cxn>
                  <a:cxn ang="0">
                    <a:pos x="105" y="296"/>
                  </a:cxn>
                  <a:cxn ang="0">
                    <a:pos x="85" y="294"/>
                  </a:cxn>
                  <a:cxn ang="0">
                    <a:pos x="73" y="288"/>
                  </a:cxn>
                  <a:cxn ang="0">
                    <a:pos x="67" y="280"/>
                  </a:cxn>
                  <a:cxn ang="0">
                    <a:pos x="66" y="271"/>
                  </a:cxn>
                  <a:cxn ang="0">
                    <a:pos x="85" y="253"/>
                  </a:cxn>
                  <a:cxn ang="0">
                    <a:pos x="69" y="249"/>
                  </a:cxn>
                  <a:cxn ang="0">
                    <a:pos x="52" y="242"/>
                  </a:cxn>
                  <a:cxn ang="0">
                    <a:pos x="38" y="231"/>
                  </a:cxn>
                  <a:cxn ang="0">
                    <a:pos x="25" y="219"/>
                  </a:cxn>
                  <a:cxn ang="0">
                    <a:pos x="14" y="205"/>
                  </a:cxn>
                  <a:cxn ang="0">
                    <a:pos x="6" y="190"/>
                  </a:cxn>
                  <a:cxn ang="0">
                    <a:pos x="1" y="172"/>
                  </a:cxn>
                  <a:cxn ang="0">
                    <a:pos x="0" y="154"/>
                  </a:cxn>
                  <a:cxn ang="0">
                    <a:pos x="0" y="130"/>
                  </a:cxn>
                  <a:cxn ang="0">
                    <a:pos x="27" y="106"/>
                  </a:cxn>
                  <a:cxn ang="0">
                    <a:pos x="32" y="46"/>
                  </a:cxn>
                  <a:cxn ang="0">
                    <a:pos x="31" y="18"/>
                  </a:cxn>
                  <a:cxn ang="0">
                    <a:pos x="28" y="4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1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/>
                <a:ahLst/>
                <a:cxnLst>
                  <a:cxn ang="0">
                    <a:pos x="26" y="38"/>
                  </a:cxn>
                  <a:cxn ang="0">
                    <a:pos x="26" y="0"/>
                  </a:cxn>
                  <a:cxn ang="0">
                    <a:pos x="21" y="1"/>
                  </a:cxn>
                  <a:cxn ang="0">
                    <a:pos x="13" y="4"/>
                  </a:cxn>
                  <a:cxn ang="0">
                    <a:pos x="6" y="8"/>
                  </a:cxn>
                  <a:cxn ang="0">
                    <a:pos x="0" y="13"/>
                  </a:cxn>
                  <a:cxn ang="0">
                    <a:pos x="18" y="30"/>
                  </a:cxn>
                  <a:cxn ang="0">
                    <a:pos x="26" y="38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2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8" y="22"/>
                  </a:cxn>
                  <a:cxn ang="0">
                    <a:pos x="17" y="26"/>
                  </a:cxn>
                  <a:cxn ang="0">
                    <a:pos x="27" y="30"/>
                  </a:cxn>
                  <a:cxn ang="0">
                    <a:pos x="34" y="31"/>
                  </a:cxn>
                  <a:cxn ang="0">
                    <a:pos x="33" y="24"/>
                  </a:cxn>
                  <a:cxn ang="0">
                    <a:pos x="30" y="15"/>
                  </a:cxn>
                  <a:cxn ang="0">
                    <a:pos x="26" y="6"/>
                  </a:cxn>
                  <a:cxn ang="0">
                    <a:pos x="20" y="0"/>
                  </a:cxn>
                  <a:cxn ang="0">
                    <a:pos x="16" y="5"/>
                  </a:cxn>
                  <a:cxn ang="0">
                    <a:pos x="10" y="11"/>
                  </a:cxn>
                  <a:cxn ang="0">
                    <a:pos x="8" y="14"/>
                  </a:cxn>
                  <a:cxn ang="0">
                    <a:pos x="6" y="16"/>
                  </a:cxn>
                  <a:cxn ang="0">
                    <a:pos x="4" y="18"/>
                  </a:cxn>
                  <a:cxn ang="0">
                    <a:pos x="0" y="18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3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37"/>
                  </a:cxn>
                  <a:cxn ang="0">
                    <a:pos x="7" y="33"/>
                  </a:cxn>
                  <a:cxn ang="0">
                    <a:pos x="20" y="30"/>
                  </a:cxn>
                  <a:cxn ang="0">
                    <a:pos x="20" y="0"/>
                  </a:cxn>
                  <a:cxn ang="0">
                    <a:pos x="0" y="6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4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5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1" y="13"/>
                  </a:cxn>
                  <a:cxn ang="0">
                    <a:pos x="3" y="9"/>
                  </a:cxn>
                  <a:cxn ang="0">
                    <a:pos x="7" y="4"/>
                  </a:cxn>
                  <a:cxn ang="0">
                    <a:pos x="13" y="0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6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7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0" y="31"/>
                  </a:cxn>
                  <a:cxn ang="0">
                    <a:pos x="27" y="13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8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10" y="0"/>
                  </a:cxn>
                  <a:cxn ang="0">
                    <a:pos x="0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9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6" y="13"/>
                  </a:cxn>
                  <a:cxn ang="0">
                    <a:pos x="10" y="11"/>
                  </a:cxn>
                  <a:cxn ang="0">
                    <a:pos x="16" y="10"/>
                  </a:cxn>
                  <a:cxn ang="0">
                    <a:pos x="20" y="7"/>
                  </a:cxn>
                  <a:cxn ang="0">
                    <a:pos x="28" y="2"/>
                  </a:cxn>
                  <a:cxn ang="0">
                    <a:pos x="34" y="0"/>
                  </a:cxn>
                  <a:cxn ang="0">
                    <a:pos x="25" y="0"/>
                  </a:cxn>
                  <a:cxn ang="0">
                    <a:pos x="15" y="0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0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/>
                <a:ahLst/>
                <a:cxnLst>
                  <a:cxn ang="0">
                    <a:pos x="34" y="18"/>
                  </a:cxn>
                  <a:cxn ang="0">
                    <a:pos x="34" y="0"/>
                  </a:cxn>
                  <a:cxn ang="0">
                    <a:pos x="28" y="0"/>
                  </a:cxn>
                  <a:cxn ang="0">
                    <a:pos x="20" y="0"/>
                  </a:cxn>
                  <a:cxn ang="0">
                    <a:pos x="10" y="0"/>
                  </a:cxn>
                  <a:cxn ang="0">
                    <a:pos x="0" y="0"/>
                  </a:cxn>
                  <a:cxn ang="0">
                    <a:pos x="34" y="18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1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/>
                <a:ahLst/>
                <a:cxnLst>
                  <a:cxn ang="0">
                    <a:pos x="53" y="25"/>
                  </a:cxn>
                  <a:cxn ang="0">
                    <a:pos x="56" y="12"/>
                  </a:cxn>
                  <a:cxn ang="0">
                    <a:pos x="59" y="0"/>
                  </a:cxn>
                  <a:cxn ang="0">
                    <a:pos x="44" y="0"/>
                  </a:cxn>
                  <a:cxn ang="0">
                    <a:pos x="27" y="0"/>
                  </a:cxn>
                  <a:cxn ang="0">
                    <a:pos x="19" y="1"/>
                  </a:cxn>
                  <a:cxn ang="0">
                    <a:pos x="12" y="2"/>
                  </a:cxn>
                  <a:cxn ang="0">
                    <a:pos x="5" y="4"/>
                  </a:cxn>
                  <a:cxn ang="0">
                    <a:pos x="0" y="6"/>
                  </a:cxn>
                  <a:cxn ang="0">
                    <a:pos x="13" y="14"/>
                  </a:cxn>
                  <a:cxn ang="0">
                    <a:pos x="26" y="20"/>
                  </a:cxn>
                  <a:cxn ang="0">
                    <a:pos x="33" y="22"/>
                  </a:cxn>
                  <a:cxn ang="0">
                    <a:pos x="38" y="24"/>
                  </a:cxn>
                  <a:cxn ang="0">
                    <a:pos x="46" y="25"/>
                  </a:cxn>
                  <a:cxn ang="0">
                    <a:pos x="53" y="25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2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15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804275" y="4636320"/>
              <a:ext cx="14288" cy="55563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1" y="34"/>
                </a:cxn>
                <a:cxn ang="0">
                  <a:pos x="2" y="27"/>
                </a:cxn>
                <a:cxn ang="0">
                  <a:pos x="5" y="21"/>
                </a:cxn>
                <a:cxn ang="0">
                  <a:pos x="9" y="15"/>
                </a:cxn>
                <a:cxn ang="0">
                  <a:pos x="14" y="9"/>
                </a:cxn>
                <a:cxn ang="0">
                  <a:pos x="20" y="5"/>
                </a:cxn>
                <a:cxn ang="0">
                  <a:pos x="26" y="2"/>
                </a:cxn>
                <a:cxn ang="0">
                  <a:pos x="33" y="0"/>
                </a:cxn>
                <a:cxn ang="0">
                  <a:pos x="33" y="25"/>
                </a:cxn>
                <a:cxn ang="0">
                  <a:pos x="23" y="27"/>
                </a:cxn>
                <a:cxn ang="0">
                  <a:pos x="18" y="29"/>
                </a:cxn>
                <a:cxn ang="0">
                  <a:pos x="16" y="32"/>
                </a:cxn>
                <a:cxn ang="0">
                  <a:pos x="16" y="34"/>
                </a:cxn>
                <a:cxn ang="0">
                  <a:pos x="16" y="36"/>
                </a:cxn>
                <a:cxn ang="0">
                  <a:pos x="14" y="38"/>
                </a:cxn>
                <a:cxn ang="0">
                  <a:pos x="10" y="41"/>
                </a:cxn>
                <a:cxn ang="0">
                  <a:pos x="0" y="43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6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880476" y="4575994"/>
              <a:ext cx="22225" cy="58738"/>
            </a:xfrm>
            <a:custGeom>
              <a:avLst/>
              <a:gdLst/>
              <a:ahLst/>
              <a:cxnLst>
                <a:cxn ang="0">
                  <a:pos x="0" y="55"/>
                </a:cxn>
                <a:cxn ang="0">
                  <a:pos x="1" y="51"/>
                </a:cxn>
                <a:cxn ang="0">
                  <a:pos x="2" y="46"/>
                </a:cxn>
                <a:cxn ang="0">
                  <a:pos x="3" y="42"/>
                </a:cxn>
                <a:cxn ang="0">
                  <a:pos x="6" y="37"/>
                </a:cxn>
                <a:cxn ang="0">
                  <a:pos x="11" y="29"/>
                </a:cxn>
                <a:cxn ang="0">
                  <a:pos x="18" y="21"/>
                </a:cxn>
                <a:cxn ang="0">
                  <a:pos x="31" y="7"/>
                </a:cxn>
                <a:cxn ang="0">
                  <a:pos x="41" y="0"/>
                </a:cxn>
                <a:cxn ang="0">
                  <a:pos x="54" y="12"/>
                </a:cxn>
                <a:cxn ang="0">
                  <a:pos x="51" y="21"/>
                </a:cxn>
                <a:cxn ang="0">
                  <a:pos x="47" y="29"/>
                </a:cxn>
                <a:cxn ang="0">
                  <a:pos x="44" y="35"/>
                </a:cxn>
                <a:cxn ang="0">
                  <a:pos x="41" y="41"/>
                </a:cxn>
                <a:cxn ang="0">
                  <a:pos x="33" y="49"/>
                </a:cxn>
                <a:cxn ang="0">
                  <a:pos x="28" y="55"/>
                </a:cxn>
                <a:cxn ang="0">
                  <a:pos x="26" y="64"/>
                </a:cxn>
                <a:cxn ang="0">
                  <a:pos x="26" y="74"/>
                </a:cxn>
                <a:cxn ang="0">
                  <a:pos x="24" y="83"/>
                </a:cxn>
                <a:cxn ang="0">
                  <a:pos x="20" y="92"/>
                </a:cxn>
                <a:cxn ang="0">
                  <a:pos x="14" y="83"/>
                </a:cxn>
                <a:cxn ang="0">
                  <a:pos x="8" y="74"/>
                </a:cxn>
                <a:cxn ang="0">
                  <a:pos x="5" y="70"/>
                </a:cxn>
                <a:cxn ang="0">
                  <a:pos x="2" y="64"/>
                </a:cxn>
                <a:cxn ang="0">
                  <a:pos x="1" y="60"/>
                </a:cxn>
                <a:cxn ang="0">
                  <a:pos x="0" y="55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7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928101" y="4455344"/>
              <a:ext cx="23813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9" y="4"/>
                </a:cxn>
                <a:cxn ang="0">
                  <a:pos x="37" y="9"/>
                </a:cxn>
                <a:cxn ang="0">
                  <a:pos x="45" y="11"/>
                </a:cxn>
                <a:cxn ang="0">
                  <a:pos x="51" y="13"/>
                </a:cxn>
                <a:cxn ang="0">
                  <a:pos x="56" y="16"/>
                </a:cxn>
                <a:cxn ang="0">
                  <a:pos x="60" y="18"/>
                </a:cxn>
                <a:cxn ang="0">
                  <a:pos x="38" y="18"/>
                </a:cxn>
                <a:cxn ang="0">
                  <a:pos x="23" y="18"/>
                </a:cxn>
                <a:cxn ang="0">
                  <a:pos x="10" y="18"/>
                </a:cxn>
                <a:cxn ang="0">
                  <a:pos x="0" y="18"/>
                </a:cxn>
                <a:cxn ang="0">
                  <a:pos x="0" y="0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8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912225" y="4425182"/>
              <a:ext cx="25400" cy="57150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66" y="18"/>
                </a:cxn>
                <a:cxn ang="0">
                  <a:pos x="52" y="13"/>
                </a:cxn>
                <a:cxn ang="0">
                  <a:pos x="40" y="7"/>
                </a:cxn>
                <a:cxn ang="0">
                  <a:pos x="35" y="4"/>
                </a:cxn>
                <a:cxn ang="0">
                  <a:pos x="29" y="2"/>
                </a:cxn>
                <a:cxn ang="0">
                  <a:pos x="25" y="1"/>
                </a:cxn>
                <a:cxn ang="0">
                  <a:pos x="19" y="0"/>
                </a:cxn>
                <a:cxn ang="0">
                  <a:pos x="0" y="18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9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8737600" y="4321994"/>
              <a:ext cx="7938" cy="57150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13" y="42"/>
                </a:cxn>
                <a:cxn ang="0">
                  <a:pos x="14" y="33"/>
                </a:cxn>
                <a:cxn ang="0">
                  <a:pos x="16" y="23"/>
                </a:cxn>
                <a:cxn ang="0">
                  <a:pos x="17" y="18"/>
                </a:cxn>
                <a:cxn ang="0">
                  <a:pos x="16" y="12"/>
                </a:cxn>
                <a:cxn ang="0">
                  <a:pos x="16" y="6"/>
                </a:cxn>
                <a:cxn ang="0">
                  <a:pos x="13" y="0"/>
                </a:cxn>
                <a:cxn ang="0">
                  <a:pos x="0" y="36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0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8664576" y="4456933"/>
              <a:ext cx="30163" cy="58737"/>
            </a:xfrm>
            <a:custGeom>
              <a:avLst/>
              <a:gdLst/>
              <a:ahLst/>
              <a:cxnLst>
                <a:cxn ang="0">
                  <a:pos x="6" y="29"/>
                </a:cxn>
                <a:cxn ang="0">
                  <a:pos x="15" y="26"/>
                </a:cxn>
                <a:cxn ang="0">
                  <a:pos x="24" y="24"/>
                </a:cxn>
                <a:cxn ang="0">
                  <a:pos x="32" y="24"/>
                </a:cxn>
                <a:cxn ang="0">
                  <a:pos x="39" y="24"/>
                </a:cxn>
                <a:cxn ang="0">
                  <a:pos x="55" y="27"/>
                </a:cxn>
                <a:cxn ang="0">
                  <a:pos x="72" y="29"/>
                </a:cxn>
                <a:cxn ang="0">
                  <a:pos x="72" y="4"/>
                </a:cxn>
                <a:cxn ang="0">
                  <a:pos x="58" y="1"/>
                </a:cxn>
                <a:cxn ang="0">
                  <a:pos x="47" y="0"/>
                </a:cxn>
                <a:cxn ang="0">
                  <a:pos x="39" y="0"/>
                </a:cxn>
                <a:cxn ang="0">
                  <a:pos x="34" y="2"/>
                </a:cxn>
                <a:cxn ang="0">
                  <a:pos x="27" y="3"/>
                </a:cxn>
                <a:cxn ang="0">
                  <a:pos x="21" y="5"/>
                </a:cxn>
                <a:cxn ang="0">
                  <a:pos x="12" y="5"/>
                </a:cxn>
                <a:cxn ang="0">
                  <a:pos x="0" y="4"/>
                </a:cxn>
                <a:cxn ang="0">
                  <a:pos x="3" y="16"/>
                </a:cxn>
                <a:cxn ang="0">
                  <a:pos x="6" y="29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1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672513" y="4642670"/>
              <a:ext cx="19050" cy="555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9"/>
                </a:cxn>
                <a:cxn ang="0">
                  <a:pos x="20" y="15"/>
                </a:cxn>
                <a:cxn ang="0">
                  <a:pos x="31" y="20"/>
                </a:cxn>
                <a:cxn ang="0">
                  <a:pos x="46" y="25"/>
                </a:cxn>
                <a:cxn ang="0">
                  <a:pos x="37" y="29"/>
                </a:cxn>
                <a:cxn ang="0">
                  <a:pos x="29" y="33"/>
                </a:cxn>
                <a:cxn ang="0">
                  <a:pos x="21" y="36"/>
                </a:cxn>
                <a:cxn ang="0">
                  <a:pos x="13" y="37"/>
                </a:cxn>
                <a:cxn ang="0">
                  <a:pos x="9" y="36"/>
                </a:cxn>
                <a:cxn ang="0">
                  <a:pos x="7" y="33"/>
                </a:cxn>
                <a:cxn ang="0">
                  <a:pos x="5" y="29"/>
                </a:cxn>
                <a:cxn ang="0">
                  <a:pos x="3" y="23"/>
                </a:cxn>
                <a:cxn ang="0">
                  <a:pos x="1" y="12"/>
                </a:cxn>
                <a:cxn ang="0">
                  <a:pos x="0" y="0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2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8785226" y="4461694"/>
              <a:ext cx="11113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6" y="19"/>
                </a:cxn>
                <a:cxn ang="0">
                  <a:pos x="26" y="9"/>
                </a:cxn>
                <a:cxn ang="0">
                  <a:pos x="26" y="0"/>
                </a:cxn>
                <a:cxn ang="0">
                  <a:pos x="15" y="0"/>
                </a:cxn>
                <a:cxn ang="0">
                  <a:pos x="0" y="0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3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8645525" y="4456933"/>
              <a:ext cx="19050" cy="5873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12"/>
                </a:cxn>
                <a:cxn ang="0">
                  <a:pos x="0" y="23"/>
                </a:cxn>
                <a:cxn ang="0">
                  <a:pos x="0" y="26"/>
                </a:cxn>
                <a:cxn ang="0">
                  <a:pos x="0" y="29"/>
                </a:cxn>
                <a:cxn ang="0">
                  <a:pos x="0" y="31"/>
                </a:cxn>
                <a:cxn ang="0">
                  <a:pos x="2" y="31"/>
                </a:cxn>
                <a:cxn ang="0">
                  <a:pos x="13" y="22"/>
                </a:cxn>
                <a:cxn ang="0">
                  <a:pos x="25" y="13"/>
                </a:cxn>
                <a:cxn ang="0">
                  <a:pos x="35" y="5"/>
                </a:cxn>
                <a:cxn ang="0">
                  <a:pos x="43" y="0"/>
                </a:cxn>
                <a:cxn ang="0">
                  <a:pos x="2" y="0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4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8689976" y="4504557"/>
              <a:ext cx="30163" cy="57150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4" y="18"/>
                </a:cxn>
                <a:cxn ang="0">
                  <a:pos x="5" y="25"/>
                </a:cxn>
                <a:cxn ang="0">
                  <a:pos x="7" y="31"/>
                </a:cxn>
                <a:cxn ang="0">
                  <a:pos x="9" y="37"/>
                </a:cxn>
                <a:cxn ang="0">
                  <a:pos x="14" y="41"/>
                </a:cxn>
                <a:cxn ang="0">
                  <a:pos x="18" y="46"/>
                </a:cxn>
                <a:cxn ang="0">
                  <a:pos x="23" y="48"/>
                </a:cxn>
                <a:cxn ang="0">
                  <a:pos x="30" y="49"/>
                </a:cxn>
                <a:cxn ang="0">
                  <a:pos x="35" y="48"/>
                </a:cxn>
                <a:cxn ang="0">
                  <a:pos x="40" y="46"/>
                </a:cxn>
                <a:cxn ang="0">
                  <a:pos x="45" y="42"/>
                </a:cxn>
                <a:cxn ang="0">
                  <a:pos x="50" y="37"/>
                </a:cxn>
                <a:cxn ang="0">
                  <a:pos x="60" y="28"/>
                </a:cxn>
                <a:cxn ang="0">
                  <a:pos x="71" y="18"/>
                </a:cxn>
                <a:cxn ang="0">
                  <a:pos x="61" y="12"/>
                </a:cxn>
                <a:cxn ang="0">
                  <a:pos x="52" y="9"/>
                </a:cxn>
                <a:cxn ang="0">
                  <a:pos x="44" y="7"/>
                </a:cxn>
                <a:cxn ang="0">
                  <a:pos x="37" y="6"/>
                </a:cxn>
                <a:cxn ang="0">
                  <a:pos x="29" y="6"/>
                </a:cxn>
                <a:cxn ang="0">
                  <a:pos x="21" y="5"/>
                </a:cxn>
                <a:cxn ang="0">
                  <a:pos x="14" y="3"/>
                </a:cxn>
                <a:cxn ang="0">
                  <a:pos x="4" y="0"/>
                </a:cxn>
                <a:cxn ang="0">
                  <a:pos x="3" y="1"/>
                </a:cxn>
                <a:cxn ang="0">
                  <a:pos x="1" y="6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1" y="11"/>
                </a:cxn>
                <a:cxn ang="0">
                  <a:pos x="4" y="12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5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8491539" y="4707758"/>
              <a:ext cx="46037" cy="58737"/>
            </a:xfrm>
            <a:custGeom>
              <a:avLst/>
              <a:gdLst/>
              <a:ahLst/>
              <a:cxnLst>
                <a:cxn ang="0">
                  <a:pos x="46" y="2"/>
                </a:cxn>
                <a:cxn ang="0">
                  <a:pos x="56" y="2"/>
                </a:cxn>
                <a:cxn ang="0">
                  <a:pos x="66" y="3"/>
                </a:cxn>
                <a:cxn ang="0">
                  <a:pos x="74" y="4"/>
                </a:cxn>
                <a:cxn ang="0">
                  <a:pos x="84" y="6"/>
                </a:cxn>
                <a:cxn ang="0">
                  <a:pos x="92" y="9"/>
                </a:cxn>
                <a:cxn ang="0">
                  <a:pos x="100" y="12"/>
                </a:cxn>
                <a:cxn ang="0">
                  <a:pos x="106" y="16"/>
                </a:cxn>
                <a:cxn ang="0">
                  <a:pos x="112" y="20"/>
                </a:cxn>
                <a:cxn ang="0">
                  <a:pos x="110" y="22"/>
                </a:cxn>
                <a:cxn ang="0">
                  <a:pos x="105" y="23"/>
                </a:cxn>
                <a:cxn ang="0">
                  <a:pos x="101" y="25"/>
                </a:cxn>
                <a:cxn ang="0">
                  <a:pos x="95" y="25"/>
                </a:cxn>
                <a:cxn ang="0">
                  <a:pos x="87" y="26"/>
                </a:cxn>
                <a:cxn ang="0">
                  <a:pos x="79" y="26"/>
                </a:cxn>
                <a:cxn ang="0">
                  <a:pos x="66" y="24"/>
                </a:cxn>
                <a:cxn ang="0">
                  <a:pos x="41" y="19"/>
                </a:cxn>
                <a:cxn ang="0">
                  <a:pos x="16" y="13"/>
                </a:cxn>
                <a:cxn ang="0">
                  <a:pos x="0" y="8"/>
                </a:cxn>
                <a:cxn ang="0">
                  <a:pos x="5" y="4"/>
                </a:cxn>
                <a:cxn ang="0">
                  <a:pos x="11" y="2"/>
                </a:cxn>
                <a:cxn ang="0">
                  <a:pos x="18" y="1"/>
                </a:cxn>
                <a:cxn ang="0">
                  <a:pos x="25" y="0"/>
                </a:cxn>
                <a:cxn ang="0">
                  <a:pos x="37" y="1"/>
                </a:cxn>
                <a:cxn ang="0">
                  <a:pos x="46" y="2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6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8589964" y="4745858"/>
              <a:ext cx="14287" cy="587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1" y="0"/>
                </a:cxn>
                <a:cxn ang="0">
                  <a:pos x="28" y="8"/>
                </a:cxn>
                <a:cxn ang="0">
                  <a:pos x="18" y="15"/>
                </a:cxn>
                <a:cxn ang="0">
                  <a:pos x="9" y="20"/>
                </a:cxn>
                <a:cxn ang="0">
                  <a:pos x="0" y="25"/>
                </a:cxn>
                <a:cxn ang="0">
                  <a:pos x="0" y="0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7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8423276" y="4677595"/>
              <a:ext cx="36513" cy="55563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22"/>
                </a:cxn>
                <a:cxn ang="0">
                  <a:pos x="0" y="13"/>
                </a:cxn>
                <a:cxn ang="0">
                  <a:pos x="0" y="10"/>
                </a:cxn>
                <a:cxn ang="0">
                  <a:pos x="2" y="8"/>
                </a:cxn>
                <a:cxn ang="0">
                  <a:pos x="3" y="6"/>
                </a:cxn>
                <a:cxn ang="0">
                  <a:pos x="4" y="4"/>
                </a:cxn>
                <a:cxn ang="0">
                  <a:pos x="8" y="2"/>
                </a:cxn>
                <a:cxn ang="0">
                  <a:pos x="14" y="0"/>
                </a:cxn>
                <a:cxn ang="0">
                  <a:pos x="26" y="1"/>
                </a:cxn>
                <a:cxn ang="0">
                  <a:pos x="41" y="1"/>
                </a:cxn>
                <a:cxn ang="0">
                  <a:pos x="56" y="1"/>
                </a:cxn>
                <a:cxn ang="0">
                  <a:pos x="65" y="1"/>
                </a:cxn>
                <a:cxn ang="0">
                  <a:pos x="73" y="1"/>
                </a:cxn>
                <a:cxn ang="0">
                  <a:pos x="81" y="1"/>
                </a:cxn>
                <a:cxn ang="0">
                  <a:pos x="73" y="6"/>
                </a:cxn>
                <a:cxn ang="0">
                  <a:pos x="67" y="10"/>
                </a:cxn>
                <a:cxn ang="0">
                  <a:pos x="64" y="14"/>
                </a:cxn>
                <a:cxn ang="0">
                  <a:pos x="62" y="18"/>
                </a:cxn>
                <a:cxn ang="0">
                  <a:pos x="59" y="21"/>
                </a:cxn>
                <a:cxn ang="0">
                  <a:pos x="54" y="23"/>
                </a:cxn>
                <a:cxn ang="0">
                  <a:pos x="47" y="25"/>
                </a:cxn>
                <a:cxn ang="0">
                  <a:pos x="34" y="25"/>
                </a:cxn>
                <a:cxn ang="0">
                  <a:pos x="0" y="31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8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8467725" y="4663307"/>
              <a:ext cx="39688" cy="55562"/>
            </a:xfrm>
            <a:custGeom>
              <a:avLst/>
              <a:gdLst/>
              <a:ahLst/>
              <a:cxnLst>
                <a:cxn ang="0">
                  <a:pos x="2" y="49"/>
                </a:cxn>
                <a:cxn ang="0">
                  <a:pos x="89" y="49"/>
                </a:cxn>
                <a:cxn ang="0">
                  <a:pos x="78" y="41"/>
                </a:cxn>
                <a:cxn ang="0">
                  <a:pos x="68" y="35"/>
                </a:cxn>
                <a:cxn ang="0">
                  <a:pos x="57" y="30"/>
                </a:cxn>
                <a:cxn ang="0">
                  <a:pos x="46" y="25"/>
                </a:cxn>
                <a:cxn ang="0">
                  <a:pos x="36" y="21"/>
                </a:cxn>
                <a:cxn ang="0">
                  <a:pos x="26" y="14"/>
                </a:cxn>
                <a:cxn ang="0">
                  <a:pos x="16" y="8"/>
                </a:cxn>
                <a:cxn ang="0">
                  <a:pos x="9" y="0"/>
                </a:cxn>
                <a:cxn ang="0">
                  <a:pos x="4" y="10"/>
                </a:cxn>
                <a:cxn ang="0">
                  <a:pos x="1" y="23"/>
                </a:cxn>
                <a:cxn ang="0">
                  <a:pos x="0" y="29"/>
                </a:cxn>
                <a:cxn ang="0">
                  <a:pos x="0" y="36"/>
                </a:cxn>
                <a:cxn ang="0">
                  <a:pos x="0" y="43"/>
                </a:cxn>
                <a:cxn ang="0">
                  <a:pos x="2" y="49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9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520113" y="4672833"/>
              <a:ext cx="36512" cy="58737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14" y="26"/>
                </a:cxn>
                <a:cxn ang="0">
                  <a:pos x="25" y="29"/>
                </a:cxn>
                <a:cxn ang="0">
                  <a:pos x="30" y="30"/>
                </a:cxn>
                <a:cxn ang="0">
                  <a:pos x="36" y="30"/>
                </a:cxn>
                <a:cxn ang="0">
                  <a:pos x="41" y="29"/>
                </a:cxn>
                <a:cxn ang="0">
                  <a:pos x="46" y="27"/>
                </a:cxn>
                <a:cxn ang="0">
                  <a:pos x="46" y="36"/>
                </a:cxn>
                <a:cxn ang="0">
                  <a:pos x="46" y="46"/>
                </a:cxn>
                <a:cxn ang="0">
                  <a:pos x="56" y="45"/>
                </a:cxn>
                <a:cxn ang="0">
                  <a:pos x="67" y="43"/>
                </a:cxn>
                <a:cxn ang="0">
                  <a:pos x="77" y="40"/>
                </a:cxn>
                <a:cxn ang="0">
                  <a:pos x="86" y="40"/>
                </a:cxn>
                <a:cxn ang="0">
                  <a:pos x="83" y="32"/>
                </a:cxn>
                <a:cxn ang="0">
                  <a:pos x="80" y="25"/>
                </a:cxn>
                <a:cxn ang="0">
                  <a:pos x="74" y="19"/>
                </a:cxn>
                <a:cxn ang="0">
                  <a:pos x="70" y="14"/>
                </a:cxn>
                <a:cxn ang="0">
                  <a:pos x="64" y="9"/>
                </a:cxn>
                <a:cxn ang="0">
                  <a:pos x="58" y="6"/>
                </a:cxn>
                <a:cxn ang="0">
                  <a:pos x="51" y="3"/>
                </a:cxn>
                <a:cxn ang="0">
                  <a:pos x="46" y="1"/>
                </a:cxn>
                <a:cxn ang="0">
                  <a:pos x="39" y="0"/>
                </a:cxn>
                <a:cxn ang="0">
                  <a:pos x="33" y="0"/>
                </a:cxn>
                <a:cxn ang="0">
                  <a:pos x="26" y="1"/>
                </a:cxn>
                <a:cxn ang="0">
                  <a:pos x="19" y="3"/>
                </a:cxn>
                <a:cxn ang="0">
                  <a:pos x="14" y="6"/>
                </a:cxn>
                <a:cxn ang="0">
                  <a:pos x="8" y="10"/>
                </a:cxn>
                <a:cxn ang="0">
                  <a:pos x="4" y="15"/>
                </a:cxn>
                <a:cxn ang="0">
                  <a:pos x="0" y="21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0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8572500" y="4677595"/>
              <a:ext cx="25400" cy="555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39" y="18"/>
                </a:cxn>
                <a:cxn ang="0">
                  <a:pos x="59" y="6"/>
                </a:cxn>
                <a:cxn ang="0">
                  <a:pos x="51" y="5"/>
                </a:cxn>
                <a:cxn ang="0">
                  <a:pos x="45" y="4"/>
                </a:cxn>
                <a:cxn ang="0">
                  <a:pos x="37" y="5"/>
                </a:cxn>
                <a:cxn ang="0">
                  <a:pos x="29" y="6"/>
                </a:cxn>
                <a:cxn ang="0">
                  <a:pos x="22" y="6"/>
                </a:cxn>
                <a:cxn ang="0">
                  <a:pos x="14" y="5"/>
                </a:cxn>
                <a:cxn ang="0">
                  <a:pos x="7" y="4"/>
                </a:cxn>
                <a:cxn ang="0">
                  <a:pos x="0" y="0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1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645525" y="4669657"/>
              <a:ext cx="1588" cy="55562"/>
            </a:xfrm>
            <a:custGeom>
              <a:avLst/>
              <a:gdLst/>
              <a:ahLst/>
              <a:cxnLst>
                <a:cxn ang="0">
                  <a:pos x="4" y="19"/>
                </a:cxn>
                <a:cxn ang="0">
                  <a:pos x="4" y="0"/>
                </a:cxn>
                <a:cxn ang="0">
                  <a:pos x="2" y="1"/>
                </a:cxn>
                <a:cxn ang="0">
                  <a:pos x="1" y="3"/>
                </a:cxn>
                <a:cxn ang="0">
                  <a:pos x="0" y="6"/>
                </a:cxn>
                <a:cxn ang="0">
                  <a:pos x="0" y="10"/>
                </a:cxn>
                <a:cxn ang="0">
                  <a:pos x="0" y="14"/>
                </a:cxn>
                <a:cxn ang="0">
                  <a:pos x="1" y="16"/>
                </a:cxn>
                <a:cxn ang="0">
                  <a:pos x="2" y="19"/>
                </a:cxn>
                <a:cxn ang="0">
                  <a:pos x="4" y="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2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220075" y="4483919"/>
              <a:ext cx="20638" cy="58738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7" y="0"/>
                </a:cxn>
                <a:cxn ang="0">
                  <a:pos x="23" y="8"/>
                </a:cxn>
                <a:cxn ang="0">
                  <a:pos x="34" y="14"/>
                </a:cxn>
                <a:cxn ang="0">
                  <a:pos x="37" y="18"/>
                </a:cxn>
                <a:cxn ang="0">
                  <a:pos x="41" y="22"/>
                </a:cxn>
                <a:cxn ang="0">
                  <a:pos x="44" y="30"/>
                </a:cxn>
                <a:cxn ang="0">
                  <a:pos x="46" y="38"/>
                </a:cxn>
                <a:cxn ang="0">
                  <a:pos x="34" y="42"/>
                </a:cxn>
                <a:cxn ang="0">
                  <a:pos x="21" y="46"/>
                </a:cxn>
                <a:cxn ang="0">
                  <a:pos x="8" y="49"/>
                </a:cxn>
                <a:cxn ang="0">
                  <a:pos x="0" y="50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3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166101" y="4456933"/>
              <a:ext cx="30163" cy="587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0"/>
                </a:cxn>
                <a:cxn ang="0">
                  <a:pos x="18" y="0"/>
                </a:cxn>
                <a:cxn ang="0">
                  <a:pos x="26" y="0"/>
                </a:cxn>
                <a:cxn ang="0">
                  <a:pos x="33" y="0"/>
                </a:cxn>
                <a:cxn ang="0">
                  <a:pos x="33" y="7"/>
                </a:cxn>
                <a:cxn ang="0">
                  <a:pos x="34" y="14"/>
                </a:cxn>
                <a:cxn ang="0">
                  <a:pos x="36" y="21"/>
                </a:cxn>
                <a:cxn ang="0">
                  <a:pos x="38" y="27"/>
                </a:cxn>
                <a:cxn ang="0">
                  <a:pos x="44" y="36"/>
                </a:cxn>
                <a:cxn ang="0">
                  <a:pos x="49" y="45"/>
                </a:cxn>
                <a:cxn ang="0">
                  <a:pos x="56" y="52"/>
                </a:cxn>
                <a:cxn ang="0">
                  <a:pos x="61" y="60"/>
                </a:cxn>
                <a:cxn ang="0">
                  <a:pos x="62" y="65"/>
                </a:cxn>
                <a:cxn ang="0">
                  <a:pos x="65" y="69"/>
                </a:cxn>
                <a:cxn ang="0">
                  <a:pos x="66" y="75"/>
                </a:cxn>
                <a:cxn ang="0">
                  <a:pos x="66" y="80"/>
                </a:cxn>
                <a:cxn ang="0">
                  <a:pos x="0" y="18"/>
                </a:cxn>
                <a:cxn ang="0">
                  <a:pos x="0" y="0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4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001000" y="4441057"/>
              <a:ext cx="7938" cy="57150"/>
            </a:xfrm>
            <a:custGeom>
              <a:avLst/>
              <a:gdLst/>
              <a:ahLst/>
              <a:cxnLst>
                <a:cxn ang="0">
                  <a:pos x="20" y="48"/>
                </a:cxn>
                <a:cxn ang="0">
                  <a:pos x="20" y="39"/>
                </a:cxn>
                <a:cxn ang="0">
                  <a:pos x="19" y="32"/>
                </a:cxn>
                <a:cxn ang="0">
                  <a:pos x="16" y="25"/>
                </a:cxn>
                <a:cxn ang="0">
                  <a:pos x="14" y="19"/>
                </a:cxn>
                <a:cxn ang="0">
                  <a:pos x="12" y="14"/>
                </a:cxn>
                <a:cxn ang="0">
                  <a:pos x="9" y="9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0" y="8"/>
                </a:cxn>
                <a:cxn ang="0">
                  <a:pos x="2" y="17"/>
                </a:cxn>
                <a:cxn ang="0">
                  <a:pos x="4" y="24"/>
                </a:cxn>
                <a:cxn ang="0">
                  <a:pos x="8" y="31"/>
                </a:cxn>
                <a:cxn ang="0">
                  <a:pos x="14" y="41"/>
                </a:cxn>
                <a:cxn ang="0">
                  <a:pos x="20" y="48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5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8026401" y="4477569"/>
              <a:ext cx="4763" cy="635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6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023225" y="4477569"/>
              <a:ext cx="7938" cy="57150"/>
            </a:xfrm>
            <a:custGeom>
              <a:avLst/>
              <a:gdLst/>
              <a:ahLst/>
              <a:cxnLst>
                <a:cxn ang="0">
                  <a:pos x="20" y="12"/>
                </a:cxn>
                <a:cxn ang="0">
                  <a:pos x="20" y="8"/>
                </a:cxn>
                <a:cxn ang="0">
                  <a:pos x="18" y="5"/>
                </a:cxn>
                <a:cxn ang="0">
                  <a:pos x="15" y="3"/>
                </a:cxn>
                <a:cxn ang="0">
                  <a:pos x="13" y="2"/>
                </a:cxn>
                <a:cxn ang="0">
                  <a:pos x="7" y="0"/>
                </a:cxn>
                <a:cxn ang="0">
                  <a:pos x="0" y="0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924801" y="4321994"/>
              <a:ext cx="22225" cy="571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11" y="4"/>
                </a:cxn>
                <a:cxn ang="0">
                  <a:pos x="23" y="13"/>
                </a:cxn>
                <a:cxn ang="0">
                  <a:pos x="37" y="23"/>
                </a:cxn>
                <a:cxn ang="0">
                  <a:pos x="46" y="30"/>
                </a:cxn>
                <a:cxn ang="0">
                  <a:pos x="49" y="18"/>
                </a:cxn>
                <a:cxn ang="0">
                  <a:pos x="53" y="6"/>
                </a:cxn>
                <a:cxn ang="0">
                  <a:pos x="37" y="5"/>
                </a:cxn>
                <a:cxn ang="0">
                  <a:pos x="26" y="3"/>
                </a:cxn>
                <a:cxn ang="0">
                  <a:pos x="21" y="3"/>
                </a:cxn>
                <a:cxn ang="0">
                  <a:pos x="15" y="3"/>
                </a:cxn>
                <a:cxn ang="0">
                  <a:pos x="9" y="4"/>
                </a:cxn>
                <a:cxn ang="0">
                  <a:pos x="0" y="6"/>
                </a:cxn>
                <a:cxn ang="0">
                  <a:pos x="7" y="0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8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453438" y="4685532"/>
              <a:ext cx="11112" cy="5715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4" y="21"/>
                </a:cxn>
                <a:cxn ang="0">
                  <a:pos x="7" y="31"/>
                </a:cxn>
                <a:cxn ang="0">
                  <a:pos x="22" y="31"/>
                </a:cxn>
                <a:cxn ang="0">
                  <a:pos x="33" y="31"/>
                </a:cxn>
                <a:cxn ang="0">
                  <a:pos x="33" y="0"/>
                </a:cxn>
                <a:cxn ang="0">
                  <a:pos x="27" y="0"/>
                </a:cxn>
                <a:cxn ang="0">
                  <a:pos x="19" y="0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0" y="6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9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969376" y="4642670"/>
              <a:ext cx="28575" cy="55563"/>
            </a:xfrm>
            <a:custGeom>
              <a:avLst/>
              <a:gdLst/>
              <a:ahLst/>
              <a:cxnLst>
                <a:cxn ang="0">
                  <a:pos x="19" y="68"/>
                </a:cxn>
                <a:cxn ang="0">
                  <a:pos x="16" y="68"/>
                </a:cxn>
                <a:cxn ang="0">
                  <a:pos x="14" y="66"/>
                </a:cxn>
                <a:cxn ang="0">
                  <a:pos x="11" y="64"/>
                </a:cxn>
                <a:cxn ang="0">
                  <a:pos x="7" y="61"/>
                </a:cxn>
                <a:cxn ang="0">
                  <a:pos x="4" y="59"/>
                </a:cxn>
                <a:cxn ang="0">
                  <a:pos x="2" y="55"/>
                </a:cxn>
                <a:cxn ang="0">
                  <a:pos x="0" y="52"/>
                </a:cxn>
                <a:cxn ang="0">
                  <a:pos x="0" y="49"/>
                </a:cxn>
                <a:cxn ang="0">
                  <a:pos x="0" y="38"/>
                </a:cxn>
                <a:cxn ang="0">
                  <a:pos x="2" y="29"/>
                </a:cxn>
                <a:cxn ang="0">
                  <a:pos x="5" y="21"/>
                </a:cxn>
                <a:cxn ang="0">
                  <a:pos x="9" y="14"/>
                </a:cxn>
                <a:cxn ang="0">
                  <a:pos x="15" y="8"/>
                </a:cxn>
                <a:cxn ang="0">
                  <a:pos x="22" y="4"/>
                </a:cxn>
                <a:cxn ang="0">
                  <a:pos x="30" y="2"/>
                </a:cxn>
                <a:cxn ang="0">
                  <a:pos x="39" y="0"/>
                </a:cxn>
                <a:cxn ang="0">
                  <a:pos x="52" y="0"/>
                </a:cxn>
                <a:cxn ang="0">
                  <a:pos x="65" y="0"/>
                </a:cxn>
                <a:cxn ang="0">
                  <a:pos x="65" y="43"/>
                </a:cxn>
                <a:cxn ang="0">
                  <a:pos x="56" y="52"/>
                </a:cxn>
                <a:cxn ang="0">
                  <a:pos x="45" y="61"/>
                </a:cxn>
                <a:cxn ang="0">
                  <a:pos x="39" y="64"/>
                </a:cxn>
                <a:cxn ang="0">
                  <a:pos x="34" y="66"/>
                </a:cxn>
                <a:cxn ang="0">
                  <a:pos x="27" y="68"/>
                </a:cxn>
                <a:cxn ang="0">
                  <a:pos x="19" y="68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0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907339" y="4225157"/>
              <a:ext cx="274637" cy="368300"/>
            </a:xfrm>
            <a:custGeom>
              <a:avLst/>
              <a:gdLst/>
              <a:ahLst/>
              <a:cxnLst>
                <a:cxn ang="0">
                  <a:pos x="502" y="337"/>
                </a:cxn>
                <a:cxn ang="0">
                  <a:pos x="484" y="341"/>
                </a:cxn>
                <a:cxn ang="0">
                  <a:pos x="479" y="382"/>
                </a:cxn>
                <a:cxn ang="0">
                  <a:pos x="515" y="404"/>
                </a:cxn>
                <a:cxn ang="0">
                  <a:pos x="534" y="405"/>
                </a:cxn>
                <a:cxn ang="0">
                  <a:pos x="550" y="424"/>
                </a:cxn>
                <a:cxn ang="0">
                  <a:pos x="560" y="459"/>
                </a:cxn>
                <a:cxn ang="0">
                  <a:pos x="572" y="474"/>
                </a:cxn>
                <a:cxn ang="0">
                  <a:pos x="588" y="483"/>
                </a:cxn>
                <a:cxn ang="0">
                  <a:pos x="614" y="487"/>
                </a:cxn>
                <a:cxn ang="0">
                  <a:pos x="625" y="505"/>
                </a:cxn>
                <a:cxn ang="0">
                  <a:pos x="625" y="539"/>
                </a:cxn>
                <a:cxn ang="0">
                  <a:pos x="618" y="603"/>
                </a:cxn>
                <a:cxn ang="0">
                  <a:pos x="611" y="672"/>
                </a:cxn>
                <a:cxn ang="0">
                  <a:pos x="562" y="693"/>
                </a:cxn>
                <a:cxn ang="0">
                  <a:pos x="539" y="693"/>
                </a:cxn>
                <a:cxn ang="0">
                  <a:pos x="394" y="564"/>
                </a:cxn>
                <a:cxn ang="0">
                  <a:pos x="397" y="552"/>
                </a:cxn>
                <a:cxn ang="0">
                  <a:pos x="394" y="539"/>
                </a:cxn>
                <a:cxn ang="0">
                  <a:pos x="338" y="488"/>
                </a:cxn>
                <a:cxn ang="0">
                  <a:pos x="305" y="453"/>
                </a:cxn>
                <a:cxn ang="0">
                  <a:pos x="293" y="419"/>
                </a:cxn>
                <a:cxn ang="0">
                  <a:pos x="291" y="381"/>
                </a:cxn>
                <a:cxn ang="0">
                  <a:pos x="285" y="360"/>
                </a:cxn>
                <a:cxn ang="0">
                  <a:pos x="268" y="342"/>
                </a:cxn>
                <a:cxn ang="0">
                  <a:pos x="241" y="310"/>
                </a:cxn>
                <a:cxn ang="0">
                  <a:pos x="224" y="269"/>
                </a:cxn>
                <a:cxn ang="0">
                  <a:pos x="213" y="238"/>
                </a:cxn>
                <a:cxn ang="0">
                  <a:pos x="190" y="212"/>
                </a:cxn>
                <a:cxn ang="0">
                  <a:pos x="150" y="171"/>
                </a:cxn>
                <a:cxn ang="0">
                  <a:pos x="136" y="146"/>
                </a:cxn>
                <a:cxn ang="0">
                  <a:pos x="112" y="132"/>
                </a:cxn>
                <a:cxn ang="0">
                  <a:pos x="80" y="113"/>
                </a:cxn>
                <a:cxn ang="0">
                  <a:pos x="49" y="85"/>
                </a:cxn>
                <a:cxn ang="0">
                  <a:pos x="23" y="51"/>
                </a:cxn>
                <a:cxn ang="0">
                  <a:pos x="5" y="19"/>
                </a:cxn>
                <a:cxn ang="0">
                  <a:pos x="10" y="4"/>
                </a:cxn>
                <a:cxn ang="0">
                  <a:pos x="37" y="13"/>
                </a:cxn>
                <a:cxn ang="0">
                  <a:pos x="84" y="16"/>
                </a:cxn>
                <a:cxn ang="0">
                  <a:pos x="116" y="20"/>
                </a:cxn>
                <a:cxn ang="0">
                  <a:pos x="138" y="27"/>
                </a:cxn>
                <a:cxn ang="0">
                  <a:pos x="156" y="42"/>
                </a:cxn>
                <a:cxn ang="0">
                  <a:pos x="204" y="109"/>
                </a:cxn>
                <a:cxn ang="0">
                  <a:pos x="254" y="163"/>
                </a:cxn>
                <a:cxn ang="0">
                  <a:pos x="299" y="202"/>
                </a:cxn>
                <a:cxn ang="0">
                  <a:pos x="329" y="219"/>
                </a:cxn>
                <a:cxn ang="0">
                  <a:pos x="366" y="227"/>
                </a:cxn>
                <a:cxn ang="0">
                  <a:pos x="388" y="230"/>
                </a:cxn>
                <a:cxn ang="0">
                  <a:pos x="401" y="241"/>
                </a:cxn>
                <a:cxn ang="0">
                  <a:pos x="416" y="260"/>
                </a:cxn>
                <a:cxn ang="0">
                  <a:pos x="427" y="265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1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248650" y="4274370"/>
              <a:ext cx="254000" cy="257175"/>
            </a:xfrm>
            <a:custGeom>
              <a:avLst/>
              <a:gdLst/>
              <a:ahLst/>
              <a:cxnLst>
                <a:cxn ang="0">
                  <a:pos x="516" y="28"/>
                </a:cxn>
                <a:cxn ang="0">
                  <a:pos x="495" y="55"/>
                </a:cxn>
                <a:cxn ang="0">
                  <a:pos x="512" y="93"/>
                </a:cxn>
                <a:cxn ang="0">
                  <a:pos x="534" y="130"/>
                </a:cxn>
                <a:cxn ang="0">
                  <a:pos x="573" y="177"/>
                </a:cxn>
                <a:cxn ang="0">
                  <a:pos x="580" y="205"/>
                </a:cxn>
                <a:cxn ang="0">
                  <a:pos x="547" y="204"/>
                </a:cxn>
                <a:cxn ang="0">
                  <a:pos x="516" y="233"/>
                </a:cxn>
                <a:cxn ang="0">
                  <a:pos x="506" y="246"/>
                </a:cxn>
                <a:cxn ang="0">
                  <a:pos x="518" y="271"/>
                </a:cxn>
                <a:cxn ang="0">
                  <a:pos x="525" y="294"/>
                </a:cxn>
                <a:cxn ang="0">
                  <a:pos x="505" y="308"/>
                </a:cxn>
                <a:cxn ang="0">
                  <a:pos x="459" y="323"/>
                </a:cxn>
                <a:cxn ang="0">
                  <a:pos x="443" y="354"/>
                </a:cxn>
                <a:cxn ang="0">
                  <a:pos x="445" y="415"/>
                </a:cxn>
                <a:cxn ang="0">
                  <a:pos x="430" y="454"/>
                </a:cxn>
                <a:cxn ang="0">
                  <a:pos x="400" y="472"/>
                </a:cxn>
                <a:cxn ang="0">
                  <a:pos x="370" y="488"/>
                </a:cxn>
                <a:cxn ang="0">
                  <a:pos x="341" y="493"/>
                </a:cxn>
                <a:cxn ang="0">
                  <a:pos x="329" y="487"/>
                </a:cxn>
                <a:cxn ang="0">
                  <a:pos x="327" y="471"/>
                </a:cxn>
                <a:cxn ang="0">
                  <a:pos x="304" y="451"/>
                </a:cxn>
                <a:cxn ang="0">
                  <a:pos x="251" y="454"/>
                </a:cxn>
                <a:cxn ang="0">
                  <a:pos x="219" y="462"/>
                </a:cxn>
                <a:cxn ang="0">
                  <a:pos x="176" y="440"/>
                </a:cxn>
                <a:cxn ang="0">
                  <a:pos x="122" y="436"/>
                </a:cxn>
                <a:cxn ang="0">
                  <a:pos x="95" y="429"/>
                </a:cxn>
                <a:cxn ang="0">
                  <a:pos x="81" y="366"/>
                </a:cxn>
                <a:cxn ang="0">
                  <a:pos x="58" y="310"/>
                </a:cxn>
                <a:cxn ang="0">
                  <a:pos x="35" y="292"/>
                </a:cxn>
                <a:cxn ang="0">
                  <a:pos x="12" y="260"/>
                </a:cxn>
                <a:cxn ang="0">
                  <a:pos x="5" y="204"/>
                </a:cxn>
                <a:cxn ang="0">
                  <a:pos x="31" y="153"/>
                </a:cxn>
                <a:cxn ang="0">
                  <a:pos x="54" y="141"/>
                </a:cxn>
                <a:cxn ang="0">
                  <a:pos x="75" y="152"/>
                </a:cxn>
                <a:cxn ang="0">
                  <a:pos x="97" y="187"/>
                </a:cxn>
                <a:cxn ang="0">
                  <a:pos x="129" y="214"/>
                </a:cxn>
                <a:cxn ang="0">
                  <a:pos x="170" y="213"/>
                </a:cxn>
                <a:cxn ang="0">
                  <a:pos x="221" y="189"/>
                </a:cxn>
                <a:cxn ang="0">
                  <a:pos x="233" y="172"/>
                </a:cxn>
                <a:cxn ang="0">
                  <a:pos x="288" y="178"/>
                </a:cxn>
                <a:cxn ang="0">
                  <a:pos x="326" y="181"/>
                </a:cxn>
                <a:cxn ang="0">
                  <a:pos x="337" y="170"/>
                </a:cxn>
                <a:cxn ang="0">
                  <a:pos x="362" y="158"/>
                </a:cxn>
                <a:cxn ang="0">
                  <a:pos x="383" y="136"/>
                </a:cxn>
                <a:cxn ang="0">
                  <a:pos x="415" y="79"/>
                </a:cxn>
                <a:cxn ang="0">
                  <a:pos x="427" y="25"/>
                </a:cxn>
                <a:cxn ang="0">
                  <a:pos x="447" y="6"/>
                </a:cxn>
                <a:cxn ang="0">
                  <a:pos x="479" y="2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2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604251" y="4680769"/>
              <a:ext cx="92075" cy="57150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16" y="85"/>
                </a:cxn>
                <a:cxn ang="0">
                  <a:pos x="35" y="68"/>
                </a:cxn>
                <a:cxn ang="0">
                  <a:pos x="44" y="60"/>
                </a:cxn>
                <a:cxn ang="0">
                  <a:pos x="54" y="53"/>
                </a:cxn>
                <a:cxn ang="0">
                  <a:pos x="64" y="46"/>
                </a:cxn>
                <a:cxn ang="0">
                  <a:pos x="73" y="38"/>
                </a:cxn>
                <a:cxn ang="0">
                  <a:pos x="83" y="32"/>
                </a:cxn>
                <a:cxn ang="0">
                  <a:pos x="94" y="27"/>
                </a:cxn>
                <a:cxn ang="0">
                  <a:pos x="106" y="21"/>
                </a:cxn>
                <a:cxn ang="0">
                  <a:pos x="118" y="16"/>
                </a:cxn>
                <a:cxn ang="0">
                  <a:pos x="144" y="8"/>
                </a:cxn>
                <a:cxn ang="0">
                  <a:pos x="172" y="0"/>
                </a:cxn>
                <a:cxn ang="0">
                  <a:pos x="212" y="0"/>
                </a:cxn>
                <a:cxn ang="0">
                  <a:pos x="202" y="9"/>
                </a:cxn>
                <a:cxn ang="0">
                  <a:pos x="190" y="18"/>
                </a:cxn>
                <a:cxn ang="0">
                  <a:pos x="178" y="27"/>
                </a:cxn>
                <a:cxn ang="0">
                  <a:pos x="165" y="35"/>
                </a:cxn>
                <a:cxn ang="0">
                  <a:pos x="137" y="52"/>
                </a:cxn>
                <a:cxn ang="0">
                  <a:pos x="109" y="66"/>
                </a:cxn>
                <a:cxn ang="0">
                  <a:pos x="79" y="79"/>
                </a:cxn>
                <a:cxn ang="0">
                  <a:pos x="50" y="90"/>
                </a:cxn>
                <a:cxn ang="0">
                  <a:pos x="23" y="99"/>
                </a:cxn>
                <a:cxn ang="0">
                  <a:pos x="0" y="105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3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720138" y="4347394"/>
              <a:ext cx="42862" cy="88900"/>
            </a:xfrm>
            <a:custGeom>
              <a:avLst/>
              <a:gdLst/>
              <a:ahLst/>
              <a:cxnLst>
                <a:cxn ang="0">
                  <a:pos x="0" y="81"/>
                </a:cxn>
                <a:cxn ang="0">
                  <a:pos x="0" y="148"/>
                </a:cxn>
                <a:cxn ang="0">
                  <a:pos x="5" y="144"/>
                </a:cxn>
                <a:cxn ang="0">
                  <a:pos x="12" y="139"/>
                </a:cxn>
                <a:cxn ang="0">
                  <a:pos x="14" y="137"/>
                </a:cxn>
                <a:cxn ang="0">
                  <a:pos x="17" y="135"/>
                </a:cxn>
                <a:cxn ang="0">
                  <a:pos x="18" y="132"/>
                </a:cxn>
                <a:cxn ang="0">
                  <a:pos x="19" y="130"/>
                </a:cxn>
                <a:cxn ang="0">
                  <a:pos x="20" y="138"/>
                </a:cxn>
                <a:cxn ang="0">
                  <a:pos x="24" y="148"/>
                </a:cxn>
                <a:cxn ang="0">
                  <a:pos x="27" y="154"/>
                </a:cxn>
                <a:cxn ang="0">
                  <a:pos x="30" y="159"/>
                </a:cxn>
                <a:cxn ang="0">
                  <a:pos x="35" y="163"/>
                </a:cxn>
                <a:cxn ang="0">
                  <a:pos x="39" y="166"/>
                </a:cxn>
                <a:cxn ang="0">
                  <a:pos x="41" y="158"/>
                </a:cxn>
                <a:cxn ang="0">
                  <a:pos x="41" y="148"/>
                </a:cxn>
                <a:cxn ang="0">
                  <a:pos x="41" y="137"/>
                </a:cxn>
                <a:cxn ang="0">
                  <a:pos x="41" y="126"/>
                </a:cxn>
                <a:cxn ang="0">
                  <a:pos x="40" y="107"/>
                </a:cxn>
                <a:cxn ang="0">
                  <a:pos x="39" y="99"/>
                </a:cxn>
                <a:cxn ang="0">
                  <a:pos x="48" y="100"/>
                </a:cxn>
                <a:cxn ang="0">
                  <a:pos x="57" y="102"/>
                </a:cxn>
                <a:cxn ang="0">
                  <a:pos x="64" y="105"/>
                </a:cxn>
                <a:cxn ang="0">
                  <a:pos x="71" y="108"/>
                </a:cxn>
                <a:cxn ang="0">
                  <a:pos x="76" y="111"/>
                </a:cxn>
                <a:cxn ang="0">
                  <a:pos x="82" y="114"/>
                </a:cxn>
                <a:cxn ang="0">
                  <a:pos x="87" y="116"/>
                </a:cxn>
                <a:cxn ang="0">
                  <a:pos x="92" y="118"/>
                </a:cxn>
                <a:cxn ang="0">
                  <a:pos x="85" y="103"/>
                </a:cxn>
                <a:cxn ang="0">
                  <a:pos x="81" y="89"/>
                </a:cxn>
                <a:cxn ang="0">
                  <a:pos x="76" y="75"/>
                </a:cxn>
                <a:cxn ang="0">
                  <a:pos x="73" y="60"/>
                </a:cxn>
                <a:cxn ang="0">
                  <a:pos x="70" y="47"/>
                </a:cxn>
                <a:cxn ang="0">
                  <a:pos x="67" y="34"/>
                </a:cxn>
                <a:cxn ang="0">
                  <a:pos x="63" y="23"/>
                </a:cxn>
                <a:cxn ang="0">
                  <a:pos x="59" y="13"/>
                </a:cxn>
                <a:cxn ang="0">
                  <a:pos x="59" y="19"/>
                </a:cxn>
                <a:cxn ang="0">
                  <a:pos x="59" y="25"/>
                </a:cxn>
                <a:cxn ang="0">
                  <a:pos x="50" y="23"/>
                </a:cxn>
                <a:cxn ang="0">
                  <a:pos x="42" y="19"/>
                </a:cxn>
                <a:cxn ang="0">
                  <a:pos x="35" y="15"/>
                </a:cxn>
                <a:cxn ang="0">
                  <a:pos x="29" y="11"/>
                </a:cxn>
                <a:cxn ang="0">
                  <a:pos x="23" y="7"/>
                </a:cxn>
                <a:cxn ang="0">
                  <a:pos x="16" y="3"/>
                </a:cxn>
                <a:cxn ang="0">
                  <a:pos x="8" y="1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0" y="19"/>
                </a:cxn>
                <a:cxn ang="0">
                  <a:pos x="0" y="33"/>
                </a:cxn>
                <a:cxn ang="0">
                  <a:pos x="0" y="52"/>
                </a:cxn>
                <a:cxn ang="0">
                  <a:pos x="0" y="70"/>
                </a:cxn>
                <a:cxn ang="0">
                  <a:pos x="0" y="81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4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732839" y="4491857"/>
              <a:ext cx="71437" cy="55562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14" y="3"/>
                </a:cxn>
                <a:cxn ang="0">
                  <a:pos x="22" y="6"/>
                </a:cxn>
                <a:cxn ang="0">
                  <a:pos x="30" y="7"/>
                </a:cxn>
                <a:cxn ang="0">
                  <a:pos x="36" y="8"/>
                </a:cxn>
                <a:cxn ang="0">
                  <a:pos x="48" y="8"/>
                </a:cxn>
                <a:cxn ang="0">
                  <a:pos x="58" y="7"/>
                </a:cxn>
                <a:cxn ang="0">
                  <a:pos x="69" y="5"/>
                </a:cxn>
                <a:cxn ang="0">
                  <a:pos x="80" y="3"/>
                </a:cxn>
                <a:cxn ang="0">
                  <a:pos x="92" y="1"/>
                </a:cxn>
                <a:cxn ang="0">
                  <a:pos x="106" y="0"/>
                </a:cxn>
                <a:cxn ang="0">
                  <a:pos x="111" y="1"/>
                </a:cxn>
                <a:cxn ang="0">
                  <a:pos x="115" y="2"/>
                </a:cxn>
                <a:cxn ang="0">
                  <a:pos x="120" y="5"/>
                </a:cxn>
                <a:cxn ang="0">
                  <a:pos x="124" y="8"/>
                </a:cxn>
                <a:cxn ang="0">
                  <a:pos x="132" y="17"/>
                </a:cxn>
                <a:cxn ang="0">
                  <a:pos x="138" y="26"/>
                </a:cxn>
                <a:cxn ang="0">
                  <a:pos x="145" y="36"/>
                </a:cxn>
                <a:cxn ang="0">
                  <a:pos x="151" y="45"/>
                </a:cxn>
                <a:cxn ang="0">
                  <a:pos x="155" y="49"/>
                </a:cxn>
                <a:cxn ang="0">
                  <a:pos x="158" y="52"/>
                </a:cxn>
                <a:cxn ang="0">
                  <a:pos x="162" y="54"/>
                </a:cxn>
                <a:cxn ang="0">
                  <a:pos x="166" y="56"/>
                </a:cxn>
                <a:cxn ang="0">
                  <a:pos x="159" y="57"/>
                </a:cxn>
                <a:cxn ang="0">
                  <a:pos x="151" y="59"/>
                </a:cxn>
                <a:cxn ang="0">
                  <a:pos x="143" y="61"/>
                </a:cxn>
                <a:cxn ang="0">
                  <a:pos x="133" y="62"/>
                </a:cxn>
                <a:cxn ang="0">
                  <a:pos x="125" y="61"/>
                </a:cxn>
                <a:cxn ang="0">
                  <a:pos x="119" y="58"/>
                </a:cxn>
                <a:cxn ang="0">
                  <a:pos x="112" y="54"/>
                </a:cxn>
                <a:cxn ang="0">
                  <a:pos x="106" y="50"/>
                </a:cxn>
                <a:cxn ang="0">
                  <a:pos x="100" y="45"/>
                </a:cxn>
                <a:cxn ang="0">
                  <a:pos x="93" y="41"/>
                </a:cxn>
                <a:cxn ang="0">
                  <a:pos x="87" y="39"/>
                </a:cxn>
                <a:cxn ang="0">
                  <a:pos x="79" y="38"/>
                </a:cxn>
                <a:cxn ang="0">
                  <a:pos x="56" y="38"/>
                </a:cxn>
                <a:cxn ang="0">
                  <a:pos x="35" y="39"/>
                </a:cxn>
                <a:cxn ang="0">
                  <a:pos x="26" y="41"/>
                </a:cxn>
                <a:cxn ang="0">
                  <a:pos x="19" y="43"/>
                </a:cxn>
                <a:cxn ang="0">
                  <a:pos x="12" y="46"/>
                </a:cxn>
                <a:cxn ang="0">
                  <a:pos x="7" y="50"/>
                </a:cxn>
                <a:cxn ang="0">
                  <a:pos x="2" y="45"/>
                </a:cxn>
                <a:cxn ang="0">
                  <a:pos x="1" y="40"/>
                </a:cxn>
                <a:cxn ang="0">
                  <a:pos x="0" y="34"/>
                </a:cxn>
                <a:cxn ang="0">
                  <a:pos x="1" y="28"/>
                </a:cxn>
                <a:cxn ang="0">
                  <a:pos x="4" y="15"/>
                </a:cxn>
                <a:cxn ang="0">
                  <a:pos x="7" y="0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5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8809039" y="4415657"/>
              <a:ext cx="85725" cy="63500"/>
            </a:xfrm>
            <a:custGeom>
              <a:avLst/>
              <a:gdLst/>
              <a:ahLst/>
              <a:cxnLst>
                <a:cxn ang="0">
                  <a:pos x="33" y="35"/>
                </a:cxn>
                <a:cxn ang="0">
                  <a:pos x="48" y="25"/>
                </a:cxn>
                <a:cxn ang="0">
                  <a:pos x="68" y="12"/>
                </a:cxn>
                <a:cxn ang="0">
                  <a:pos x="84" y="4"/>
                </a:cxn>
                <a:cxn ang="0">
                  <a:pos x="94" y="1"/>
                </a:cxn>
                <a:cxn ang="0">
                  <a:pos x="105" y="1"/>
                </a:cxn>
                <a:cxn ang="0">
                  <a:pos x="116" y="3"/>
                </a:cxn>
                <a:cxn ang="0">
                  <a:pos x="131" y="10"/>
                </a:cxn>
                <a:cxn ang="0">
                  <a:pos x="148" y="21"/>
                </a:cxn>
                <a:cxn ang="0">
                  <a:pos x="162" y="28"/>
                </a:cxn>
                <a:cxn ang="0">
                  <a:pos x="173" y="30"/>
                </a:cxn>
                <a:cxn ang="0">
                  <a:pos x="179" y="48"/>
                </a:cxn>
                <a:cxn ang="0">
                  <a:pos x="178" y="66"/>
                </a:cxn>
                <a:cxn ang="0">
                  <a:pos x="182" y="75"/>
                </a:cxn>
                <a:cxn ang="0">
                  <a:pos x="187" y="89"/>
                </a:cxn>
                <a:cxn ang="0">
                  <a:pos x="188" y="102"/>
                </a:cxn>
                <a:cxn ang="0">
                  <a:pos x="191" y="109"/>
                </a:cxn>
                <a:cxn ang="0">
                  <a:pos x="188" y="114"/>
                </a:cxn>
                <a:cxn ang="0">
                  <a:pos x="177" y="118"/>
                </a:cxn>
                <a:cxn ang="0">
                  <a:pos x="159" y="121"/>
                </a:cxn>
                <a:cxn ang="0">
                  <a:pos x="116" y="119"/>
                </a:cxn>
                <a:cxn ang="0">
                  <a:pos x="72" y="116"/>
                </a:cxn>
                <a:cxn ang="0">
                  <a:pos x="63" y="110"/>
                </a:cxn>
                <a:cxn ang="0">
                  <a:pos x="56" y="100"/>
                </a:cxn>
                <a:cxn ang="0">
                  <a:pos x="54" y="87"/>
                </a:cxn>
                <a:cxn ang="0">
                  <a:pos x="47" y="79"/>
                </a:cxn>
                <a:cxn ang="0">
                  <a:pos x="31" y="75"/>
                </a:cxn>
                <a:cxn ang="0">
                  <a:pos x="13" y="69"/>
                </a:cxn>
                <a:cxn ang="0">
                  <a:pos x="3" y="62"/>
                </a:cxn>
                <a:cxn ang="0">
                  <a:pos x="0" y="58"/>
                </a:cxn>
                <a:cxn ang="0">
                  <a:pos x="1" y="51"/>
                </a:cxn>
                <a:cxn ang="0">
                  <a:pos x="7" y="45"/>
                </a:cxn>
                <a:cxn ang="0">
                  <a:pos x="20" y="38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6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8497889" y="4353744"/>
              <a:ext cx="166687" cy="230188"/>
            </a:xfrm>
            <a:custGeom>
              <a:avLst/>
              <a:gdLst/>
              <a:ahLst/>
              <a:cxnLst>
                <a:cxn ang="0">
                  <a:pos x="37" y="419"/>
                </a:cxn>
                <a:cxn ang="0">
                  <a:pos x="46" y="407"/>
                </a:cxn>
                <a:cxn ang="0">
                  <a:pos x="24" y="311"/>
                </a:cxn>
                <a:cxn ang="0">
                  <a:pos x="2" y="294"/>
                </a:cxn>
                <a:cxn ang="0">
                  <a:pos x="15" y="270"/>
                </a:cxn>
                <a:cxn ang="0">
                  <a:pos x="31" y="221"/>
                </a:cxn>
                <a:cxn ang="0">
                  <a:pos x="39" y="172"/>
                </a:cxn>
                <a:cxn ang="0">
                  <a:pos x="57" y="159"/>
                </a:cxn>
                <a:cxn ang="0">
                  <a:pos x="65" y="130"/>
                </a:cxn>
                <a:cxn ang="0">
                  <a:pos x="76" y="78"/>
                </a:cxn>
                <a:cxn ang="0">
                  <a:pos x="90" y="51"/>
                </a:cxn>
                <a:cxn ang="0">
                  <a:pos x="115" y="31"/>
                </a:cxn>
                <a:cxn ang="0">
                  <a:pos x="153" y="25"/>
                </a:cxn>
                <a:cxn ang="0">
                  <a:pos x="217" y="38"/>
                </a:cxn>
                <a:cxn ang="0">
                  <a:pos x="262" y="48"/>
                </a:cxn>
                <a:cxn ang="0">
                  <a:pos x="303" y="45"/>
                </a:cxn>
                <a:cxn ang="0">
                  <a:pos x="329" y="31"/>
                </a:cxn>
                <a:cxn ang="0">
                  <a:pos x="356" y="7"/>
                </a:cxn>
                <a:cxn ang="0">
                  <a:pos x="374" y="9"/>
                </a:cxn>
                <a:cxn ang="0">
                  <a:pos x="372" y="35"/>
                </a:cxn>
                <a:cxn ang="0">
                  <a:pos x="329" y="80"/>
                </a:cxn>
                <a:cxn ang="0">
                  <a:pos x="292" y="97"/>
                </a:cxn>
                <a:cxn ang="0">
                  <a:pos x="271" y="94"/>
                </a:cxn>
                <a:cxn ang="0">
                  <a:pos x="238" y="69"/>
                </a:cxn>
                <a:cxn ang="0">
                  <a:pos x="212" y="56"/>
                </a:cxn>
                <a:cxn ang="0">
                  <a:pos x="177" y="56"/>
                </a:cxn>
                <a:cxn ang="0">
                  <a:pos x="138" y="61"/>
                </a:cxn>
                <a:cxn ang="0">
                  <a:pos x="114" y="79"/>
                </a:cxn>
                <a:cxn ang="0">
                  <a:pos x="79" y="161"/>
                </a:cxn>
                <a:cxn ang="0">
                  <a:pos x="119" y="169"/>
                </a:cxn>
                <a:cxn ang="0">
                  <a:pos x="133" y="191"/>
                </a:cxn>
                <a:cxn ang="0">
                  <a:pos x="155" y="168"/>
                </a:cxn>
                <a:cxn ang="0">
                  <a:pos x="172" y="153"/>
                </a:cxn>
                <a:cxn ang="0">
                  <a:pos x="221" y="150"/>
                </a:cxn>
                <a:cxn ang="0">
                  <a:pos x="250" y="147"/>
                </a:cxn>
                <a:cxn ang="0">
                  <a:pos x="273" y="173"/>
                </a:cxn>
                <a:cxn ang="0">
                  <a:pos x="279" y="203"/>
                </a:cxn>
                <a:cxn ang="0">
                  <a:pos x="246" y="192"/>
                </a:cxn>
                <a:cxn ang="0">
                  <a:pos x="218" y="185"/>
                </a:cxn>
                <a:cxn ang="0">
                  <a:pos x="192" y="195"/>
                </a:cxn>
                <a:cxn ang="0">
                  <a:pos x="186" y="209"/>
                </a:cxn>
                <a:cxn ang="0">
                  <a:pos x="192" y="233"/>
                </a:cxn>
                <a:cxn ang="0">
                  <a:pos x="220" y="272"/>
                </a:cxn>
                <a:cxn ang="0">
                  <a:pos x="225" y="296"/>
                </a:cxn>
                <a:cxn ang="0">
                  <a:pos x="215" y="322"/>
                </a:cxn>
                <a:cxn ang="0">
                  <a:pos x="205" y="345"/>
                </a:cxn>
                <a:cxn ang="0">
                  <a:pos x="210" y="356"/>
                </a:cxn>
                <a:cxn ang="0">
                  <a:pos x="236" y="368"/>
                </a:cxn>
                <a:cxn ang="0">
                  <a:pos x="252" y="400"/>
                </a:cxn>
                <a:cxn ang="0">
                  <a:pos x="239" y="429"/>
                </a:cxn>
                <a:cxn ang="0">
                  <a:pos x="221" y="421"/>
                </a:cxn>
                <a:cxn ang="0">
                  <a:pos x="202" y="417"/>
                </a:cxn>
                <a:cxn ang="0">
                  <a:pos x="177" y="400"/>
                </a:cxn>
                <a:cxn ang="0">
                  <a:pos x="153" y="356"/>
                </a:cxn>
                <a:cxn ang="0">
                  <a:pos x="137" y="304"/>
                </a:cxn>
                <a:cxn ang="0">
                  <a:pos x="114" y="263"/>
                </a:cxn>
                <a:cxn ang="0">
                  <a:pos x="97" y="259"/>
                </a:cxn>
                <a:cxn ang="0">
                  <a:pos x="105" y="381"/>
                </a:cxn>
                <a:cxn ang="0">
                  <a:pos x="93" y="404"/>
                </a:cxn>
                <a:cxn ang="0">
                  <a:pos x="57" y="426"/>
                </a:cxn>
                <a:cxn ang="0">
                  <a:pos x="59" y="437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7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62926" y="4595044"/>
              <a:ext cx="250825" cy="95250"/>
            </a:xfrm>
            <a:custGeom>
              <a:avLst/>
              <a:gdLst/>
              <a:ahLst/>
              <a:cxnLst>
                <a:cxn ang="0">
                  <a:pos x="11" y="50"/>
                </a:cxn>
                <a:cxn ang="0">
                  <a:pos x="24" y="32"/>
                </a:cxn>
                <a:cxn ang="0">
                  <a:pos x="41" y="7"/>
                </a:cxn>
                <a:cxn ang="0">
                  <a:pos x="54" y="0"/>
                </a:cxn>
                <a:cxn ang="0">
                  <a:pos x="79" y="2"/>
                </a:cxn>
                <a:cxn ang="0">
                  <a:pos x="95" y="2"/>
                </a:cxn>
                <a:cxn ang="0">
                  <a:pos x="101" y="5"/>
                </a:cxn>
                <a:cxn ang="0">
                  <a:pos x="115" y="15"/>
                </a:cxn>
                <a:cxn ang="0">
                  <a:pos x="147" y="27"/>
                </a:cxn>
                <a:cxn ang="0">
                  <a:pos x="168" y="37"/>
                </a:cxn>
                <a:cxn ang="0">
                  <a:pos x="178" y="53"/>
                </a:cxn>
                <a:cxn ang="0">
                  <a:pos x="192" y="61"/>
                </a:cxn>
                <a:cxn ang="0">
                  <a:pos x="231" y="60"/>
                </a:cxn>
                <a:cxn ang="0">
                  <a:pos x="277" y="51"/>
                </a:cxn>
                <a:cxn ang="0">
                  <a:pos x="299" y="39"/>
                </a:cxn>
                <a:cxn ang="0">
                  <a:pos x="314" y="34"/>
                </a:cxn>
                <a:cxn ang="0">
                  <a:pos x="327" y="35"/>
                </a:cxn>
                <a:cxn ang="0">
                  <a:pos x="339" y="31"/>
                </a:cxn>
                <a:cxn ang="0">
                  <a:pos x="366" y="34"/>
                </a:cxn>
                <a:cxn ang="0">
                  <a:pos x="399" y="59"/>
                </a:cxn>
                <a:cxn ang="0">
                  <a:pos x="428" y="89"/>
                </a:cxn>
                <a:cxn ang="0">
                  <a:pos x="456" y="105"/>
                </a:cxn>
                <a:cxn ang="0">
                  <a:pos x="479" y="107"/>
                </a:cxn>
                <a:cxn ang="0">
                  <a:pos x="493" y="108"/>
                </a:cxn>
                <a:cxn ang="0">
                  <a:pos x="505" y="125"/>
                </a:cxn>
                <a:cxn ang="0">
                  <a:pos x="522" y="140"/>
                </a:cxn>
                <a:cxn ang="0">
                  <a:pos x="534" y="139"/>
                </a:cxn>
                <a:cxn ang="0">
                  <a:pos x="546" y="128"/>
                </a:cxn>
                <a:cxn ang="0">
                  <a:pos x="558" y="134"/>
                </a:cxn>
                <a:cxn ang="0">
                  <a:pos x="571" y="145"/>
                </a:cxn>
                <a:cxn ang="0">
                  <a:pos x="578" y="160"/>
                </a:cxn>
                <a:cxn ang="0">
                  <a:pos x="575" y="173"/>
                </a:cxn>
                <a:cxn ang="0">
                  <a:pos x="567" y="182"/>
                </a:cxn>
                <a:cxn ang="0">
                  <a:pos x="551" y="178"/>
                </a:cxn>
                <a:cxn ang="0">
                  <a:pos x="526" y="170"/>
                </a:cxn>
                <a:cxn ang="0">
                  <a:pos x="491" y="172"/>
                </a:cxn>
                <a:cxn ang="0">
                  <a:pos x="462" y="170"/>
                </a:cxn>
                <a:cxn ang="0">
                  <a:pos x="451" y="160"/>
                </a:cxn>
                <a:cxn ang="0">
                  <a:pos x="438" y="154"/>
                </a:cxn>
                <a:cxn ang="0">
                  <a:pos x="426" y="160"/>
                </a:cxn>
                <a:cxn ang="0">
                  <a:pos x="416" y="170"/>
                </a:cxn>
                <a:cxn ang="0">
                  <a:pos x="398" y="171"/>
                </a:cxn>
                <a:cxn ang="0">
                  <a:pos x="328" y="153"/>
                </a:cxn>
                <a:cxn ang="0">
                  <a:pos x="277" y="132"/>
                </a:cxn>
                <a:cxn ang="0">
                  <a:pos x="266" y="123"/>
                </a:cxn>
                <a:cxn ang="0">
                  <a:pos x="230" y="119"/>
                </a:cxn>
                <a:cxn ang="0">
                  <a:pos x="201" y="113"/>
                </a:cxn>
                <a:cxn ang="0">
                  <a:pos x="168" y="111"/>
                </a:cxn>
                <a:cxn ang="0">
                  <a:pos x="146" y="111"/>
                </a:cxn>
                <a:cxn ang="0">
                  <a:pos x="124" y="105"/>
                </a:cxn>
                <a:cxn ang="0">
                  <a:pos x="120" y="99"/>
                </a:cxn>
                <a:cxn ang="0">
                  <a:pos x="69" y="97"/>
                </a:cxn>
                <a:cxn ang="0">
                  <a:pos x="46" y="88"/>
                </a:cxn>
                <a:cxn ang="0">
                  <a:pos x="0" y="55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8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843963" y="4452170"/>
              <a:ext cx="214312" cy="252413"/>
            </a:xfrm>
            <a:custGeom>
              <a:avLst/>
              <a:gdLst/>
              <a:ahLst/>
              <a:cxnLst>
                <a:cxn ang="0">
                  <a:pos x="482" y="479"/>
                </a:cxn>
                <a:cxn ang="0">
                  <a:pos x="457" y="465"/>
                </a:cxn>
                <a:cxn ang="0">
                  <a:pos x="422" y="434"/>
                </a:cxn>
                <a:cxn ang="0">
                  <a:pos x="412" y="417"/>
                </a:cxn>
                <a:cxn ang="0">
                  <a:pos x="376" y="410"/>
                </a:cxn>
                <a:cxn ang="0">
                  <a:pos x="360" y="406"/>
                </a:cxn>
                <a:cxn ang="0">
                  <a:pos x="350" y="396"/>
                </a:cxn>
                <a:cxn ang="0">
                  <a:pos x="346" y="374"/>
                </a:cxn>
                <a:cxn ang="0">
                  <a:pos x="342" y="332"/>
                </a:cxn>
                <a:cxn ang="0">
                  <a:pos x="327" y="303"/>
                </a:cxn>
                <a:cxn ang="0">
                  <a:pos x="319" y="277"/>
                </a:cxn>
                <a:cxn ang="0">
                  <a:pos x="314" y="244"/>
                </a:cxn>
                <a:cxn ang="0">
                  <a:pos x="292" y="223"/>
                </a:cxn>
                <a:cxn ang="0">
                  <a:pos x="260" y="205"/>
                </a:cxn>
                <a:cxn ang="0">
                  <a:pos x="221" y="190"/>
                </a:cxn>
                <a:cxn ang="0">
                  <a:pos x="178" y="181"/>
                </a:cxn>
                <a:cxn ang="0">
                  <a:pos x="133" y="178"/>
                </a:cxn>
                <a:cxn ang="0">
                  <a:pos x="133" y="156"/>
                </a:cxn>
                <a:cxn ang="0">
                  <a:pos x="110" y="145"/>
                </a:cxn>
                <a:cxn ang="0">
                  <a:pos x="85" y="130"/>
                </a:cxn>
                <a:cxn ang="0">
                  <a:pos x="66" y="111"/>
                </a:cxn>
                <a:cxn ang="0">
                  <a:pos x="73" y="133"/>
                </a:cxn>
                <a:cxn ang="0">
                  <a:pos x="54" y="147"/>
                </a:cxn>
                <a:cxn ang="0">
                  <a:pos x="40" y="178"/>
                </a:cxn>
                <a:cxn ang="0">
                  <a:pos x="24" y="220"/>
                </a:cxn>
                <a:cxn ang="0">
                  <a:pos x="13" y="265"/>
                </a:cxn>
                <a:cxn ang="0">
                  <a:pos x="14" y="237"/>
                </a:cxn>
                <a:cxn ang="0">
                  <a:pos x="23" y="209"/>
                </a:cxn>
                <a:cxn ang="0">
                  <a:pos x="32" y="181"/>
                </a:cxn>
                <a:cxn ang="0">
                  <a:pos x="30" y="143"/>
                </a:cxn>
                <a:cxn ang="0">
                  <a:pos x="17" y="111"/>
                </a:cxn>
                <a:cxn ang="0">
                  <a:pos x="0" y="73"/>
                </a:cxn>
                <a:cxn ang="0">
                  <a:pos x="34" y="59"/>
                </a:cxn>
                <a:cxn ang="0">
                  <a:pos x="59" y="55"/>
                </a:cxn>
                <a:cxn ang="0">
                  <a:pos x="84" y="58"/>
                </a:cxn>
                <a:cxn ang="0">
                  <a:pos x="102" y="66"/>
                </a:cxn>
                <a:cxn ang="0">
                  <a:pos x="121" y="82"/>
                </a:cxn>
                <a:cxn ang="0">
                  <a:pos x="140" y="111"/>
                </a:cxn>
                <a:cxn ang="0">
                  <a:pos x="183" y="103"/>
                </a:cxn>
                <a:cxn ang="0">
                  <a:pos x="196" y="96"/>
                </a:cxn>
                <a:cxn ang="0">
                  <a:pos x="200" y="90"/>
                </a:cxn>
                <a:cxn ang="0">
                  <a:pos x="207" y="73"/>
                </a:cxn>
                <a:cxn ang="0">
                  <a:pos x="232" y="54"/>
                </a:cxn>
                <a:cxn ang="0">
                  <a:pos x="254" y="49"/>
                </a:cxn>
                <a:cxn ang="0">
                  <a:pos x="263" y="30"/>
                </a:cxn>
                <a:cxn ang="0">
                  <a:pos x="280" y="9"/>
                </a:cxn>
                <a:cxn ang="0">
                  <a:pos x="300" y="1"/>
                </a:cxn>
                <a:cxn ang="0">
                  <a:pos x="323" y="0"/>
                </a:cxn>
                <a:cxn ang="0">
                  <a:pos x="351" y="8"/>
                </a:cxn>
                <a:cxn ang="0">
                  <a:pos x="399" y="38"/>
                </a:cxn>
                <a:cxn ang="0">
                  <a:pos x="428" y="53"/>
                </a:cxn>
                <a:cxn ang="0">
                  <a:pos x="459" y="60"/>
                </a:cxn>
                <a:cxn ang="0">
                  <a:pos x="491" y="67"/>
                </a:cxn>
                <a:cxn ang="0">
                  <a:pos x="491" y="326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9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75526" y="3283770"/>
              <a:ext cx="53975" cy="60325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72" y="0"/>
                </a:cxn>
                <a:cxn ang="0">
                  <a:pos x="81" y="6"/>
                </a:cxn>
                <a:cxn ang="0">
                  <a:pos x="91" y="14"/>
                </a:cxn>
                <a:cxn ang="0">
                  <a:pos x="101" y="25"/>
                </a:cxn>
                <a:cxn ang="0">
                  <a:pos x="109" y="37"/>
                </a:cxn>
                <a:cxn ang="0">
                  <a:pos x="118" y="49"/>
                </a:cxn>
                <a:cxn ang="0">
                  <a:pos x="126" y="62"/>
                </a:cxn>
                <a:cxn ang="0">
                  <a:pos x="128" y="68"/>
                </a:cxn>
                <a:cxn ang="0">
                  <a:pos x="130" y="74"/>
                </a:cxn>
                <a:cxn ang="0">
                  <a:pos x="131" y="80"/>
                </a:cxn>
                <a:cxn ang="0">
                  <a:pos x="133" y="86"/>
                </a:cxn>
                <a:cxn ang="0">
                  <a:pos x="131" y="92"/>
                </a:cxn>
                <a:cxn ang="0">
                  <a:pos x="128" y="97"/>
                </a:cxn>
                <a:cxn ang="0">
                  <a:pos x="124" y="102"/>
                </a:cxn>
                <a:cxn ang="0">
                  <a:pos x="118" y="107"/>
                </a:cxn>
                <a:cxn ang="0">
                  <a:pos x="113" y="111"/>
                </a:cxn>
                <a:cxn ang="0">
                  <a:pos x="107" y="114"/>
                </a:cxn>
                <a:cxn ang="0">
                  <a:pos x="103" y="117"/>
                </a:cxn>
                <a:cxn ang="0">
                  <a:pos x="100" y="117"/>
                </a:cxn>
                <a:cxn ang="0">
                  <a:pos x="72" y="95"/>
                </a:cxn>
                <a:cxn ang="0">
                  <a:pos x="45" y="70"/>
                </a:cxn>
                <a:cxn ang="0">
                  <a:pos x="32" y="58"/>
                </a:cxn>
                <a:cxn ang="0">
                  <a:pos x="18" y="46"/>
                </a:cxn>
                <a:cxn ang="0">
                  <a:pos x="8" y="33"/>
                </a:cxn>
                <a:cxn ang="0">
                  <a:pos x="0" y="19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0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32476" y="2688457"/>
              <a:ext cx="220663" cy="177800"/>
            </a:xfrm>
            <a:custGeom>
              <a:avLst/>
              <a:gdLst/>
              <a:ahLst/>
              <a:cxnLst>
                <a:cxn ang="0">
                  <a:pos x="272" y="36"/>
                </a:cxn>
                <a:cxn ang="0">
                  <a:pos x="484" y="86"/>
                </a:cxn>
                <a:cxn ang="0">
                  <a:pos x="478" y="109"/>
                </a:cxn>
                <a:cxn ang="0">
                  <a:pos x="471" y="129"/>
                </a:cxn>
                <a:cxn ang="0">
                  <a:pos x="461" y="145"/>
                </a:cxn>
                <a:cxn ang="0">
                  <a:pos x="451" y="153"/>
                </a:cxn>
                <a:cxn ang="0">
                  <a:pos x="461" y="184"/>
                </a:cxn>
                <a:cxn ang="0">
                  <a:pos x="477" y="215"/>
                </a:cxn>
                <a:cxn ang="0">
                  <a:pos x="505" y="258"/>
                </a:cxn>
                <a:cxn ang="0">
                  <a:pos x="493" y="271"/>
                </a:cxn>
                <a:cxn ang="0">
                  <a:pos x="479" y="292"/>
                </a:cxn>
                <a:cxn ang="0">
                  <a:pos x="468" y="314"/>
                </a:cxn>
                <a:cxn ang="0">
                  <a:pos x="464" y="339"/>
                </a:cxn>
                <a:cxn ang="0">
                  <a:pos x="443" y="338"/>
                </a:cxn>
                <a:cxn ang="0">
                  <a:pos x="414" y="335"/>
                </a:cxn>
                <a:cxn ang="0">
                  <a:pos x="385" y="331"/>
                </a:cxn>
                <a:cxn ang="0">
                  <a:pos x="358" y="326"/>
                </a:cxn>
                <a:cxn ang="0">
                  <a:pos x="304" y="325"/>
                </a:cxn>
                <a:cxn ang="0">
                  <a:pos x="264" y="321"/>
                </a:cxn>
                <a:cxn ang="0">
                  <a:pos x="248" y="317"/>
                </a:cxn>
                <a:cxn ang="0">
                  <a:pos x="232" y="310"/>
                </a:cxn>
                <a:cxn ang="0">
                  <a:pos x="213" y="300"/>
                </a:cxn>
                <a:cxn ang="0">
                  <a:pos x="180" y="289"/>
                </a:cxn>
                <a:cxn ang="0">
                  <a:pos x="146" y="273"/>
                </a:cxn>
                <a:cxn ang="0">
                  <a:pos x="98" y="249"/>
                </a:cxn>
                <a:cxn ang="0">
                  <a:pos x="62" y="206"/>
                </a:cxn>
                <a:cxn ang="0">
                  <a:pos x="52" y="169"/>
                </a:cxn>
                <a:cxn ang="0">
                  <a:pos x="36" y="124"/>
                </a:cxn>
                <a:cxn ang="0">
                  <a:pos x="15" y="83"/>
                </a:cxn>
                <a:cxn ang="0">
                  <a:pos x="2" y="64"/>
                </a:cxn>
                <a:cxn ang="0">
                  <a:pos x="5" y="61"/>
                </a:cxn>
                <a:cxn ang="0">
                  <a:pos x="11" y="56"/>
                </a:cxn>
                <a:cxn ang="0">
                  <a:pos x="11" y="48"/>
                </a:cxn>
                <a:cxn ang="0">
                  <a:pos x="11" y="43"/>
                </a:cxn>
                <a:cxn ang="0">
                  <a:pos x="34" y="34"/>
                </a:cxn>
                <a:cxn ang="0">
                  <a:pos x="73" y="22"/>
                </a:cxn>
                <a:cxn ang="0">
                  <a:pos x="128" y="8"/>
                </a:cxn>
                <a:cxn ang="0">
                  <a:pos x="173" y="11"/>
                </a:cxn>
                <a:cxn ang="0">
                  <a:pos x="188" y="28"/>
                </a:cxn>
                <a:cxn ang="0">
                  <a:pos x="201" y="35"/>
                </a:cxn>
                <a:cxn ang="0">
                  <a:pos x="219" y="36"/>
                </a:cxn>
                <a:cxn ang="0">
                  <a:pos x="239" y="36"/>
                </a:cxn>
                <a:cxn ang="0">
                  <a:pos x="259" y="24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1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895975" y="2893244"/>
              <a:ext cx="146050" cy="71438"/>
            </a:xfrm>
            <a:custGeom>
              <a:avLst/>
              <a:gdLst/>
              <a:ahLst/>
              <a:cxnLst>
                <a:cxn ang="0">
                  <a:pos x="312" y="0"/>
                </a:cxn>
                <a:cxn ang="0">
                  <a:pos x="186" y="0"/>
                </a:cxn>
                <a:cxn ang="0">
                  <a:pos x="168" y="8"/>
                </a:cxn>
                <a:cxn ang="0">
                  <a:pos x="144" y="21"/>
                </a:cxn>
                <a:cxn ang="0">
                  <a:pos x="132" y="27"/>
                </a:cxn>
                <a:cxn ang="0">
                  <a:pos x="119" y="32"/>
                </a:cxn>
                <a:cxn ang="0">
                  <a:pos x="112" y="34"/>
                </a:cxn>
                <a:cxn ang="0">
                  <a:pos x="105" y="35"/>
                </a:cxn>
                <a:cxn ang="0">
                  <a:pos x="99" y="36"/>
                </a:cxn>
                <a:cxn ang="0">
                  <a:pos x="93" y="37"/>
                </a:cxn>
                <a:cxn ang="0">
                  <a:pos x="88" y="36"/>
                </a:cxn>
                <a:cxn ang="0">
                  <a:pos x="84" y="35"/>
                </a:cxn>
                <a:cxn ang="0">
                  <a:pos x="78" y="32"/>
                </a:cxn>
                <a:cxn ang="0">
                  <a:pos x="74" y="30"/>
                </a:cxn>
                <a:cxn ang="0">
                  <a:pos x="66" y="24"/>
                </a:cxn>
                <a:cxn ang="0">
                  <a:pos x="59" y="18"/>
                </a:cxn>
                <a:cxn ang="0">
                  <a:pos x="49" y="34"/>
                </a:cxn>
                <a:cxn ang="0">
                  <a:pos x="37" y="51"/>
                </a:cxn>
                <a:cxn ang="0">
                  <a:pos x="30" y="60"/>
                </a:cxn>
                <a:cxn ang="0">
                  <a:pos x="21" y="68"/>
                </a:cxn>
                <a:cxn ang="0">
                  <a:pos x="11" y="75"/>
                </a:cxn>
                <a:cxn ang="0">
                  <a:pos x="0" y="80"/>
                </a:cxn>
                <a:cxn ang="0">
                  <a:pos x="12" y="90"/>
                </a:cxn>
                <a:cxn ang="0">
                  <a:pos x="23" y="100"/>
                </a:cxn>
                <a:cxn ang="0">
                  <a:pos x="33" y="108"/>
                </a:cxn>
                <a:cxn ang="0">
                  <a:pos x="44" y="116"/>
                </a:cxn>
                <a:cxn ang="0">
                  <a:pos x="55" y="122"/>
                </a:cxn>
                <a:cxn ang="0">
                  <a:pos x="66" y="129"/>
                </a:cxn>
                <a:cxn ang="0">
                  <a:pos x="79" y="135"/>
                </a:cxn>
                <a:cxn ang="0">
                  <a:pos x="93" y="141"/>
                </a:cxn>
                <a:cxn ang="0">
                  <a:pos x="259" y="141"/>
                </a:cxn>
                <a:cxn ang="0">
                  <a:pos x="269" y="124"/>
                </a:cxn>
                <a:cxn ang="0">
                  <a:pos x="281" y="107"/>
                </a:cxn>
                <a:cxn ang="0">
                  <a:pos x="292" y="92"/>
                </a:cxn>
                <a:cxn ang="0">
                  <a:pos x="304" y="78"/>
                </a:cxn>
                <a:cxn ang="0">
                  <a:pos x="315" y="64"/>
                </a:cxn>
                <a:cxn ang="0">
                  <a:pos x="324" y="48"/>
                </a:cxn>
                <a:cxn ang="0">
                  <a:pos x="333" y="34"/>
                </a:cxn>
                <a:cxn ang="0">
                  <a:pos x="338" y="18"/>
                </a:cxn>
                <a:cxn ang="0">
                  <a:pos x="312" y="0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2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995989" y="2548758"/>
              <a:ext cx="111125" cy="65087"/>
            </a:xfrm>
            <a:custGeom>
              <a:avLst/>
              <a:gdLst/>
              <a:ahLst/>
              <a:cxnLst>
                <a:cxn ang="0">
                  <a:pos x="259" y="129"/>
                </a:cxn>
                <a:cxn ang="0">
                  <a:pos x="255" y="102"/>
                </a:cxn>
                <a:cxn ang="0">
                  <a:pos x="252" y="80"/>
                </a:cxn>
                <a:cxn ang="0">
                  <a:pos x="252" y="63"/>
                </a:cxn>
                <a:cxn ang="0">
                  <a:pos x="253" y="50"/>
                </a:cxn>
                <a:cxn ang="0">
                  <a:pos x="257" y="29"/>
                </a:cxn>
                <a:cxn ang="0">
                  <a:pos x="259" y="12"/>
                </a:cxn>
                <a:cxn ang="0">
                  <a:pos x="258" y="14"/>
                </a:cxn>
                <a:cxn ang="0">
                  <a:pos x="256" y="16"/>
                </a:cxn>
                <a:cxn ang="0">
                  <a:pos x="253" y="17"/>
                </a:cxn>
                <a:cxn ang="0">
                  <a:pos x="249" y="18"/>
                </a:cxn>
                <a:cxn ang="0">
                  <a:pos x="239" y="19"/>
                </a:cxn>
                <a:cxn ang="0">
                  <a:pos x="228" y="19"/>
                </a:cxn>
                <a:cxn ang="0">
                  <a:pos x="205" y="19"/>
                </a:cxn>
                <a:cxn ang="0">
                  <a:pos x="192" y="18"/>
                </a:cxn>
                <a:cxn ang="0">
                  <a:pos x="181" y="17"/>
                </a:cxn>
                <a:cxn ang="0">
                  <a:pos x="172" y="15"/>
                </a:cxn>
                <a:cxn ang="0">
                  <a:pos x="163" y="12"/>
                </a:cxn>
                <a:cxn ang="0">
                  <a:pos x="156" y="9"/>
                </a:cxn>
                <a:cxn ang="0">
                  <a:pos x="146" y="6"/>
                </a:cxn>
                <a:cxn ang="0">
                  <a:pos x="134" y="3"/>
                </a:cxn>
                <a:cxn ang="0">
                  <a:pos x="118" y="1"/>
                </a:cxn>
                <a:cxn ang="0">
                  <a:pos x="99" y="0"/>
                </a:cxn>
                <a:cxn ang="0">
                  <a:pos x="83" y="0"/>
                </a:cxn>
                <a:cxn ang="0">
                  <a:pos x="67" y="0"/>
                </a:cxn>
                <a:cxn ang="0">
                  <a:pos x="50" y="0"/>
                </a:cxn>
                <a:cxn ang="0">
                  <a:pos x="34" y="2"/>
                </a:cxn>
                <a:cxn ang="0">
                  <a:pos x="27" y="4"/>
                </a:cxn>
                <a:cxn ang="0">
                  <a:pos x="21" y="6"/>
                </a:cxn>
                <a:cxn ang="0">
                  <a:pos x="14" y="9"/>
                </a:cxn>
                <a:cxn ang="0">
                  <a:pos x="10" y="13"/>
                </a:cxn>
                <a:cxn ang="0">
                  <a:pos x="5" y="17"/>
                </a:cxn>
                <a:cxn ang="0">
                  <a:pos x="2" y="22"/>
                </a:cxn>
                <a:cxn ang="0">
                  <a:pos x="0" y="29"/>
                </a:cxn>
                <a:cxn ang="0">
                  <a:pos x="0" y="36"/>
                </a:cxn>
                <a:cxn ang="0">
                  <a:pos x="0" y="48"/>
                </a:cxn>
                <a:cxn ang="0">
                  <a:pos x="3" y="58"/>
                </a:cxn>
                <a:cxn ang="0">
                  <a:pos x="6" y="65"/>
                </a:cxn>
                <a:cxn ang="0">
                  <a:pos x="12" y="71"/>
                </a:cxn>
                <a:cxn ang="0">
                  <a:pos x="17" y="76"/>
                </a:cxn>
                <a:cxn ang="0">
                  <a:pos x="24" y="80"/>
                </a:cxn>
                <a:cxn ang="0">
                  <a:pos x="31" y="83"/>
                </a:cxn>
                <a:cxn ang="0">
                  <a:pos x="37" y="85"/>
                </a:cxn>
                <a:cxn ang="0">
                  <a:pos x="50" y="88"/>
                </a:cxn>
                <a:cxn ang="0">
                  <a:pos x="61" y="92"/>
                </a:cxn>
                <a:cxn ang="0">
                  <a:pos x="65" y="95"/>
                </a:cxn>
                <a:cxn ang="0">
                  <a:pos x="67" y="99"/>
                </a:cxn>
                <a:cxn ang="0">
                  <a:pos x="67" y="105"/>
                </a:cxn>
                <a:cxn ang="0">
                  <a:pos x="66" y="111"/>
                </a:cxn>
                <a:cxn ang="0">
                  <a:pos x="81" y="110"/>
                </a:cxn>
                <a:cxn ang="0">
                  <a:pos x="91" y="108"/>
                </a:cxn>
                <a:cxn ang="0">
                  <a:pos x="98" y="106"/>
                </a:cxn>
                <a:cxn ang="0">
                  <a:pos x="105" y="105"/>
                </a:cxn>
                <a:cxn ang="0">
                  <a:pos x="120" y="106"/>
                </a:cxn>
                <a:cxn ang="0">
                  <a:pos x="140" y="108"/>
                </a:cxn>
                <a:cxn ang="0">
                  <a:pos x="166" y="112"/>
                </a:cxn>
                <a:cxn ang="0">
                  <a:pos x="192" y="117"/>
                </a:cxn>
                <a:cxn ang="0">
                  <a:pos x="238" y="125"/>
                </a:cxn>
                <a:cxn ang="0">
                  <a:pos x="259" y="129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3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008689" y="2896420"/>
              <a:ext cx="179387" cy="142875"/>
            </a:xfrm>
            <a:custGeom>
              <a:avLst/>
              <a:gdLst/>
              <a:ahLst/>
              <a:cxnLst>
                <a:cxn ang="0">
                  <a:pos x="418" y="170"/>
                </a:cxn>
                <a:cxn ang="0">
                  <a:pos x="398" y="188"/>
                </a:cxn>
                <a:cxn ang="0">
                  <a:pos x="383" y="206"/>
                </a:cxn>
                <a:cxn ang="0">
                  <a:pos x="384" y="221"/>
                </a:cxn>
                <a:cxn ang="0">
                  <a:pos x="389" y="237"/>
                </a:cxn>
                <a:cxn ang="0">
                  <a:pos x="375" y="244"/>
                </a:cxn>
                <a:cxn ang="0">
                  <a:pos x="347" y="238"/>
                </a:cxn>
                <a:cxn ang="0">
                  <a:pos x="324" y="235"/>
                </a:cxn>
                <a:cxn ang="0">
                  <a:pos x="295" y="235"/>
                </a:cxn>
                <a:cxn ang="0">
                  <a:pos x="263" y="243"/>
                </a:cxn>
                <a:cxn ang="0">
                  <a:pos x="232" y="254"/>
                </a:cxn>
                <a:cxn ang="0">
                  <a:pos x="197" y="267"/>
                </a:cxn>
                <a:cxn ang="0">
                  <a:pos x="100" y="240"/>
                </a:cxn>
                <a:cxn ang="0">
                  <a:pos x="85" y="226"/>
                </a:cxn>
                <a:cxn ang="0">
                  <a:pos x="70" y="214"/>
                </a:cxn>
                <a:cxn ang="0">
                  <a:pos x="37" y="192"/>
                </a:cxn>
                <a:cxn ang="0">
                  <a:pos x="22" y="180"/>
                </a:cxn>
                <a:cxn ang="0">
                  <a:pos x="11" y="167"/>
                </a:cxn>
                <a:cxn ang="0">
                  <a:pos x="2" y="150"/>
                </a:cxn>
                <a:cxn ang="0">
                  <a:pos x="0" y="129"/>
                </a:cxn>
                <a:cxn ang="0">
                  <a:pos x="50" y="66"/>
                </a:cxn>
                <a:cxn ang="0">
                  <a:pos x="71" y="36"/>
                </a:cxn>
                <a:cxn ang="0">
                  <a:pos x="80" y="22"/>
                </a:cxn>
                <a:cxn ang="0">
                  <a:pos x="85" y="6"/>
                </a:cxn>
                <a:cxn ang="0">
                  <a:pos x="123" y="10"/>
                </a:cxn>
                <a:cxn ang="0">
                  <a:pos x="153" y="18"/>
                </a:cxn>
                <a:cxn ang="0">
                  <a:pos x="180" y="27"/>
                </a:cxn>
                <a:cxn ang="0">
                  <a:pos x="205" y="31"/>
                </a:cxn>
                <a:cxn ang="0">
                  <a:pos x="214" y="29"/>
                </a:cxn>
                <a:cxn ang="0">
                  <a:pos x="221" y="26"/>
                </a:cxn>
                <a:cxn ang="0">
                  <a:pos x="232" y="15"/>
                </a:cxn>
                <a:cxn ang="0">
                  <a:pos x="242" y="5"/>
                </a:cxn>
                <a:cxn ang="0">
                  <a:pos x="250" y="2"/>
                </a:cxn>
                <a:cxn ang="0">
                  <a:pos x="259" y="0"/>
                </a:cxn>
                <a:cxn ang="0">
                  <a:pos x="275" y="2"/>
                </a:cxn>
                <a:cxn ang="0">
                  <a:pos x="289" y="7"/>
                </a:cxn>
                <a:cxn ang="0">
                  <a:pos x="302" y="15"/>
                </a:cxn>
                <a:cxn ang="0">
                  <a:pos x="310" y="26"/>
                </a:cxn>
                <a:cxn ang="0">
                  <a:pos x="325" y="53"/>
                </a:cxn>
                <a:cxn ang="0">
                  <a:pos x="337" y="82"/>
                </a:cxn>
                <a:cxn ang="0">
                  <a:pos x="349" y="113"/>
                </a:cxn>
                <a:cxn ang="0">
                  <a:pos x="356" y="126"/>
                </a:cxn>
                <a:cxn ang="0">
                  <a:pos x="365" y="138"/>
                </a:cxn>
                <a:cxn ang="0">
                  <a:pos x="376" y="147"/>
                </a:cxn>
                <a:cxn ang="0">
                  <a:pos x="389" y="156"/>
                </a:cxn>
                <a:cxn ang="0">
                  <a:pos x="405" y="160"/>
                </a:cxn>
                <a:cxn ang="0">
                  <a:pos x="425" y="161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4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008439" y="3934645"/>
              <a:ext cx="14287" cy="55563"/>
            </a:xfrm>
            <a:custGeom>
              <a:avLst/>
              <a:gdLst/>
              <a:ahLst/>
              <a:cxnLst>
                <a:cxn ang="0">
                  <a:pos x="13" y="6"/>
                </a:cxn>
                <a:cxn ang="0">
                  <a:pos x="0" y="19"/>
                </a:cxn>
                <a:cxn ang="0">
                  <a:pos x="5" y="21"/>
                </a:cxn>
                <a:cxn ang="0">
                  <a:pos x="14" y="25"/>
                </a:cxn>
                <a:cxn ang="0">
                  <a:pos x="19" y="27"/>
                </a:cxn>
                <a:cxn ang="0">
                  <a:pos x="23" y="29"/>
                </a:cxn>
                <a:cxn ang="0">
                  <a:pos x="27" y="30"/>
                </a:cxn>
                <a:cxn ang="0">
                  <a:pos x="33" y="31"/>
                </a:cxn>
                <a:cxn ang="0">
                  <a:pos x="33" y="0"/>
                </a:cxn>
                <a:cxn ang="0">
                  <a:pos x="20" y="0"/>
                </a:cxn>
                <a:cxn ang="0">
                  <a:pos x="13" y="6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5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113464" y="2888483"/>
              <a:ext cx="85725" cy="79375"/>
            </a:xfrm>
            <a:custGeom>
              <a:avLst/>
              <a:gdLst/>
              <a:ahLst/>
              <a:cxnLst>
                <a:cxn ang="0">
                  <a:pos x="6" y="19"/>
                </a:cxn>
                <a:cxn ang="0">
                  <a:pos x="52" y="0"/>
                </a:cxn>
                <a:cxn ang="0">
                  <a:pos x="92" y="19"/>
                </a:cxn>
                <a:cxn ang="0">
                  <a:pos x="119" y="31"/>
                </a:cxn>
                <a:cxn ang="0">
                  <a:pos x="146" y="63"/>
                </a:cxn>
                <a:cxn ang="0">
                  <a:pos x="166" y="93"/>
                </a:cxn>
                <a:cxn ang="0">
                  <a:pos x="192" y="118"/>
                </a:cxn>
                <a:cxn ang="0">
                  <a:pos x="152" y="124"/>
                </a:cxn>
                <a:cxn ang="0">
                  <a:pos x="126" y="130"/>
                </a:cxn>
                <a:cxn ang="0">
                  <a:pos x="126" y="154"/>
                </a:cxn>
                <a:cxn ang="0">
                  <a:pos x="106" y="154"/>
                </a:cxn>
                <a:cxn ang="0">
                  <a:pos x="99" y="146"/>
                </a:cxn>
                <a:cxn ang="0">
                  <a:pos x="93" y="137"/>
                </a:cxn>
                <a:cxn ang="0">
                  <a:pos x="88" y="126"/>
                </a:cxn>
                <a:cxn ang="0">
                  <a:pos x="82" y="115"/>
                </a:cxn>
                <a:cxn ang="0">
                  <a:pos x="74" y="93"/>
                </a:cxn>
                <a:cxn ang="0">
                  <a:pos x="65" y="71"/>
                </a:cxn>
                <a:cxn ang="0">
                  <a:pos x="60" y="61"/>
                </a:cxn>
                <a:cxn ang="0">
                  <a:pos x="55" y="50"/>
                </a:cxn>
                <a:cxn ang="0">
                  <a:pos x="48" y="42"/>
                </a:cxn>
                <a:cxn ang="0">
                  <a:pos x="41" y="34"/>
                </a:cxn>
                <a:cxn ang="0">
                  <a:pos x="33" y="28"/>
                </a:cxn>
                <a:cxn ang="0">
                  <a:pos x="24" y="23"/>
                </a:cxn>
                <a:cxn ang="0">
                  <a:pos x="18" y="22"/>
                </a:cxn>
                <a:cxn ang="0">
                  <a:pos x="12" y="20"/>
                </a:cxn>
                <a:cxn ang="0">
                  <a:pos x="6" y="20"/>
                </a:cxn>
                <a:cxn ang="0">
                  <a:pos x="0" y="19"/>
                </a:cxn>
                <a:cxn ang="0">
                  <a:pos x="6" y="19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6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30913" y="2771007"/>
              <a:ext cx="381000" cy="247650"/>
            </a:xfrm>
            <a:custGeom>
              <a:avLst/>
              <a:gdLst/>
              <a:ahLst/>
              <a:cxnLst>
                <a:cxn ang="0">
                  <a:pos x="392" y="340"/>
                </a:cxn>
                <a:cxn ang="0">
                  <a:pos x="319" y="253"/>
                </a:cxn>
                <a:cxn ang="0">
                  <a:pos x="206" y="241"/>
                </a:cxn>
                <a:cxn ang="0">
                  <a:pos x="191" y="243"/>
                </a:cxn>
                <a:cxn ang="0">
                  <a:pos x="178" y="251"/>
                </a:cxn>
                <a:cxn ang="0">
                  <a:pos x="162" y="267"/>
                </a:cxn>
                <a:cxn ang="0">
                  <a:pos x="151" y="271"/>
                </a:cxn>
                <a:cxn ang="0">
                  <a:pos x="121" y="268"/>
                </a:cxn>
                <a:cxn ang="0">
                  <a:pos x="79" y="255"/>
                </a:cxn>
                <a:cxn ang="0">
                  <a:pos x="26" y="247"/>
                </a:cxn>
                <a:cxn ang="0">
                  <a:pos x="8" y="212"/>
                </a:cxn>
                <a:cxn ang="0">
                  <a:pos x="13" y="187"/>
                </a:cxn>
                <a:cxn ang="0">
                  <a:pos x="13" y="180"/>
                </a:cxn>
                <a:cxn ang="0">
                  <a:pos x="23" y="144"/>
                </a:cxn>
                <a:cxn ang="0">
                  <a:pos x="44" y="112"/>
                </a:cxn>
                <a:cxn ang="0">
                  <a:pos x="54" y="92"/>
                </a:cxn>
                <a:cxn ang="0">
                  <a:pos x="26" y="50"/>
                </a:cxn>
                <a:cxn ang="0">
                  <a:pos x="173" y="26"/>
                </a:cxn>
                <a:cxn ang="0">
                  <a:pos x="339" y="50"/>
                </a:cxn>
                <a:cxn ang="0">
                  <a:pos x="392" y="13"/>
                </a:cxn>
                <a:cxn ang="0">
                  <a:pos x="485" y="0"/>
                </a:cxn>
                <a:cxn ang="0">
                  <a:pos x="579" y="38"/>
                </a:cxn>
                <a:cxn ang="0">
                  <a:pos x="638" y="111"/>
                </a:cxn>
                <a:cxn ang="0">
                  <a:pos x="725" y="111"/>
                </a:cxn>
                <a:cxn ang="0">
                  <a:pos x="838" y="155"/>
                </a:cxn>
                <a:cxn ang="0">
                  <a:pos x="864" y="235"/>
                </a:cxn>
                <a:cxn ang="0">
                  <a:pos x="804" y="272"/>
                </a:cxn>
                <a:cxn ang="0">
                  <a:pos x="754" y="313"/>
                </a:cxn>
                <a:cxn ang="0">
                  <a:pos x="688" y="330"/>
                </a:cxn>
                <a:cxn ang="0">
                  <a:pos x="663" y="343"/>
                </a:cxn>
                <a:cxn ang="0">
                  <a:pos x="648" y="358"/>
                </a:cxn>
                <a:cxn ang="0">
                  <a:pos x="646" y="375"/>
                </a:cxn>
                <a:cxn ang="0">
                  <a:pos x="653" y="390"/>
                </a:cxn>
                <a:cxn ang="0">
                  <a:pos x="666" y="401"/>
                </a:cxn>
                <a:cxn ang="0">
                  <a:pos x="711" y="396"/>
                </a:cxn>
                <a:cxn ang="0">
                  <a:pos x="741" y="394"/>
                </a:cxn>
                <a:cxn ang="0">
                  <a:pos x="734" y="403"/>
                </a:cxn>
                <a:cxn ang="0">
                  <a:pos x="716" y="421"/>
                </a:cxn>
                <a:cxn ang="0">
                  <a:pos x="698" y="438"/>
                </a:cxn>
                <a:cxn ang="0">
                  <a:pos x="689" y="419"/>
                </a:cxn>
                <a:cxn ang="0">
                  <a:pos x="671" y="408"/>
                </a:cxn>
                <a:cxn ang="0">
                  <a:pos x="666" y="423"/>
                </a:cxn>
                <a:cxn ang="0">
                  <a:pos x="643" y="442"/>
                </a:cxn>
                <a:cxn ang="0">
                  <a:pos x="619" y="460"/>
                </a:cxn>
                <a:cxn ang="0">
                  <a:pos x="611" y="469"/>
                </a:cxn>
                <a:cxn ang="0">
                  <a:pos x="595" y="464"/>
                </a:cxn>
                <a:cxn ang="0">
                  <a:pos x="584" y="455"/>
                </a:cxn>
                <a:cxn ang="0">
                  <a:pos x="575" y="439"/>
                </a:cxn>
                <a:cxn ang="0">
                  <a:pos x="572" y="408"/>
                </a:cxn>
                <a:cxn ang="0">
                  <a:pos x="548" y="404"/>
                </a:cxn>
                <a:cxn ang="0">
                  <a:pos x="518" y="389"/>
                </a:cxn>
                <a:cxn ang="0">
                  <a:pos x="559" y="379"/>
                </a:cxn>
                <a:cxn ang="0">
                  <a:pos x="625" y="370"/>
                </a:cxn>
                <a:cxn ang="0">
                  <a:pos x="493" y="354"/>
                </a:cxn>
                <a:cxn ang="0">
                  <a:pos x="445" y="333"/>
                </a:cxn>
                <a:cxn ang="0">
                  <a:pos x="398" y="369"/>
                </a:cxn>
                <a:cxn ang="0">
                  <a:pos x="380" y="395"/>
                </a:cxn>
                <a:cxn ang="0">
                  <a:pos x="353" y="400"/>
                </a:cxn>
                <a:cxn ang="0">
                  <a:pos x="328" y="392"/>
                </a:cxn>
                <a:cxn ang="0">
                  <a:pos x="306" y="376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7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542089" y="3113907"/>
              <a:ext cx="47625" cy="6350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81" y="31"/>
                </a:cxn>
                <a:cxn ang="0">
                  <a:pos x="94" y="67"/>
                </a:cxn>
                <a:cxn ang="0">
                  <a:pos x="107" y="86"/>
                </a:cxn>
                <a:cxn ang="0">
                  <a:pos x="107" y="117"/>
                </a:cxn>
                <a:cxn ang="0">
                  <a:pos x="107" y="123"/>
                </a:cxn>
                <a:cxn ang="0">
                  <a:pos x="88" y="114"/>
                </a:cxn>
                <a:cxn ang="0">
                  <a:pos x="73" y="105"/>
                </a:cxn>
                <a:cxn ang="0">
                  <a:pos x="61" y="98"/>
                </a:cxn>
                <a:cxn ang="0">
                  <a:pos x="54" y="92"/>
                </a:cxn>
                <a:cxn ang="0">
                  <a:pos x="51" y="83"/>
                </a:cxn>
                <a:cxn ang="0">
                  <a:pos x="48" y="73"/>
                </a:cxn>
                <a:cxn ang="0">
                  <a:pos x="39" y="74"/>
                </a:cxn>
                <a:cxn ang="0">
                  <a:pos x="32" y="73"/>
                </a:cxn>
                <a:cxn ang="0">
                  <a:pos x="26" y="72"/>
                </a:cxn>
                <a:cxn ang="0">
                  <a:pos x="21" y="70"/>
                </a:cxn>
                <a:cxn ang="0">
                  <a:pos x="17" y="67"/>
                </a:cxn>
                <a:cxn ang="0">
                  <a:pos x="14" y="63"/>
                </a:cxn>
                <a:cxn ang="0">
                  <a:pos x="11" y="59"/>
                </a:cxn>
                <a:cxn ang="0">
                  <a:pos x="9" y="54"/>
                </a:cxn>
                <a:cxn ang="0">
                  <a:pos x="4" y="31"/>
                </a:cxn>
                <a:cxn ang="0">
                  <a:pos x="0" y="6"/>
                </a:cxn>
                <a:cxn ang="0">
                  <a:pos x="34" y="0"/>
                </a:cxn>
                <a:cxn ang="0">
                  <a:pos x="48" y="0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8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085013" y="3128194"/>
              <a:ext cx="207962" cy="122238"/>
            </a:xfrm>
            <a:custGeom>
              <a:avLst/>
              <a:gdLst/>
              <a:ahLst/>
              <a:cxnLst>
                <a:cxn ang="0">
                  <a:pos x="106" y="67"/>
                </a:cxn>
                <a:cxn ang="0">
                  <a:pos x="166" y="86"/>
                </a:cxn>
                <a:cxn ang="0">
                  <a:pos x="272" y="105"/>
                </a:cxn>
                <a:cxn ang="0">
                  <a:pos x="372" y="86"/>
                </a:cxn>
                <a:cxn ang="0">
                  <a:pos x="383" y="95"/>
                </a:cxn>
                <a:cxn ang="0">
                  <a:pos x="391" y="114"/>
                </a:cxn>
                <a:cxn ang="0">
                  <a:pos x="406" y="124"/>
                </a:cxn>
                <a:cxn ang="0">
                  <a:pos x="424" y="129"/>
                </a:cxn>
                <a:cxn ang="0">
                  <a:pos x="433" y="134"/>
                </a:cxn>
                <a:cxn ang="0">
                  <a:pos x="441" y="141"/>
                </a:cxn>
                <a:cxn ang="0">
                  <a:pos x="448" y="151"/>
                </a:cxn>
                <a:cxn ang="0">
                  <a:pos x="455" y="170"/>
                </a:cxn>
                <a:cxn ang="0">
                  <a:pos x="471" y="190"/>
                </a:cxn>
                <a:cxn ang="0">
                  <a:pos x="350" y="202"/>
                </a:cxn>
                <a:cxn ang="0">
                  <a:pos x="330" y="224"/>
                </a:cxn>
                <a:cxn ang="0">
                  <a:pos x="317" y="233"/>
                </a:cxn>
                <a:cxn ang="0">
                  <a:pos x="306" y="233"/>
                </a:cxn>
                <a:cxn ang="0">
                  <a:pos x="298" y="230"/>
                </a:cxn>
                <a:cxn ang="0">
                  <a:pos x="292" y="224"/>
                </a:cxn>
                <a:cxn ang="0">
                  <a:pos x="289" y="216"/>
                </a:cxn>
                <a:cxn ang="0">
                  <a:pos x="284" y="199"/>
                </a:cxn>
                <a:cxn ang="0">
                  <a:pos x="278" y="174"/>
                </a:cxn>
                <a:cxn ang="0">
                  <a:pos x="269" y="155"/>
                </a:cxn>
                <a:cxn ang="0">
                  <a:pos x="258" y="148"/>
                </a:cxn>
                <a:cxn ang="0">
                  <a:pos x="246" y="141"/>
                </a:cxn>
                <a:cxn ang="0">
                  <a:pos x="236" y="133"/>
                </a:cxn>
                <a:cxn ang="0">
                  <a:pos x="224" y="140"/>
                </a:cxn>
                <a:cxn ang="0">
                  <a:pos x="207" y="162"/>
                </a:cxn>
                <a:cxn ang="0">
                  <a:pos x="200" y="177"/>
                </a:cxn>
                <a:cxn ang="0">
                  <a:pos x="188" y="190"/>
                </a:cxn>
                <a:cxn ang="0">
                  <a:pos x="167" y="201"/>
                </a:cxn>
                <a:cxn ang="0">
                  <a:pos x="147" y="213"/>
                </a:cxn>
                <a:cxn ang="0">
                  <a:pos x="130" y="219"/>
                </a:cxn>
                <a:cxn ang="0">
                  <a:pos x="114" y="222"/>
                </a:cxn>
                <a:cxn ang="0">
                  <a:pos x="97" y="221"/>
                </a:cxn>
                <a:cxn ang="0">
                  <a:pos x="82" y="217"/>
                </a:cxn>
                <a:cxn ang="0">
                  <a:pos x="63" y="205"/>
                </a:cxn>
                <a:cxn ang="0">
                  <a:pos x="59" y="197"/>
                </a:cxn>
                <a:cxn ang="0">
                  <a:pos x="59" y="135"/>
                </a:cxn>
                <a:cxn ang="0">
                  <a:pos x="0" y="98"/>
                </a:cxn>
                <a:cxn ang="0">
                  <a:pos x="53" y="80"/>
                </a:cxn>
                <a:cxn ang="0">
                  <a:pos x="86" y="30"/>
                </a:cxn>
                <a:cxn ang="0">
                  <a:pos x="133" y="0"/>
                </a:cxn>
                <a:cxn ang="0">
                  <a:pos x="166" y="42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9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134226" y="3056757"/>
              <a:ext cx="225425" cy="125412"/>
            </a:xfrm>
            <a:custGeom>
              <a:avLst/>
              <a:gdLst/>
              <a:ahLst/>
              <a:cxnLst>
                <a:cxn ang="0">
                  <a:pos x="106" y="185"/>
                </a:cxn>
                <a:cxn ang="0">
                  <a:pos x="173" y="148"/>
                </a:cxn>
                <a:cxn ang="0">
                  <a:pos x="93" y="105"/>
                </a:cxn>
                <a:cxn ang="0">
                  <a:pos x="47" y="117"/>
                </a:cxn>
                <a:cxn ang="0">
                  <a:pos x="66" y="61"/>
                </a:cxn>
                <a:cxn ang="0">
                  <a:pos x="40" y="43"/>
                </a:cxn>
                <a:cxn ang="0">
                  <a:pos x="112" y="25"/>
                </a:cxn>
                <a:cxn ang="0">
                  <a:pos x="186" y="0"/>
                </a:cxn>
                <a:cxn ang="0">
                  <a:pos x="312" y="19"/>
                </a:cxn>
                <a:cxn ang="0">
                  <a:pos x="439" y="25"/>
                </a:cxn>
                <a:cxn ang="0">
                  <a:pos x="525" y="55"/>
                </a:cxn>
                <a:cxn ang="0">
                  <a:pos x="519" y="69"/>
                </a:cxn>
                <a:cxn ang="0">
                  <a:pos x="510" y="82"/>
                </a:cxn>
                <a:cxn ang="0">
                  <a:pos x="499" y="92"/>
                </a:cxn>
                <a:cxn ang="0">
                  <a:pos x="485" y="99"/>
                </a:cxn>
                <a:cxn ang="0">
                  <a:pos x="442" y="103"/>
                </a:cxn>
                <a:cxn ang="0">
                  <a:pos x="418" y="107"/>
                </a:cxn>
                <a:cxn ang="0">
                  <a:pos x="407" y="111"/>
                </a:cxn>
                <a:cxn ang="0">
                  <a:pos x="399" y="117"/>
                </a:cxn>
                <a:cxn ang="0">
                  <a:pos x="387" y="136"/>
                </a:cxn>
                <a:cxn ang="0">
                  <a:pos x="378" y="147"/>
                </a:cxn>
                <a:cxn ang="0">
                  <a:pos x="365" y="154"/>
                </a:cxn>
                <a:cxn ang="0">
                  <a:pos x="305" y="166"/>
                </a:cxn>
                <a:cxn ang="0">
                  <a:pos x="273" y="173"/>
                </a:cxn>
                <a:cxn ang="0">
                  <a:pos x="260" y="178"/>
                </a:cxn>
                <a:cxn ang="0">
                  <a:pos x="261" y="192"/>
                </a:cxn>
                <a:cxn ang="0">
                  <a:pos x="263" y="203"/>
                </a:cxn>
                <a:cxn ang="0">
                  <a:pos x="273" y="222"/>
                </a:cxn>
                <a:cxn ang="0">
                  <a:pos x="219" y="228"/>
                </a:cxn>
                <a:cxn ang="0">
                  <a:pos x="112" y="234"/>
                </a:cxn>
                <a:cxn ang="0">
                  <a:pos x="20" y="222"/>
                </a:cxn>
                <a:cxn ang="0">
                  <a:pos x="53" y="166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0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740525" y="3072632"/>
              <a:ext cx="342900" cy="227012"/>
            </a:xfrm>
            <a:custGeom>
              <a:avLst/>
              <a:gdLst/>
              <a:ahLst/>
              <a:cxnLst>
                <a:cxn ang="0">
                  <a:pos x="768" y="292"/>
                </a:cxn>
                <a:cxn ang="0">
                  <a:pos x="751" y="293"/>
                </a:cxn>
                <a:cxn ang="0">
                  <a:pos x="731" y="302"/>
                </a:cxn>
                <a:cxn ang="0">
                  <a:pos x="723" y="308"/>
                </a:cxn>
                <a:cxn ang="0">
                  <a:pos x="717" y="332"/>
                </a:cxn>
                <a:cxn ang="0">
                  <a:pos x="713" y="360"/>
                </a:cxn>
                <a:cxn ang="0">
                  <a:pos x="704" y="376"/>
                </a:cxn>
                <a:cxn ang="0">
                  <a:pos x="671" y="402"/>
                </a:cxn>
                <a:cxn ang="0">
                  <a:pos x="633" y="420"/>
                </a:cxn>
                <a:cxn ang="0">
                  <a:pos x="612" y="424"/>
                </a:cxn>
                <a:cxn ang="0">
                  <a:pos x="587" y="429"/>
                </a:cxn>
                <a:cxn ang="0">
                  <a:pos x="567" y="428"/>
                </a:cxn>
                <a:cxn ang="0">
                  <a:pos x="545" y="388"/>
                </a:cxn>
                <a:cxn ang="0">
                  <a:pos x="515" y="344"/>
                </a:cxn>
                <a:cxn ang="0">
                  <a:pos x="478" y="334"/>
                </a:cxn>
                <a:cxn ang="0">
                  <a:pos x="448" y="315"/>
                </a:cxn>
                <a:cxn ang="0">
                  <a:pos x="417" y="294"/>
                </a:cxn>
                <a:cxn ang="0">
                  <a:pos x="373" y="274"/>
                </a:cxn>
                <a:cxn ang="0">
                  <a:pos x="306" y="258"/>
                </a:cxn>
                <a:cxn ang="0">
                  <a:pos x="182" y="283"/>
                </a:cxn>
                <a:cxn ang="0">
                  <a:pos x="151" y="306"/>
                </a:cxn>
                <a:cxn ang="0">
                  <a:pos x="127" y="308"/>
                </a:cxn>
                <a:cxn ang="0">
                  <a:pos x="66" y="252"/>
                </a:cxn>
                <a:cxn ang="0">
                  <a:pos x="66" y="204"/>
                </a:cxn>
                <a:cxn ang="0">
                  <a:pos x="40" y="179"/>
                </a:cxn>
                <a:cxn ang="0">
                  <a:pos x="42" y="199"/>
                </a:cxn>
                <a:cxn ang="0">
                  <a:pos x="36" y="218"/>
                </a:cxn>
                <a:cxn ang="0">
                  <a:pos x="30" y="221"/>
                </a:cxn>
                <a:cxn ang="0">
                  <a:pos x="31" y="203"/>
                </a:cxn>
                <a:cxn ang="0">
                  <a:pos x="27" y="174"/>
                </a:cxn>
                <a:cxn ang="0">
                  <a:pos x="33" y="163"/>
                </a:cxn>
                <a:cxn ang="0">
                  <a:pos x="40" y="152"/>
                </a:cxn>
                <a:cxn ang="0">
                  <a:pos x="27" y="129"/>
                </a:cxn>
                <a:cxn ang="0">
                  <a:pos x="7" y="126"/>
                </a:cxn>
                <a:cxn ang="0">
                  <a:pos x="0" y="117"/>
                </a:cxn>
                <a:cxn ang="0">
                  <a:pos x="3" y="104"/>
                </a:cxn>
                <a:cxn ang="0">
                  <a:pos x="11" y="94"/>
                </a:cxn>
                <a:cxn ang="0">
                  <a:pos x="27" y="92"/>
                </a:cxn>
                <a:cxn ang="0">
                  <a:pos x="41" y="99"/>
                </a:cxn>
                <a:cxn ang="0">
                  <a:pos x="57" y="104"/>
                </a:cxn>
                <a:cxn ang="0">
                  <a:pos x="71" y="92"/>
                </a:cxn>
                <a:cxn ang="0">
                  <a:pos x="83" y="77"/>
                </a:cxn>
                <a:cxn ang="0">
                  <a:pos x="87" y="64"/>
                </a:cxn>
                <a:cxn ang="0">
                  <a:pos x="78" y="55"/>
                </a:cxn>
                <a:cxn ang="0">
                  <a:pos x="55" y="49"/>
                </a:cxn>
                <a:cxn ang="0">
                  <a:pos x="47" y="40"/>
                </a:cxn>
                <a:cxn ang="0">
                  <a:pos x="41" y="28"/>
                </a:cxn>
                <a:cxn ang="0">
                  <a:pos x="107" y="43"/>
                </a:cxn>
                <a:cxn ang="0">
                  <a:pos x="219" y="74"/>
                </a:cxn>
                <a:cxn ang="0">
                  <a:pos x="273" y="0"/>
                </a:cxn>
                <a:cxn ang="0">
                  <a:pos x="373" y="43"/>
                </a:cxn>
                <a:cxn ang="0">
                  <a:pos x="465" y="92"/>
                </a:cxn>
                <a:cxn ang="0">
                  <a:pos x="591" y="210"/>
                </a:cxn>
                <a:cxn ang="0">
                  <a:pos x="724" y="265"/>
                </a:cxn>
                <a:cxn ang="0">
                  <a:pos x="778" y="295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1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949950" y="2959920"/>
              <a:ext cx="107950" cy="149225"/>
            </a:xfrm>
            <a:custGeom>
              <a:avLst/>
              <a:gdLst/>
              <a:ahLst/>
              <a:cxnLst>
                <a:cxn ang="0">
                  <a:pos x="30" y="27"/>
                </a:cxn>
                <a:cxn ang="0">
                  <a:pos x="28" y="24"/>
                </a:cxn>
                <a:cxn ang="0">
                  <a:pos x="24" y="17"/>
                </a:cxn>
                <a:cxn ang="0">
                  <a:pos x="35" y="5"/>
                </a:cxn>
                <a:cxn ang="0">
                  <a:pos x="67" y="1"/>
                </a:cxn>
                <a:cxn ang="0">
                  <a:pos x="126" y="12"/>
                </a:cxn>
                <a:cxn ang="0">
                  <a:pos x="131" y="30"/>
                </a:cxn>
                <a:cxn ang="0">
                  <a:pos x="139" y="46"/>
                </a:cxn>
                <a:cxn ang="0">
                  <a:pos x="151" y="57"/>
                </a:cxn>
                <a:cxn ang="0">
                  <a:pos x="165" y="67"/>
                </a:cxn>
                <a:cxn ang="0">
                  <a:pos x="191" y="87"/>
                </a:cxn>
                <a:cxn ang="0">
                  <a:pos x="203" y="101"/>
                </a:cxn>
                <a:cxn ang="0">
                  <a:pos x="212" y="117"/>
                </a:cxn>
                <a:cxn ang="0">
                  <a:pos x="226" y="117"/>
                </a:cxn>
                <a:cxn ang="0">
                  <a:pos x="221" y="124"/>
                </a:cxn>
                <a:cxn ang="0">
                  <a:pos x="221" y="129"/>
                </a:cxn>
                <a:cxn ang="0">
                  <a:pos x="228" y="140"/>
                </a:cxn>
                <a:cxn ang="0">
                  <a:pos x="239" y="154"/>
                </a:cxn>
                <a:cxn ang="0">
                  <a:pos x="244" y="162"/>
                </a:cxn>
                <a:cxn ang="0">
                  <a:pos x="246" y="173"/>
                </a:cxn>
                <a:cxn ang="0">
                  <a:pos x="241" y="184"/>
                </a:cxn>
                <a:cxn ang="0">
                  <a:pos x="233" y="192"/>
                </a:cxn>
                <a:cxn ang="0">
                  <a:pos x="223" y="198"/>
                </a:cxn>
                <a:cxn ang="0">
                  <a:pos x="220" y="204"/>
                </a:cxn>
                <a:cxn ang="0">
                  <a:pos x="189" y="215"/>
                </a:cxn>
                <a:cxn ang="0">
                  <a:pos x="164" y="230"/>
                </a:cxn>
                <a:cxn ang="0">
                  <a:pos x="113" y="265"/>
                </a:cxn>
                <a:cxn ang="0">
                  <a:pos x="88" y="231"/>
                </a:cxn>
                <a:cxn ang="0">
                  <a:pos x="79" y="220"/>
                </a:cxn>
                <a:cxn ang="0">
                  <a:pos x="72" y="216"/>
                </a:cxn>
                <a:cxn ang="0">
                  <a:pos x="60" y="217"/>
                </a:cxn>
                <a:cxn ang="0">
                  <a:pos x="54" y="221"/>
                </a:cxn>
                <a:cxn ang="0">
                  <a:pos x="49" y="228"/>
                </a:cxn>
                <a:cxn ang="0">
                  <a:pos x="48" y="236"/>
                </a:cxn>
                <a:cxn ang="0">
                  <a:pos x="45" y="257"/>
                </a:cxn>
                <a:cxn ang="0">
                  <a:pos x="41" y="270"/>
                </a:cxn>
                <a:cxn ang="0">
                  <a:pos x="33" y="284"/>
                </a:cxn>
                <a:cxn ang="0">
                  <a:pos x="26" y="243"/>
                </a:cxn>
                <a:cxn ang="0">
                  <a:pos x="17" y="227"/>
                </a:cxn>
                <a:cxn ang="0">
                  <a:pos x="11" y="221"/>
                </a:cxn>
                <a:cxn ang="0">
                  <a:pos x="0" y="216"/>
                </a:cxn>
                <a:cxn ang="0">
                  <a:pos x="1" y="204"/>
                </a:cxn>
                <a:cxn ang="0">
                  <a:pos x="4" y="193"/>
                </a:cxn>
                <a:cxn ang="0">
                  <a:pos x="15" y="176"/>
                </a:cxn>
                <a:cxn ang="0">
                  <a:pos x="31" y="161"/>
                </a:cxn>
                <a:cxn ang="0">
                  <a:pos x="46" y="141"/>
                </a:cxn>
                <a:cxn ang="0">
                  <a:pos x="33" y="44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2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997576" y="3067870"/>
              <a:ext cx="68263" cy="60325"/>
            </a:xfrm>
            <a:custGeom>
              <a:avLst/>
              <a:gdLst/>
              <a:ahLst/>
              <a:cxnLst>
                <a:cxn ang="0">
                  <a:pos x="114" y="0"/>
                </a:cxn>
                <a:cxn ang="0">
                  <a:pos x="114" y="9"/>
                </a:cxn>
                <a:cxn ang="0">
                  <a:pos x="114" y="18"/>
                </a:cxn>
                <a:cxn ang="0">
                  <a:pos x="115" y="25"/>
                </a:cxn>
                <a:cxn ang="0">
                  <a:pos x="117" y="32"/>
                </a:cxn>
                <a:cxn ang="0">
                  <a:pos x="119" y="34"/>
                </a:cxn>
                <a:cxn ang="0">
                  <a:pos x="121" y="37"/>
                </a:cxn>
                <a:cxn ang="0">
                  <a:pos x="123" y="38"/>
                </a:cxn>
                <a:cxn ang="0">
                  <a:pos x="127" y="39"/>
                </a:cxn>
                <a:cxn ang="0">
                  <a:pos x="131" y="40"/>
                </a:cxn>
                <a:cxn ang="0">
                  <a:pos x="135" y="39"/>
                </a:cxn>
                <a:cxn ang="0">
                  <a:pos x="140" y="38"/>
                </a:cxn>
                <a:cxn ang="0">
                  <a:pos x="146" y="36"/>
                </a:cxn>
                <a:cxn ang="0">
                  <a:pos x="149" y="43"/>
                </a:cxn>
                <a:cxn ang="0">
                  <a:pos x="153" y="52"/>
                </a:cxn>
                <a:cxn ang="0">
                  <a:pos x="157" y="64"/>
                </a:cxn>
                <a:cxn ang="0">
                  <a:pos x="160" y="74"/>
                </a:cxn>
                <a:cxn ang="0">
                  <a:pos x="133" y="88"/>
                </a:cxn>
                <a:cxn ang="0">
                  <a:pos x="106" y="102"/>
                </a:cxn>
                <a:cxn ang="0">
                  <a:pos x="92" y="107"/>
                </a:cxn>
                <a:cxn ang="0">
                  <a:pos x="76" y="113"/>
                </a:cxn>
                <a:cxn ang="0">
                  <a:pos x="62" y="116"/>
                </a:cxn>
                <a:cxn ang="0">
                  <a:pos x="47" y="117"/>
                </a:cxn>
                <a:cxn ang="0">
                  <a:pos x="32" y="99"/>
                </a:cxn>
                <a:cxn ang="0">
                  <a:pos x="21" y="83"/>
                </a:cxn>
                <a:cxn ang="0">
                  <a:pos x="10" y="69"/>
                </a:cxn>
                <a:cxn ang="0">
                  <a:pos x="0" y="55"/>
                </a:cxn>
                <a:cxn ang="0">
                  <a:pos x="13" y="48"/>
                </a:cxn>
                <a:cxn ang="0">
                  <a:pos x="41" y="32"/>
                </a:cxn>
                <a:cxn ang="0">
                  <a:pos x="60" y="23"/>
                </a:cxn>
                <a:cxn ang="0">
                  <a:pos x="78" y="14"/>
                </a:cxn>
                <a:cxn ang="0">
                  <a:pos x="97" y="6"/>
                </a:cxn>
                <a:cxn ang="0">
                  <a:pos x="114" y="0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3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081713" y="3691758"/>
              <a:ext cx="411162" cy="611187"/>
            </a:xfrm>
            <a:custGeom>
              <a:avLst/>
              <a:gdLst/>
              <a:ahLst/>
              <a:cxnLst>
                <a:cxn ang="0">
                  <a:pos x="742" y="5"/>
                </a:cxn>
                <a:cxn ang="0">
                  <a:pos x="765" y="23"/>
                </a:cxn>
                <a:cxn ang="0">
                  <a:pos x="803" y="30"/>
                </a:cxn>
                <a:cxn ang="0">
                  <a:pos x="814" y="55"/>
                </a:cxn>
                <a:cxn ang="0">
                  <a:pos x="835" y="109"/>
                </a:cxn>
                <a:cxn ang="0">
                  <a:pos x="837" y="187"/>
                </a:cxn>
                <a:cxn ang="0">
                  <a:pos x="857" y="243"/>
                </a:cxn>
                <a:cxn ang="0">
                  <a:pos x="922" y="292"/>
                </a:cxn>
                <a:cxn ang="0">
                  <a:pos x="879" y="361"/>
                </a:cxn>
                <a:cxn ang="0">
                  <a:pos x="851" y="410"/>
                </a:cxn>
                <a:cxn ang="0">
                  <a:pos x="809" y="635"/>
                </a:cxn>
                <a:cxn ang="0">
                  <a:pos x="770" y="677"/>
                </a:cxn>
                <a:cxn ang="0">
                  <a:pos x="763" y="721"/>
                </a:cxn>
                <a:cxn ang="0">
                  <a:pos x="745" y="735"/>
                </a:cxn>
                <a:cxn ang="0">
                  <a:pos x="723" y="798"/>
                </a:cxn>
                <a:cxn ang="0">
                  <a:pos x="692" y="877"/>
                </a:cxn>
                <a:cxn ang="0">
                  <a:pos x="662" y="903"/>
                </a:cxn>
                <a:cxn ang="0">
                  <a:pos x="664" y="934"/>
                </a:cxn>
                <a:cxn ang="0">
                  <a:pos x="686" y="939"/>
                </a:cxn>
                <a:cxn ang="0">
                  <a:pos x="709" y="950"/>
                </a:cxn>
                <a:cxn ang="0">
                  <a:pos x="742" y="971"/>
                </a:cxn>
                <a:cxn ang="0">
                  <a:pos x="756" y="1007"/>
                </a:cxn>
                <a:cxn ang="0">
                  <a:pos x="775" y="1043"/>
                </a:cxn>
                <a:cxn ang="0">
                  <a:pos x="803" y="1053"/>
                </a:cxn>
                <a:cxn ang="0">
                  <a:pos x="809" y="1094"/>
                </a:cxn>
                <a:cxn ang="0">
                  <a:pos x="718" y="1115"/>
                </a:cxn>
                <a:cxn ang="0">
                  <a:pos x="687" y="1157"/>
                </a:cxn>
                <a:cxn ang="0">
                  <a:pos x="598" y="1170"/>
                </a:cxn>
                <a:cxn ang="0">
                  <a:pos x="515" y="1158"/>
                </a:cxn>
                <a:cxn ang="0">
                  <a:pos x="464" y="1123"/>
                </a:cxn>
                <a:cxn ang="0">
                  <a:pos x="390" y="1125"/>
                </a:cxn>
                <a:cxn ang="0">
                  <a:pos x="319" y="1120"/>
                </a:cxn>
                <a:cxn ang="0">
                  <a:pos x="297" y="1104"/>
                </a:cxn>
                <a:cxn ang="0">
                  <a:pos x="294" y="1075"/>
                </a:cxn>
                <a:cxn ang="0">
                  <a:pos x="274" y="1029"/>
                </a:cxn>
                <a:cxn ang="0">
                  <a:pos x="216" y="974"/>
                </a:cxn>
                <a:cxn ang="0">
                  <a:pos x="193" y="925"/>
                </a:cxn>
                <a:cxn ang="0">
                  <a:pos x="152" y="903"/>
                </a:cxn>
                <a:cxn ang="0">
                  <a:pos x="120" y="846"/>
                </a:cxn>
                <a:cxn ang="0">
                  <a:pos x="97" y="788"/>
                </a:cxn>
                <a:cxn ang="0">
                  <a:pos x="65" y="758"/>
                </a:cxn>
                <a:cxn ang="0">
                  <a:pos x="33" y="676"/>
                </a:cxn>
                <a:cxn ang="0">
                  <a:pos x="4" y="611"/>
                </a:cxn>
                <a:cxn ang="0">
                  <a:pos x="18" y="577"/>
                </a:cxn>
                <a:cxn ang="0">
                  <a:pos x="29" y="521"/>
                </a:cxn>
                <a:cxn ang="0">
                  <a:pos x="64" y="474"/>
                </a:cxn>
                <a:cxn ang="0">
                  <a:pos x="113" y="222"/>
                </a:cxn>
                <a:cxn ang="0">
                  <a:pos x="123" y="179"/>
                </a:cxn>
                <a:cxn ang="0">
                  <a:pos x="153" y="171"/>
                </a:cxn>
                <a:cxn ang="0">
                  <a:pos x="160" y="122"/>
                </a:cxn>
                <a:cxn ang="0">
                  <a:pos x="159" y="67"/>
                </a:cxn>
                <a:cxn ang="0">
                  <a:pos x="679" y="69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4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565901" y="4031482"/>
              <a:ext cx="244475" cy="431800"/>
            </a:xfrm>
            <a:custGeom>
              <a:avLst/>
              <a:gdLst/>
              <a:ahLst/>
              <a:cxnLst>
                <a:cxn ang="0">
                  <a:pos x="98" y="62"/>
                </a:cxn>
                <a:cxn ang="0">
                  <a:pos x="112" y="56"/>
                </a:cxn>
                <a:cxn ang="0">
                  <a:pos x="129" y="69"/>
                </a:cxn>
                <a:cxn ang="0">
                  <a:pos x="149" y="85"/>
                </a:cxn>
                <a:cxn ang="0">
                  <a:pos x="171" y="92"/>
                </a:cxn>
                <a:cxn ang="0">
                  <a:pos x="215" y="88"/>
                </a:cxn>
                <a:cxn ang="0">
                  <a:pos x="257" y="82"/>
                </a:cxn>
                <a:cxn ang="0">
                  <a:pos x="291" y="79"/>
                </a:cxn>
                <a:cxn ang="0">
                  <a:pos x="301" y="74"/>
                </a:cxn>
                <a:cxn ang="0">
                  <a:pos x="301" y="68"/>
                </a:cxn>
                <a:cxn ang="0">
                  <a:pos x="355" y="63"/>
                </a:cxn>
                <a:cxn ang="0">
                  <a:pos x="434" y="45"/>
                </a:cxn>
                <a:cxn ang="0">
                  <a:pos x="479" y="28"/>
                </a:cxn>
                <a:cxn ang="0">
                  <a:pos x="514" y="8"/>
                </a:cxn>
                <a:cxn ang="0">
                  <a:pos x="547" y="31"/>
                </a:cxn>
                <a:cxn ang="0">
                  <a:pos x="555" y="57"/>
                </a:cxn>
                <a:cxn ang="0">
                  <a:pos x="552" y="113"/>
                </a:cxn>
                <a:cxn ang="0">
                  <a:pos x="532" y="174"/>
                </a:cxn>
                <a:cxn ang="0">
                  <a:pos x="502" y="231"/>
                </a:cxn>
                <a:cxn ang="0">
                  <a:pos x="447" y="321"/>
                </a:cxn>
                <a:cxn ang="0">
                  <a:pos x="423" y="375"/>
                </a:cxn>
                <a:cxn ang="0">
                  <a:pos x="410" y="415"/>
                </a:cxn>
                <a:cxn ang="0">
                  <a:pos x="379" y="473"/>
                </a:cxn>
                <a:cxn ang="0">
                  <a:pos x="330" y="531"/>
                </a:cxn>
                <a:cxn ang="0">
                  <a:pos x="288" y="566"/>
                </a:cxn>
                <a:cxn ang="0">
                  <a:pos x="239" y="600"/>
                </a:cxn>
                <a:cxn ang="0">
                  <a:pos x="168" y="651"/>
                </a:cxn>
                <a:cxn ang="0">
                  <a:pos x="143" y="680"/>
                </a:cxn>
                <a:cxn ang="0">
                  <a:pos x="131" y="700"/>
                </a:cxn>
                <a:cxn ang="0">
                  <a:pos x="116" y="717"/>
                </a:cxn>
                <a:cxn ang="0">
                  <a:pos x="71" y="745"/>
                </a:cxn>
                <a:cxn ang="0">
                  <a:pos x="19" y="801"/>
                </a:cxn>
                <a:cxn ang="0">
                  <a:pos x="2" y="564"/>
                </a:cxn>
                <a:cxn ang="0">
                  <a:pos x="3" y="554"/>
                </a:cxn>
                <a:cxn ang="0">
                  <a:pos x="27" y="533"/>
                </a:cxn>
                <a:cxn ang="0">
                  <a:pos x="42" y="516"/>
                </a:cxn>
                <a:cxn ang="0">
                  <a:pos x="60" y="497"/>
                </a:cxn>
                <a:cxn ang="0">
                  <a:pos x="111" y="480"/>
                </a:cxn>
                <a:cxn ang="0">
                  <a:pos x="119" y="470"/>
                </a:cxn>
                <a:cxn ang="0">
                  <a:pos x="129" y="452"/>
                </a:cxn>
                <a:cxn ang="0">
                  <a:pos x="152" y="440"/>
                </a:cxn>
                <a:cxn ang="0">
                  <a:pos x="174" y="439"/>
                </a:cxn>
                <a:cxn ang="0">
                  <a:pos x="196" y="439"/>
                </a:cxn>
                <a:cxn ang="0">
                  <a:pos x="228" y="429"/>
                </a:cxn>
                <a:cxn ang="0">
                  <a:pos x="251" y="405"/>
                </a:cxn>
                <a:cxn ang="0">
                  <a:pos x="265" y="379"/>
                </a:cxn>
                <a:cxn ang="0">
                  <a:pos x="296" y="347"/>
                </a:cxn>
                <a:cxn ang="0">
                  <a:pos x="354" y="293"/>
                </a:cxn>
                <a:cxn ang="0">
                  <a:pos x="377" y="266"/>
                </a:cxn>
                <a:cxn ang="0">
                  <a:pos x="324" y="246"/>
                </a:cxn>
                <a:cxn ang="0">
                  <a:pos x="257" y="228"/>
                </a:cxn>
                <a:cxn ang="0">
                  <a:pos x="184" y="209"/>
                </a:cxn>
                <a:cxn ang="0">
                  <a:pos x="149" y="187"/>
                </a:cxn>
                <a:cxn ang="0">
                  <a:pos x="112" y="154"/>
                </a:cxn>
                <a:cxn ang="0">
                  <a:pos x="89" y="121"/>
                </a:cxn>
                <a:cxn ang="0">
                  <a:pos x="77" y="80"/>
                </a:cxn>
                <a:cxn ang="0">
                  <a:pos x="65" y="87"/>
                </a:cxn>
                <a:cxn ang="0">
                  <a:pos x="84" y="68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5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573838" y="4018783"/>
              <a:ext cx="38100" cy="58737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56" y="2"/>
                </a:cxn>
                <a:cxn ang="0">
                  <a:pos x="52" y="3"/>
                </a:cxn>
                <a:cxn ang="0">
                  <a:pos x="46" y="3"/>
                </a:cxn>
                <a:cxn ang="0">
                  <a:pos x="40" y="3"/>
                </a:cxn>
                <a:cxn ang="0">
                  <a:pos x="33" y="3"/>
                </a:cxn>
                <a:cxn ang="0">
                  <a:pos x="27" y="3"/>
                </a:cxn>
                <a:cxn ang="0">
                  <a:pos x="23" y="4"/>
                </a:cxn>
                <a:cxn ang="0">
                  <a:pos x="20" y="6"/>
                </a:cxn>
                <a:cxn ang="0">
                  <a:pos x="16" y="9"/>
                </a:cxn>
                <a:cxn ang="0">
                  <a:pos x="13" y="12"/>
                </a:cxn>
                <a:cxn ang="0">
                  <a:pos x="11" y="15"/>
                </a:cxn>
                <a:cxn ang="0">
                  <a:pos x="8" y="20"/>
                </a:cxn>
                <a:cxn ang="0">
                  <a:pos x="4" y="29"/>
                </a:cxn>
                <a:cxn ang="0">
                  <a:pos x="2" y="38"/>
                </a:cxn>
                <a:cxn ang="0">
                  <a:pos x="0" y="57"/>
                </a:cxn>
                <a:cxn ang="0">
                  <a:pos x="0" y="75"/>
                </a:cxn>
                <a:cxn ang="0">
                  <a:pos x="0" y="81"/>
                </a:cxn>
                <a:cxn ang="0">
                  <a:pos x="1" y="86"/>
                </a:cxn>
                <a:cxn ang="0">
                  <a:pos x="3" y="90"/>
                </a:cxn>
                <a:cxn ang="0">
                  <a:pos x="7" y="93"/>
                </a:cxn>
                <a:cxn ang="0">
                  <a:pos x="10" y="95"/>
                </a:cxn>
                <a:cxn ang="0">
                  <a:pos x="13" y="96"/>
                </a:cxn>
                <a:cxn ang="0">
                  <a:pos x="18" y="97"/>
                </a:cxn>
                <a:cxn ang="0">
                  <a:pos x="21" y="97"/>
                </a:cxn>
                <a:cxn ang="0">
                  <a:pos x="40" y="95"/>
                </a:cxn>
                <a:cxn ang="0">
                  <a:pos x="53" y="93"/>
                </a:cxn>
                <a:cxn ang="0">
                  <a:pos x="86" y="68"/>
                </a:cxn>
                <a:cxn ang="0">
                  <a:pos x="59" y="0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6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372225" y="3929883"/>
              <a:ext cx="363538" cy="376237"/>
            </a:xfrm>
            <a:custGeom>
              <a:avLst/>
              <a:gdLst/>
              <a:ahLst/>
              <a:cxnLst>
                <a:cxn ang="0">
                  <a:pos x="182" y="36"/>
                </a:cxn>
                <a:cxn ang="0">
                  <a:pos x="205" y="28"/>
                </a:cxn>
                <a:cxn ang="0">
                  <a:pos x="247" y="0"/>
                </a:cxn>
                <a:cxn ang="0">
                  <a:pos x="273" y="12"/>
                </a:cxn>
                <a:cxn ang="0">
                  <a:pos x="327" y="37"/>
                </a:cxn>
                <a:cxn ang="0">
                  <a:pos x="380" y="67"/>
                </a:cxn>
                <a:cxn ang="0">
                  <a:pos x="426" y="98"/>
                </a:cxn>
                <a:cxn ang="0">
                  <a:pos x="442" y="125"/>
                </a:cxn>
                <a:cxn ang="0">
                  <a:pos x="443" y="140"/>
                </a:cxn>
                <a:cxn ang="0">
                  <a:pos x="458" y="147"/>
                </a:cxn>
                <a:cxn ang="0">
                  <a:pos x="499" y="178"/>
                </a:cxn>
                <a:cxn ang="0">
                  <a:pos x="506" y="172"/>
                </a:cxn>
                <a:cxn ang="0">
                  <a:pos x="488" y="184"/>
                </a:cxn>
                <a:cxn ang="0">
                  <a:pos x="481" y="202"/>
                </a:cxn>
                <a:cxn ang="0">
                  <a:pos x="481" y="252"/>
                </a:cxn>
                <a:cxn ang="0">
                  <a:pos x="493" y="264"/>
                </a:cxn>
                <a:cxn ang="0">
                  <a:pos x="526" y="265"/>
                </a:cxn>
                <a:cxn ang="0">
                  <a:pos x="545" y="319"/>
                </a:cxn>
                <a:cxn ang="0">
                  <a:pos x="583" y="361"/>
                </a:cxn>
                <a:cxn ang="0">
                  <a:pos x="645" y="400"/>
                </a:cxn>
                <a:cxn ang="0">
                  <a:pos x="738" y="430"/>
                </a:cxn>
                <a:cxn ang="0">
                  <a:pos x="845" y="449"/>
                </a:cxn>
                <a:cxn ang="0">
                  <a:pos x="811" y="482"/>
                </a:cxn>
                <a:cxn ang="0">
                  <a:pos x="731" y="547"/>
                </a:cxn>
                <a:cxn ang="0">
                  <a:pos x="712" y="579"/>
                </a:cxn>
                <a:cxn ang="0">
                  <a:pos x="697" y="617"/>
                </a:cxn>
                <a:cxn ang="0">
                  <a:pos x="674" y="629"/>
                </a:cxn>
                <a:cxn ang="0">
                  <a:pos x="580" y="655"/>
                </a:cxn>
                <a:cxn ang="0">
                  <a:pos x="559" y="671"/>
                </a:cxn>
                <a:cxn ang="0">
                  <a:pos x="525" y="681"/>
                </a:cxn>
                <a:cxn ang="0">
                  <a:pos x="482" y="693"/>
                </a:cxn>
                <a:cxn ang="0">
                  <a:pos x="461" y="680"/>
                </a:cxn>
                <a:cxn ang="0">
                  <a:pos x="427" y="679"/>
                </a:cxn>
                <a:cxn ang="0">
                  <a:pos x="405" y="699"/>
                </a:cxn>
                <a:cxn ang="0">
                  <a:pos x="390" y="714"/>
                </a:cxn>
                <a:cxn ang="0">
                  <a:pos x="360" y="720"/>
                </a:cxn>
                <a:cxn ang="0">
                  <a:pos x="318" y="714"/>
                </a:cxn>
                <a:cxn ang="0">
                  <a:pos x="289" y="698"/>
                </a:cxn>
                <a:cxn ang="0">
                  <a:pos x="246" y="671"/>
                </a:cxn>
                <a:cxn ang="0">
                  <a:pos x="181" y="661"/>
                </a:cxn>
                <a:cxn ang="0">
                  <a:pos x="140" y="653"/>
                </a:cxn>
                <a:cxn ang="0">
                  <a:pos x="151" y="614"/>
                </a:cxn>
                <a:cxn ang="0">
                  <a:pos x="127" y="596"/>
                </a:cxn>
                <a:cxn ang="0">
                  <a:pos x="108" y="583"/>
                </a:cxn>
                <a:cxn ang="0">
                  <a:pos x="93" y="551"/>
                </a:cxn>
                <a:cxn ang="0">
                  <a:pos x="77" y="511"/>
                </a:cxn>
                <a:cxn ang="0">
                  <a:pos x="49" y="489"/>
                </a:cxn>
                <a:cxn ang="0">
                  <a:pos x="16" y="477"/>
                </a:cxn>
                <a:cxn ang="0">
                  <a:pos x="5" y="472"/>
                </a:cxn>
                <a:cxn ang="0">
                  <a:pos x="2" y="448"/>
                </a:cxn>
                <a:cxn ang="0">
                  <a:pos x="21" y="422"/>
                </a:cxn>
                <a:cxn ang="0">
                  <a:pos x="55" y="413"/>
                </a:cxn>
                <a:cxn ang="0">
                  <a:pos x="67" y="321"/>
                </a:cxn>
                <a:cxn ang="0">
                  <a:pos x="82" y="275"/>
                </a:cxn>
                <a:cxn ang="0">
                  <a:pos x="95" y="260"/>
                </a:cxn>
                <a:cxn ang="0">
                  <a:pos x="103" y="236"/>
                </a:cxn>
                <a:cxn ang="0">
                  <a:pos x="116" y="206"/>
                </a:cxn>
                <a:cxn ang="0">
                  <a:pos x="148" y="178"/>
                </a:cxn>
                <a:cxn ang="0">
                  <a:pos x="167" y="160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7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3232151" y="4448994"/>
              <a:ext cx="4763" cy="7938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8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3232150" y="4456933"/>
              <a:ext cx="12700" cy="587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" y="1"/>
                </a:cxn>
                <a:cxn ang="0">
                  <a:pos x="15" y="3"/>
                </a:cxn>
                <a:cxn ang="0">
                  <a:pos x="23" y="5"/>
                </a:cxn>
                <a:cxn ang="0">
                  <a:pos x="33" y="6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9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3240088" y="4444232"/>
              <a:ext cx="4762" cy="57150"/>
            </a:xfrm>
            <a:custGeom>
              <a:avLst/>
              <a:gdLst/>
              <a:ahLst/>
              <a:cxnLst>
                <a:cxn ang="0">
                  <a:pos x="13" y="30"/>
                </a:cxn>
                <a:cxn ang="0">
                  <a:pos x="13" y="0"/>
                </a:cxn>
                <a:cxn ang="0">
                  <a:pos x="0" y="0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70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3232151" y="4379145"/>
              <a:ext cx="417513" cy="201613"/>
              <a:chOff x="912" y="2626"/>
              <a:chExt cx="311" cy="127"/>
            </a:xfrm>
            <a:grpFill/>
          </p:grpSpPr>
          <p:sp>
            <p:nvSpPr>
              <p:cNvPr id="456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/>
                <a:ahLst/>
                <a:cxnLst>
                  <a:cxn ang="0">
                    <a:pos x="312" y="79"/>
                  </a:cxn>
                  <a:cxn ang="0">
                    <a:pos x="286" y="79"/>
                  </a:cxn>
                  <a:cxn ang="0">
                    <a:pos x="265" y="79"/>
                  </a:cxn>
                  <a:cxn ang="0">
                    <a:pos x="249" y="74"/>
                  </a:cxn>
                  <a:cxn ang="0">
                    <a:pos x="222" y="59"/>
                  </a:cxn>
                  <a:cxn ang="0">
                    <a:pos x="168" y="20"/>
                  </a:cxn>
                  <a:cxn ang="0">
                    <a:pos x="137" y="6"/>
                  </a:cxn>
                  <a:cxn ang="0">
                    <a:pos x="129" y="19"/>
                  </a:cxn>
                  <a:cxn ang="0">
                    <a:pos x="119" y="29"/>
                  </a:cxn>
                  <a:cxn ang="0">
                    <a:pos x="107" y="35"/>
                  </a:cxn>
                  <a:cxn ang="0">
                    <a:pos x="86" y="56"/>
                  </a:cxn>
                  <a:cxn ang="0">
                    <a:pos x="53" y="97"/>
                  </a:cxn>
                  <a:cxn ang="0">
                    <a:pos x="30" y="131"/>
                  </a:cxn>
                  <a:cxn ang="0">
                    <a:pos x="17" y="154"/>
                  </a:cxn>
                  <a:cxn ang="0">
                    <a:pos x="7" y="177"/>
                  </a:cxn>
                  <a:cxn ang="0">
                    <a:pos x="0" y="198"/>
                  </a:cxn>
                  <a:cxn ang="0">
                    <a:pos x="0" y="213"/>
                  </a:cxn>
                  <a:cxn ang="0">
                    <a:pos x="3" y="222"/>
                  </a:cxn>
                  <a:cxn ang="0">
                    <a:pos x="9" y="231"/>
                  </a:cxn>
                  <a:cxn ang="0">
                    <a:pos x="24" y="241"/>
                  </a:cxn>
                  <a:cxn ang="0">
                    <a:pos x="39" y="245"/>
                  </a:cxn>
                  <a:cxn ang="0">
                    <a:pos x="52" y="245"/>
                  </a:cxn>
                  <a:cxn ang="0">
                    <a:pos x="63" y="241"/>
                  </a:cxn>
                  <a:cxn ang="0">
                    <a:pos x="73" y="236"/>
                  </a:cxn>
                  <a:cxn ang="0">
                    <a:pos x="78" y="236"/>
                  </a:cxn>
                  <a:cxn ang="0">
                    <a:pos x="80" y="238"/>
                  </a:cxn>
                  <a:cxn ang="0">
                    <a:pos x="80" y="257"/>
                  </a:cxn>
                  <a:cxn ang="0">
                    <a:pos x="76" y="279"/>
                  </a:cxn>
                  <a:cxn ang="0">
                    <a:pos x="71" y="290"/>
                  </a:cxn>
                  <a:cxn ang="0">
                    <a:pos x="73" y="307"/>
                  </a:cxn>
                  <a:cxn ang="0">
                    <a:pos x="80" y="331"/>
                  </a:cxn>
                  <a:cxn ang="0">
                    <a:pos x="89" y="351"/>
                  </a:cxn>
                  <a:cxn ang="0">
                    <a:pos x="122" y="373"/>
                  </a:cxn>
                  <a:cxn ang="0">
                    <a:pos x="142" y="385"/>
                  </a:cxn>
                  <a:cxn ang="0">
                    <a:pos x="152" y="386"/>
                  </a:cxn>
                  <a:cxn ang="0">
                    <a:pos x="163" y="377"/>
                  </a:cxn>
                  <a:cxn ang="0">
                    <a:pos x="173" y="363"/>
                  </a:cxn>
                  <a:cxn ang="0">
                    <a:pos x="178" y="350"/>
                  </a:cxn>
                  <a:cxn ang="0">
                    <a:pos x="181" y="338"/>
                  </a:cxn>
                  <a:cxn ang="0">
                    <a:pos x="184" y="323"/>
                  </a:cxn>
                  <a:cxn ang="0">
                    <a:pos x="195" y="304"/>
                  </a:cxn>
                  <a:cxn ang="0">
                    <a:pos x="216" y="281"/>
                  </a:cxn>
                  <a:cxn ang="0">
                    <a:pos x="238" y="263"/>
                  </a:cxn>
                  <a:cxn ang="0">
                    <a:pos x="264" y="249"/>
                  </a:cxn>
                  <a:cxn ang="0">
                    <a:pos x="300" y="229"/>
                  </a:cxn>
                  <a:cxn ang="0">
                    <a:pos x="324" y="212"/>
                  </a:cxn>
                  <a:cxn ang="0">
                    <a:pos x="338" y="199"/>
                  </a:cxn>
                  <a:cxn ang="0">
                    <a:pos x="346" y="185"/>
                  </a:cxn>
                  <a:cxn ang="0">
                    <a:pos x="352" y="169"/>
                  </a:cxn>
                  <a:cxn ang="0">
                    <a:pos x="351" y="149"/>
                  </a:cxn>
                  <a:cxn ang="0">
                    <a:pos x="344" y="125"/>
                  </a:cxn>
                  <a:cxn ang="0">
                    <a:pos x="330" y="91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7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20" y="0"/>
                  </a:cxn>
                  <a:cxn ang="0">
                    <a:pos x="25" y="2"/>
                  </a:cxn>
                  <a:cxn ang="0">
                    <a:pos x="30" y="6"/>
                  </a:cxn>
                  <a:cxn ang="0">
                    <a:pos x="36" y="9"/>
                  </a:cxn>
                  <a:cxn ang="0">
                    <a:pos x="40" y="13"/>
                  </a:cxn>
                  <a:cxn ang="0">
                    <a:pos x="45" y="17"/>
                  </a:cxn>
                  <a:cxn ang="0">
                    <a:pos x="47" y="21"/>
                  </a:cxn>
                  <a:cxn ang="0">
                    <a:pos x="48" y="24"/>
                  </a:cxn>
                  <a:cxn ang="0">
                    <a:pos x="51" y="34"/>
                  </a:cxn>
                  <a:cxn ang="0">
                    <a:pos x="52" y="41"/>
                  </a:cxn>
                  <a:cxn ang="0">
                    <a:pos x="51" y="46"/>
                  </a:cxn>
                  <a:cxn ang="0">
                    <a:pos x="49" y="50"/>
                  </a:cxn>
                  <a:cxn ang="0">
                    <a:pos x="47" y="54"/>
                  </a:cxn>
                  <a:cxn ang="0">
                    <a:pos x="44" y="60"/>
                  </a:cxn>
                  <a:cxn ang="0">
                    <a:pos x="41" y="65"/>
                  </a:cxn>
                  <a:cxn ang="0">
                    <a:pos x="41" y="73"/>
                  </a:cxn>
                  <a:cxn ang="0">
                    <a:pos x="29" y="75"/>
                  </a:cxn>
                  <a:cxn ang="0">
                    <a:pos x="16" y="78"/>
                  </a:cxn>
                  <a:cxn ang="0">
                    <a:pos x="11" y="78"/>
                  </a:cxn>
                  <a:cxn ang="0">
                    <a:pos x="5" y="78"/>
                  </a:cxn>
                  <a:cxn ang="0">
                    <a:pos x="4" y="78"/>
                  </a:cxn>
                  <a:cxn ang="0">
                    <a:pos x="2" y="77"/>
                  </a:cxn>
                  <a:cxn ang="0">
                    <a:pos x="2" y="75"/>
                  </a:cxn>
                  <a:cxn ang="0">
                    <a:pos x="1" y="73"/>
                  </a:cxn>
                  <a:cxn ang="0">
                    <a:pos x="0" y="69"/>
                  </a:cxn>
                  <a:cxn ang="0">
                    <a:pos x="1" y="64"/>
                  </a:cxn>
                  <a:cxn ang="0">
                    <a:pos x="3" y="60"/>
                  </a:cxn>
                  <a:cxn ang="0">
                    <a:pos x="7" y="56"/>
                  </a:cxn>
                  <a:cxn ang="0">
                    <a:pos x="17" y="47"/>
                  </a:cxn>
                  <a:cxn ang="0">
                    <a:pos x="28" y="42"/>
                  </a:cxn>
                  <a:cxn ang="0">
                    <a:pos x="24" y="32"/>
                  </a:cxn>
                  <a:cxn ang="0">
                    <a:pos x="21" y="21"/>
                  </a:cxn>
                  <a:cxn ang="0">
                    <a:pos x="18" y="10"/>
                  </a:cxn>
                  <a:cxn ang="0">
                    <a:pos x="14" y="0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8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/>
                <a:ahLst/>
                <a:cxnLst>
                  <a:cxn ang="0">
                    <a:pos x="13" y="6"/>
                  </a:cxn>
                  <a:cxn ang="0">
                    <a:pos x="0" y="24"/>
                  </a:cxn>
                  <a:cxn ang="0">
                    <a:pos x="7" y="25"/>
                  </a:cxn>
                  <a:cxn ang="0">
                    <a:pos x="15" y="27"/>
                  </a:cxn>
                  <a:cxn ang="0">
                    <a:pos x="23" y="29"/>
                  </a:cxn>
                  <a:cxn ang="0">
                    <a:pos x="33" y="30"/>
                  </a:cxn>
                  <a:cxn ang="0">
                    <a:pos x="33" y="0"/>
                  </a:cxn>
                  <a:cxn ang="0">
                    <a:pos x="20" y="0"/>
                  </a:cxn>
                  <a:cxn ang="0">
                    <a:pos x="13" y="6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71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880225" y="5096694"/>
              <a:ext cx="19050" cy="58738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25" y="0"/>
                </a:cxn>
                <a:cxn ang="0">
                  <a:pos x="31" y="2"/>
                </a:cxn>
                <a:cxn ang="0">
                  <a:pos x="33" y="4"/>
                </a:cxn>
                <a:cxn ang="0">
                  <a:pos x="33" y="6"/>
                </a:cxn>
                <a:cxn ang="0">
                  <a:pos x="32" y="8"/>
                </a:cxn>
                <a:cxn ang="0">
                  <a:pos x="33" y="10"/>
                </a:cxn>
                <a:cxn ang="0">
                  <a:pos x="37" y="12"/>
                </a:cxn>
                <a:cxn ang="0">
                  <a:pos x="47" y="12"/>
                </a:cxn>
                <a:cxn ang="0">
                  <a:pos x="42" y="19"/>
                </a:cxn>
                <a:cxn ang="0">
                  <a:pos x="37" y="25"/>
                </a:cxn>
                <a:cxn ang="0">
                  <a:pos x="33" y="27"/>
                </a:cxn>
                <a:cxn ang="0">
                  <a:pos x="28" y="28"/>
                </a:cxn>
                <a:cxn ang="0">
                  <a:pos x="16" y="27"/>
                </a:cxn>
                <a:cxn ang="0">
                  <a:pos x="0" y="25"/>
                </a:cxn>
                <a:cxn ang="0">
                  <a:pos x="1" y="19"/>
                </a:cxn>
                <a:cxn ang="0">
                  <a:pos x="2" y="15"/>
                </a:cxn>
                <a:cxn ang="0">
                  <a:pos x="4" y="13"/>
                </a:cxn>
                <a:cxn ang="0">
                  <a:pos x="6" y="12"/>
                </a:cxn>
                <a:cxn ang="0">
                  <a:pos x="9" y="11"/>
                </a:cxn>
                <a:cxn ang="0">
                  <a:pos x="11" y="9"/>
                </a:cxn>
                <a:cxn ang="0">
                  <a:pos x="13" y="5"/>
                </a:cxn>
                <a:cxn ang="0">
                  <a:pos x="13" y="0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2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851651" y="5123682"/>
              <a:ext cx="23813" cy="5715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26" y="1"/>
                </a:cxn>
                <a:cxn ang="0">
                  <a:pos x="34" y="1"/>
                </a:cxn>
                <a:cxn ang="0">
                  <a:pos x="37" y="3"/>
                </a:cxn>
                <a:cxn ang="0">
                  <a:pos x="37" y="4"/>
                </a:cxn>
                <a:cxn ang="0">
                  <a:pos x="37" y="6"/>
                </a:cxn>
                <a:cxn ang="0">
                  <a:pos x="39" y="8"/>
                </a:cxn>
                <a:cxn ang="0">
                  <a:pos x="44" y="10"/>
                </a:cxn>
                <a:cxn ang="0">
                  <a:pos x="53" y="12"/>
                </a:cxn>
                <a:cxn ang="0">
                  <a:pos x="48" y="22"/>
                </a:cxn>
                <a:cxn ang="0">
                  <a:pos x="44" y="28"/>
                </a:cxn>
                <a:cxn ang="0">
                  <a:pos x="42" y="31"/>
                </a:cxn>
                <a:cxn ang="0">
                  <a:pos x="38" y="32"/>
                </a:cxn>
                <a:cxn ang="0">
                  <a:pos x="36" y="33"/>
                </a:cxn>
                <a:cxn ang="0">
                  <a:pos x="34" y="33"/>
                </a:cxn>
                <a:cxn ang="0">
                  <a:pos x="20" y="30"/>
                </a:cxn>
                <a:cxn ang="0">
                  <a:pos x="0" y="24"/>
                </a:cxn>
                <a:cxn ang="0">
                  <a:pos x="0" y="19"/>
                </a:cxn>
                <a:cxn ang="0">
                  <a:pos x="2" y="16"/>
                </a:cxn>
                <a:cxn ang="0">
                  <a:pos x="4" y="14"/>
                </a:cxn>
                <a:cxn ang="0">
                  <a:pos x="7" y="12"/>
                </a:cxn>
                <a:cxn ang="0">
                  <a:pos x="9" y="11"/>
                </a:cxn>
                <a:cxn ang="0">
                  <a:pos x="11" y="9"/>
                </a:cxn>
                <a:cxn ang="0">
                  <a:pos x="12" y="6"/>
                </a:cxn>
                <a:cxn ang="0">
                  <a:pos x="13" y="0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73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6692901" y="4615683"/>
              <a:ext cx="168275" cy="103187"/>
              <a:chOff x="3481" y="2773"/>
              <a:chExt cx="125" cy="65"/>
            </a:xfrm>
            <a:grpFill/>
          </p:grpSpPr>
          <p:sp>
            <p:nvSpPr>
              <p:cNvPr id="445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0" y="9"/>
                  </a:cxn>
                  <a:cxn ang="0">
                    <a:pos x="6" y="18"/>
                  </a:cxn>
                  <a:cxn ang="0">
                    <a:pos x="5" y="17"/>
                  </a:cxn>
                  <a:cxn ang="0">
                    <a:pos x="3" y="14"/>
                  </a:cxn>
                  <a:cxn ang="0">
                    <a:pos x="1" y="10"/>
                  </a:cxn>
                  <a:cxn ang="0">
                    <a:pos x="0" y="6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6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7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/>
                <a:ahLst/>
                <a:cxnLst>
                  <a:cxn ang="0">
                    <a:pos x="14" y="19"/>
                  </a:cxn>
                  <a:cxn ang="0">
                    <a:pos x="0" y="0"/>
                  </a:cxn>
                  <a:cxn ang="0">
                    <a:pos x="14" y="19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8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7" y="18"/>
                  </a:cxn>
                  <a:cxn ang="0">
                    <a:pos x="0" y="18"/>
                  </a:cxn>
                  <a:cxn ang="0">
                    <a:pos x="0" y="0"/>
                  </a:cxn>
                  <a:cxn ang="0">
                    <a:pos x="7" y="0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9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/>
                <a:ahLst/>
                <a:cxnLst>
                  <a:cxn ang="0">
                    <a:pos x="20" y="12"/>
                  </a:cxn>
                  <a:cxn ang="0">
                    <a:pos x="10" y="9"/>
                  </a:cxn>
                  <a:cxn ang="0">
                    <a:pos x="0" y="6"/>
                  </a:cxn>
                  <a:cxn ang="0">
                    <a:pos x="1" y="5"/>
                  </a:cxn>
                  <a:cxn ang="0">
                    <a:pos x="3" y="3"/>
                  </a:cxn>
                  <a:cxn ang="0">
                    <a:pos x="8" y="1"/>
                  </a:cxn>
                  <a:cxn ang="0">
                    <a:pos x="13" y="0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0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1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8"/>
                  </a:cxn>
                  <a:cxn ang="0">
                    <a:pos x="20" y="18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2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/>
                <a:ahLst/>
                <a:cxnLst>
                  <a:cxn ang="0">
                    <a:pos x="7" y="12"/>
                  </a:cxn>
                  <a:cxn ang="0">
                    <a:pos x="4" y="6"/>
                  </a:cxn>
                  <a:cxn ang="0">
                    <a:pos x="0" y="0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3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8"/>
                  </a:cxn>
                  <a:cxn ang="0">
                    <a:pos x="20" y="18"/>
                  </a:cxn>
                  <a:cxn ang="0">
                    <a:pos x="17" y="12"/>
                  </a:cxn>
                  <a:cxn ang="0">
                    <a:pos x="13" y="6"/>
                  </a:cxn>
                  <a:cxn ang="0">
                    <a:pos x="0" y="0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4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7" y="18"/>
                  </a:cxn>
                  <a:cxn ang="0">
                    <a:pos x="0" y="18"/>
                  </a:cxn>
                  <a:cxn ang="0">
                    <a:pos x="0" y="0"/>
                  </a:cxn>
                  <a:cxn ang="0">
                    <a:pos x="7" y="0"/>
                  </a:cxn>
                  <a:cxn ang="0">
                    <a:pos x="0" y="6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5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0" y="9"/>
                  </a:cxn>
                  <a:cxn ang="0">
                    <a:pos x="6" y="18"/>
                  </a:cxn>
                  <a:cxn ang="0">
                    <a:pos x="5" y="17"/>
                  </a:cxn>
                  <a:cxn ang="0">
                    <a:pos x="3" y="14"/>
                  </a:cxn>
                  <a:cxn ang="0">
                    <a:pos x="1" y="10"/>
                  </a:cxn>
                  <a:cxn ang="0">
                    <a:pos x="0" y="6"/>
                  </a:cxn>
                  <a:cxn ang="0">
                    <a:pos x="6" y="6"/>
                  </a:cxn>
                  <a:cxn ang="0">
                    <a:pos x="13" y="0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74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21364" y="4607745"/>
              <a:ext cx="319087" cy="379413"/>
            </a:xfrm>
            <a:custGeom>
              <a:avLst/>
              <a:gdLst/>
              <a:ahLst/>
              <a:cxnLst>
                <a:cxn ang="0">
                  <a:pos x="60" y="685"/>
                </a:cxn>
                <a:cxn ang="0">
                  <a:pos x="91" y="668"/>
                </a:cxn>
                <a:cxn ang="0">
                  <a:pos x="126" y="668"/>
                </a:cxn>
                <a:cxn ang="0">
                  <a:pos x="196" y="692"/>
                </a:cxn>
                <a:cxn ang="0">
                  <a:pos x="245" y="705"/>
                </a:cxn>
                <a:cxn ang="0">
                  <a:pos x="292" y="703"/>
                </a:cxn>
                <a:cxn ang="0">
                  <a:pos x="611" y="717"/>
                </a:cxn>
                <a:cxn ang="0">
                  <a:pos x="651" y="707"/>
                </a:cxn>
                <a:cxn ang="0">
                  <a:pos x="627" y="657"/>
                </a:cxn>
                <a:cxn ang="0">
                  <a:pos x="664" y="433"/>
                </a:cxn>
                <a:cxn ang="0">
                  <a:pos x="709" y="429"/>
                </a:cxn>
                <a:cxn ang="0">
                  <a:pos x="723" y="416"/>
                </a:cxn>
                <a:cxn ang="0">
                  <a:pos x="734" y="360"/>
                </a:cxn>
                <a:cxn ang="0">
                  <a:pos x="722" y="302"/>
                </a:cxn>
                <a:cxn ang="0">
                  <a:pos x="708" y="304"/>
                </a:cxn>
                <a:cxn ang="0">
                  <a:pos x="676" y="300"/>
                </a:cxn>
                <a:cxn ang="0">
                  <a:pos x="634" y="299"/>
                </a:cxn>
                <a:cxn ang="0">
                  <a:pos x="623" y="290"/>
                </a:cxn>
                <a:cxn ang="0">
                  <a:pos x="617" y="253"/>
                </a:cxn>
                <a:cxn ang="0">
                  <a:pos x="607" y="219"/>
                </a:cxn>
                <a:cxn ang="0">
                  <a:pos x="597" y="186"/>
                </a:cxn>
                <a:cxn ang="0">
                  <a:pos x="607" y="167"/>
                </a:cxn>
                <a:cxn ang="0">
                  <a:pos x="617" y="148"/>
                </a:cxn>
                <a:cxn ang="0">
                  <a:pos x="611" y="100"/>
                </a:cxn>
                <a:cxn ang="0">
                  <a:pos x="544" y="70"/>
                </a:cxn>
                <a:cxn ang="0">
                  <a:pos x="477" y="66"/>
                </a:cxn>
                <a:cxn ang="0">
                  <a:pos x="471" y="81"/>
                </a:cxn>
                <a:cxn ang="0">
                  <a:pos x="463" y="101"/>
                </a:cxn>
                <a:cxn ang="0">
                  <a:pos x="440" y="122"/>
                </a:cxn>
                <a:cxn ang="0">
                  <a:pos x="392" y="130"/>
                </a:cxn>
                <a:cxn ang="0">
                  <a:pos x="364" y="115"/>
                </a:cxn>
                <a:cxn ang="0">
                  <a:pos x="339" y="82"/>
                </a:cxn>
                <a:cxn ang="0">
                  <a:pos x="319" y="39"/>
                </a:cxn>
                <a:cxn ang="0">
                  <a:pos x="312" y="0"/>
                </a:cxn>
                <a:cxn ang="0">
                  <a:pos x="30" y="15"/>
                </a:cxn>
                <a:cxn ang="0">
                  <a:pos x="47" y="29"/>
                </a:cxn>
                <a:cxn ang="0">
                  <a:pos x="75" y="75"/>
                </a:cxn>
                <a:cxn ang="0">
                  <a:pos x="102" y="130"/>
                </a:cxn>
                <a:cxn ang="0">
                  <a:pos x="103" y="171"/>
                </a:cxn>
                <a:cxn ang="0">
                  <a:pos x="93" y="203"/>
                </a:cxn>
                <a:cxn ang="0">
                  <a:pos x="96" y="229"/>
                </a:cxn>
                <a:cxn ang="0">
                  <a:pos x="119" y="272"/>
                </a:cxn>
                <a:cxn ang="0">
                  <a:pos x="131" y="307"/>
                </a:cxn>
                <a:cxn ang="0">
                  <a:pos x="127" y="352"/>
                </a:cxn>
                <a:cxn ang="0">
                  <a:pos x="106" y="403"/>
                </a:cxn>
                <a:cxn ang="0">
                  <a:pos x="77" y="446"/>
                </a:cxn>
                <a:cxn ang="0">
                  <a:pos x="41" y="477"/>
                </a:cxn>
                <a:cxn ang="0">
                  <a:pos x="25" y="591"/>
                </a:cxn>
                <a:cxn ang="0">
                  <a:pos x="11" y="62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5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832476" y="4580758"/>
              <a:ext cx="15875" cy="60325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12" y="28"/>
                </a:cxn>
                <a:cxn ang="0">
                  <a:pos x="22" y="28"/>
                </a:cxn>
                <a:cxn ang="0">
                  <a:pos x="26" y="28"/>
                </a:cxn>
                <a:cxn ang="0">
                  <a:pos x="30" y="28"/>
                </a:cxn>
                <a:cxn ang="0">
                  <a:pos x="35" y="27"/>
                </a:cxn>
                <a:cxn ang="0">
                  <a:pos x="39" y="25"/>
                </a:cxn>
                <a:cxn ang="0">
                  <a:pos x="39" y="0"/>
                </a:cxn>
                <a:cxn ang="0">
                  <a:pos x="26" y="0"/>
                </a:cxn>
                <a:cxn ang="0">
                  <a:pos x="17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31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6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934076" y="5123682"/>
              <a:ext cx="396875" cy="398462"/>
            </a:xfrm>
            <a:custGeom>
              <a:avLst/>
              <a:gdLst/>
              <a:ahLst/>
              <a:cxnLst>
                <a:cxn ang="0">
                  <a:pos x="899" y="291"/>
                </a:cxn>
                <a:cxn ang="0">
                  <a:pos x="863" y="388"/>
                </a:cxn>
                <a:cxn ang="0">
                  <a:pos x="832" y="414"/>
                </a:cxn>
                <a:cxn ang="0">
                  <a:pos x="761" y="507"/>
                </a:cxn>
                <a:cxn ang="0">
                  <a:pos x="720" y="561"/>
                </a:cxn>
                <a:cxn ang="0">
                  <a:pos x="647" y="613"/>
                </a:cxn>
                <a:cxn ang="0">
                  <a:pos x="583" y="666"/>
                </a:cxn>
                <a:cxn ang="0">
                  <a:pos x="557" y="698"/>
                </a:cxn>
                <a:cxn ang="0">
                  <a:pos x="520" y="705"/>
                </a:cxn>
                <a:cxn ang="0">
                  <a:pos x="496" y="710"/>
                </a:cxn>
                <a:cxn ang="0">
                  <a:pos x="485" y="727"/>
                </a:cxn>
                <a:cxn ang="0">
                  <a:pos x="372" y="727"/>
                </a:cxn>
                <a:cxn ang="0">
                  <a:pos x="339" y="732"/>
                </a:cxn>
                <a:cxn ang="0">
                  <a:pos x="316" y="732"/>
                </a:cxn>
                <a:cxn ang="0">
                  <a:pos x="286" y="727"/>
                </a:cxn>
                <a:cxn ang="0">
                  <a:pos x="263" y="737"/>
                </a:cxn>
                <a:cxn ang="0">
                  <a:pos x="146" y="759"/>
                </a:cxn>
                <a:cxn ang="0">
                  <a:pos x="116" y="753"/>
                </a:cxn>
                <a:cxn ang="0">
                  <a:pos x="90" y="739"/>
                </a:cxn>
                <a:cxn ang="0">
                  <a:pos x="76" y="719"/>
                </a:cxn>
                <a:cxn ang="0">
                  <a:pos x="79" y="697"/>
                </a:cxn>
                <a:cxn ang="0">
                  <a:pos x="75" y="628"/>
                </a:cxn>
                <a:cxn ang="0">
                  <a:pos x="79" y="608"/>
                </a:cxn>
                <a:cxn ang="0">
                  <a:pos x="68" y="572"/>
                </a:cxn>
                <a:cxn ang="0">
                  <a:pos x="22" y="516"/>
                </a:cxn>
                <a:cxn ang="0">
                  <a:pos x="12" y="484"/>
                </a:cxn>
                <a:cxn ang="0">
                  <a:pos x="10" y="439"/>
                </a:cxn>
                <a:cxn ang="0">
                  <a:pos x="0" y="377"/>
                </a:cxn>
                <a:cxn ang="0">
                  <a:pos x="39" y="377"/>
                </a:cxn>
                <a:cxn ang="0">
                  <a:pos x="57" y="396"/>
                </a:cxn>
                <a:cxn ang="0">
                  <a:pos x="94" y="410"/>
                </a:cxn>
                <a:cxn ang="0">
                  <a:pos x="135" y="411"/>
                </a:cxn>
                <a:cxn ang="0">
                  <a:pos x="160" y="400"/>
                </a:cxn>
                <a:cxn ang="0">
                  <a:pos x="182" y="372"/>
                </a:cxn>
                <a:cxn ang="0">
                  <a:pos x="197" y="229"/>
                </a:cxn>
                <a:cxn ang="0">
                  <a:pos x="204" y="184"/>
                </a:cxn>
                <a:cxn ang="0">
                  <a:pos x="210" y="168"/>
                </a:cxn>
                <a:cxn ang="0">
                  <a:pos x="239" y="178"/>
                </a:cxn>
                <a:cxn ang="0">
                  <a:pos x="245" y="238"/>
                </a:cxn>
                <a:cxn ang="0">
                  <a:pos x="247" y="274"/>
                </a:cxn>
                <a:cxn ang="0">
                  <a:pos x="256" y="287"/>
                </a:cxn>
                <a:cxn ang="0">
                  <a:pos x="287" y="295"/>
                </a:cxn>
                <a:cxn ang="0">
                  <a:pos x="312" y="293"/>
                </a:cxn>
                <a:cxn ang="0">
                  <a:pos x="333" y="272"/>
                </a:cxn>
                <a:cxn ang="0">
                  <a:pos x="350" y="234"/>
                </a:cxn>
                <a:cxn ang="0">
                  <a:pos x="368" y="201"/>
                </a:cxn>
                <a:cxn ang="0">
                  <a:pos x="387" y="191"/>
                </a:cxn>
                <a:cxn ang="0">
                  <a:pos x="414" y="193"/>
                </a:cxn>
                <a:cxn ang="0">
                  <a:pos x="451" y="208"/>
                </a:cxn>
                <a:cxn ang="0">
                  <a:pos x="478" y="216"/>
                </a:cxn>
                <a:cxn ang="0">
                  <a:pos x="512" y="213"/>
                </a:cxn>
                <a:cxn ang="0">
                  <a:pos x="531" y="200"/>
                </a:cxn>
                <a:cxn ang="0">
                  <a:pos x="564" y="127"/>
                </a:cxn>
                <a:cxn ang="0">
                  <a:pos x="620" y="80"/>
                </a:cxn>
                <a:cxn ang="0">
                  <a:pos x="732" y="11"/>
                </a:cxn>
                <a:cxn ang="0">
                  <a:pos x="806" y="3"/>
                </a:cxn>
                <a:cxn ang="0">
                  <a:pos x="830" y="6"/>
                </a:cxn>
                <a:cxn ang="0">
                  <a:pos x="854" y="35"/>
                </a:cxn>
                <a:cxn ang="0">
                  <a:pos x="873" y="71"/>
                </a:cxn>
                <a:cxn ang="0">
                  <a:pos x="883" y="107"/>
                </a:cxn>
                <a:cxn ang="0">
                  <a:pos x="868" y="207"/>
                </a:cxn>
                <a:cxn ang="0">
                  <a:pos x="830" y="204"/>
                </a:cxn>
                <a:cxn ang="0">
                  <a:pos x="826" y="281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7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081713" y="3691758"/>
              <a:ext cx="411162" cy="611187"/>
            </a:xfrm>
            <a:custGeom>
              <a:avLst/>
              <a:gdLst/>
              <a:ahLst/>
              <a:cxnLst>
                <a:cxn ang="0">
                  <a:pos x="742" y="5"/>
                </a:cxn>
                <a:cxn ang="0">
                  <a:pos x="765" y="23"/>
                </a:cxn>
                <a:cxn ang="0">
                  <a:pos x="803" y="30"/>
                </a:cxn>
                <a:cxn ang="0">
                  <a:pos x="814" y="55"/>
                </a:cxn>
                <a:cxn ang="0">
                  <a:pos x="835" y="109"/>
                </a:cxn>
                <a:cxn ang="0">
                  <a:pos x="837" y="187"/>
                </a:cxn>
                <a:cxn ang="0">
                  <a:pos x="857" y="243"/>
                </a:cxn>
                <a:cxn ang="0">
                  <a:pos x="922" y="292"/>
                </a:cxn>
                <a:cxn ang="0">
                  <a:pos x="879" y="361"/>
                </a:cxn>
                <a:cxn ang="0">
                  <a:pos x="851" y="410"/>
                </a:cxn>
                <a:cxn ang="0">
                  <a:pos x="809" y="635"/>
                </a:cxn>
                <a:cxn ang="0">
                  <a:pos x="770" y="677"/>
                </a:cxn>
                <a:cxn ang="0">
                  <a:pos x="763" y="721"/>
                </a:cxn>
                <a:cxn ang="0">
                  <a:pos x="745" y="735"/>
                </a:cxn>
                <a:cxn ang="0">
                  <a:pos x="723" y="798"/>
                </a:cxn>
                <a:cxn ang="0">
                  <a:pos x="692" y="877"/>
                </a:cxn>
                <a:cxn ang="0">
                  <a:pos x="662" y="903"/>
                </a:cxn>
                <a:cxn ang="0">
                  <a:pos x="664" y="934"/>
                </a:cxn>
                <a:cxn ang="0">
                  <a:pos x="686" y="939"/>
                </a:cxn>
                <a:cxn ang="0">
                  <a:pos x="709" y="950"/>
                </a:cxn>
                <a:cxn ang="0">
                  <a:pos x="742" y="971"/>
                </a:cxn>
                <a:cxn ang="0">
                  <a:pos x="756" y="1007"/>
                </a:cxn>
                <a:cxn ang="0">
                  <a:pos x="775" y="1043"/>
                </a:cxn>
                <a:cxn ang="0">
                  <a:pos x="803" y="1053"/>
                </a:cxn>
                <a:cxn ang="0">
                  <a:pos x="809" y="1094"/>
                </a:cxn>
                <a:cxn ang="0">
                  <a:pos x="718" y="1115"/>
                </a:cxn>
                <a:cxn ang="0">
                  <a:pos x="687" y="1157"/>
                </a:cxn>
                <a:cxn ang="0">
                  <a:pos x="598" y="1170"/>
                </a:cxn>
                <a:cxn ang="0">
                  <a:pos x="515" y="1158"/>
                </a:cxn>
                <a:cxn ang="0">
                  <a:pos x="464" y="1123"/>
                </a:cxn>
                <a:cxn ang="0">
                  <a:pos x="390" y="1125"/>
                </a:cxn>
                <a:cxn ang="0">
                  <a:pos x="319" y="1120"/>
                </a:cxn>
                <a:cxn ang="0">
                  <a:pos x="297" y="1104"/>
                </a:cxn>
                <a:cxn ang="0">
                  <a:pos x="294" y="1075"/>
                </a:cxn>
                <a:cxn ang="0">
                  <a:pos x="274" y="1029"/>
                </a:cxn>
                <a:cxn ang="0">
                  <a:pos x="216" y="974"/>
                </a:cxn>
                <a:cxn ang="0">
                  <a:pos x="193" y="925"/>
                </a:cxn>
                <a:cxn ang="0">
                  <a:pos x="152" y="903"/>
                </a:cxn>
                <a:cxn ang="0">
                  <a:pos x="120" y="846"/>
                </a:cxn>
                <a:cxn ang="0">
                  <a:pos x="97" y="788"/>
                </a:cxn>
                <a:cxn ang="0">
                  <a:pos x="65" y="758"/>
                </a:cxn>
                <a:cxn ang="0">
                  <a:pos x="33" y="676"/>
                </a:cxn>
                <a:cxn ang="0">
                  <a:pos x="4" y="611"/>
                </a:cxn>
                <a:cxn ang="0">
                  <a:pos x="18" y="577"/>
                </a:cxn>
                <a:cxn ang="0">
                  <a:pos x="29" y="521"/>
                </a:cxn>
                <a:cxn ang="0">
                  <a:pos x="64" y="474"/>
                </a:cxn>
                <a:cxn ang="0">
                  <a:pos x="113" y="222"/>
                </a:cxn>
                <a:cxn ang="0">
                  <a:pos x="123" y="179"/>
                </a:cxn>
                <a:cxn ang="0">
                  <a:pos x="153" y="171"/>
                </a:cxn>
                <a:cxn ang="0">
                  <a:pos x="160" y="122"/>
                </a:cxn>
                <a:cxn ang="0">
                  <a:pos x="159" y="67"/>
                </a:cxn>
                <a:cxn ang="0">
                  <a:pos x="679" y="69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78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4865688" y="3893369"/>
              <a:ext cx="80962" cy="82550"/>
              <a:chOff x="2352" y="2343"/>
              <a:chExt cx="65" cy="53"/>
            </a:xfrm>
            <a:grpFill/>
          </p:grpSpPr>
          <p:sp>
            <p:nvSpPr>
              <p:cNvPr id="439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0" y="5"/>
                  </a:cxn>
                  <a:cxn ang="0">
                    <a:pos x="4" y="28"/>
                  </a:cxn>
                  <a:cxn ang="0">
                    <a:pos x="10" y="33"/>
                  </a:cxn>
                  <a:cxn ang="0">
                    <a:pos x="35" y="25"/>
                  </a:cxn>
                  <a:cxn ang="0">
                    <a:pos x="48" y="15"/>
                  </a:cxn>
                  <a:cxn ang="0">
                    <a:pos x="51" y="8"/>
                  </a:cxn>
                  <a:cxn ang="0">
                    <a:pos x="46" y="0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0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/>
                <a:ahLst/>
                <a:cxnLst>
                  <a:cxn ang="0">
                    <a:pos x="61" y="6"/>
                  </a:cxn>
                  <a:cxn ang="0">
                    <a:pos x="53" y="2"/>
                  </a:cxn>
                  <a:cxn ang="0">
                    <a:pos x="0" y="0"/>
                  </a:cxn>
                  <a:cxn ang="0">
                    <a:pos x="2" y="14"/>
                  </a:cxn>
                  <a:cxn ang="0">
                    <a:pos x="7" y="20"/>
                  </a:cxn>
                  <a:cxn ang="0">
                    <a:pos x="18" y="13"/>
                  </a:cxn>
                  <a:cxn ang="0">
                    <a:pos x="61" y="6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1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0"/>
                  </a:cxn>
                  <a:cxn ang="0">
                    <a:pos x="0" y="36"/>
                  </a:cxn>
                  <a:cxn ang="0">
                    <a:pos x="11" y="35"/>
                  </a:cxn>
                  <a:cxn ang="0">
                    <a:pos x="15" y="14"/>
                  </a:cxn>
                  <a:cxn ang="0">
                    <a:pos x="2" y="0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2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22" y="0"/>
                  </a:cxn>
                  <a:cxn ang="0">
                    <a:pos x="35" y="6"/>
                  </a:cxn>
                  <a:cxn ang="0">
                    <a:pos x="37" y="22"/>
                  </a:cxn>
                  <a:cxn ang="0">
                    <a:pos x="24" y="33"/>
                  </a:cxn>
                  <a:cxn ang="0">
                    <a:pos x="11" y="33"/>
                  </a:cxn>
                  <a:cxn ang="0">
                    <a:pos x="2" y="24"/>
                  </a:cxn>
                  <a:cxn ang="0">
                    <a:pos x="0" y="16"/>
                  </a:cxn>
                  <a:cxn ang="0">
                    <a:pos x="4" y="4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3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2" y="50"/>
                  </a:cxn>
                  <a:cxn ang="0">
                    <a:pos x="18" y="54"/>
                  </a:cxn>
                  <a:cxn ang="0">
                    <a:pos x="44" y="45"/>
                  </a:cxn>
                  <a:cxn ang="0">
                    <a:pos x="49" y="31"/>
                  </a:cxn>
                  <a:cxn ang="0">
                    <a:pos x="40" y="21"/>
                  </a:cxn>
                  <a:cxn ang="0">
                    <a:pos x="19" y="8"/>
                  </a:cxn>
                  <a:cxn ang="0">
                    <a:pos x="2" y="0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4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3" y="2"/>
                  </a:cxn>
                  <a:cxn ang="0">
                    <a:pos x="0" y="15"/>
                  </a:cxn>
                  <a:cxn ang="0">
                    <a:pos x="6" y="21"/>
                  </a:cxn>
                  <a:cxn ang="0">
                    <a:pos x="19" y="22"/>
                  </a:cxn>
                  <a:cxn ang="0">
                    <a:pos x="26" y="11"/>
                  </a:cxn>
                  <a:cxn ang="0">
                    <a:pos x="18" y="0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79" name="Group 278"/>
            <p:cNvGrpSpPr/>
            <p:nvPr>
              <p:custDataLst>
                <p:tags r:id="rId274"/>
              </p:custDataLst>
            </p:nvPr>
          </p:nvGrpSpPr>
          <p:grpSpPr>
            <a:xfrm>
              <a:off x="2711451" y="1953445"/>
              <a:ext cx="1897063" cy="1133475"/>
              <a:chOff x="1187450" y="1196975"/>
              <a:chExt cx="1897063" cy="1133475"/>
            </a:xfrm>
            <a:grpFill/>
          </p:grpSpPr>
          <p:sp>
            <p:nvSpPr>
              <p:cNvPr id="397" name="Freeform 392"/>
              <p:cNvSpPr>
                <a:spLocks/>
              </p:cNvSpPr>
              <p:nvPr/>
            </p:nvSpPr>
            <p:spPr bwMode="auto">
              <a:xfrm>
                <a:off x="2363360" y="1703761"/>
                <a:ext cx="41708" cy="27178"/>
              </a:xfrm>
              <a:custGeom>
                <a:avLst/>
                <a:gdLst/>
                <a:ahLst/>
                <a:cxnLst>
                  <a:cxn ang="0">
                    <a:pos x="0" y="41"/>
                  </a:cxn>
                  <a:cxn ang="0">
                    <a:pos x="5" y="46"/>
                  </a:cxn>
                  <a:cxn ang="0">
                    <a:pos x="13" y="50"/>
                  </a:cxn>
                  <a:cxn ang="0">
                    <a:pos x="23" y="53"/>
                  </a:cxn>
                  <a:cxn ang="0">
                    <a:pos x="32" y="54"/>
                  </a:cxn>
                  <a:cxn ang="0">
                    <a:pos x="38" y="54"/>
                  </a:cxn>
                  <a:cxn ang="0">
                    <a:pos x="45" y="53"/>
                  </a:cxn>
                  <a:cxn ang="0">
                    <a:pos x="50" y="51"/>
                  </a:cxn>
                  <a:cxn ang="0">
                    <a:pos x="56" y="49"/>
                  </a:cxn>
                  <a:cxn ang="0">
                    <a:pos x="67" y="42"/>
                  </a:cxn>
                  <a:cxn ang="0">
                    <a:pos x="75" y="35"/>
                  </a:cxn>
                  <a:cxn ang="0">
                    <a:pos x="84" y="28"/>
                  </a:cxn>
                  <a:cxn ang="0">
                    <a:pos x="91" y="20"/>
                  </a:cxn>
                  <a:cxn ang="0">
                    <a:pos x="95" y="12"/>
                  </a:cxn>
                  <a:cxn ang="0">
                    <a:pos x="98" y="4"/>
                  </a:cxn>
                  <a:cxn ang="0">
                    <a:pos x="91" y="2"/>
                  </a:cxn>
                  <a:cxn ang="0">
                    <a:pos x="83" y="0"/>
                  </a:cxn>
                  <a:cxn ang="0">
                    <a:pos x="75" y="0"/>
                  </a:cxn>
                  <a:cxn ang="0">
                    <a:pos x="68" y="0"/>
                  </a:cxn>
                  <a:cxn ang="0">
                    <a:pos x="59" y="1"/>
                  </a:cxn>
                  <a:cxn ang="0">
                    <a:pos x="51" y="3"/>
                  </a:cxn>
                  <a:cxn ang="0">
                    <a:pos x="43" y="6"/>
                  </a:cxn>
                  <a:cxn ang="0">
                    <a:pos x="37" y="9"/>
                  </a:cxn>
                  <a:cxn ang="0">
                    <a:pos x="23" y="17"/>
                  </a:cxn>
                  <a:cxn ang="0">
                    <a:pos x="12" y="25"/>
                  </a:cxn>
                  <a:cxn ang="0">
                    <a:pos x="7" y="29"/>
                  </a:cxn>
                  <a:cxn ang="0">
                    <a:pos x="4" y="33"/>
                  </a:cxn>
                  <a:cxn ang="0">
                    <a:pos x="1" y="37"/>
                  </a:cxn>
                  <a:cxn ang="0">
                    <a:pos x="0" y="41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8" name="Freeform 393"/>
              <p:cNvSpPr>
                <a:spLocks/>
              </p:cNvSpPr>
              <p:nvPr/>
            </p:nvSpPr>
            <p:spPr bwMode="auto">
              <a:xfrm>
                <a:off x="2344524" y="1902000"/>
                <a:ext cx="28254" cy="12790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1" y="28"/>
                  </a:cxn>
                  <a:cxn ang="0">
                    <a:pos x="21" y="27"/>
                  </a:cxn>
                  <a:cxn ang="0">
                    <a:pos x="31" y="25"/>
                  </a:cxn>
                  <a:cxn ang="0">
                    <a:pos x="41" y="21"/>
                  </a:cxn>
                  <a:cxn ang="0">
                    <a:pos x="49" y="17"/>
                  </a:cxn>
                  <a:cxn ang="0">
                    <a:pos x="57" y="12"/>
                  </a:cxn>
                  <a:cxn ang="0">
                    <a:pos x="63" y="7"/>
                  </a:cxn>
                  <a:cxn ang="0">
                    <a:pos x="67" y="3"/>
                  </a:cxn>
                  <a:cxn ang="0">
                    <a:pos x="57" y="1"/>
                  </a:cxn>
                  <a:cxn ang="0">
                    <a:pos x="46" y="0"/>
                  </a:cxn>
                  <a:cxn ang="0">
                    <a:pos x="36" y="1"/>
                  </a:cxn>
                  <a:cxn ang="0">
                    <a:pos x="26" y="3"/>
                  </a:cxn>
                  <a:cxn ang="0">
                    <a:pos x="17" y="7"/>
                  </a:cxn>
                  <a:cxn ang="0">
                    <a:pos x="10" y="12"/>
                  </a:cxn>
                  <a:cxn ang="0">
                    <a:pos x="7" y="15"/>
                  </a:cxn>
                  <a:cxn ang="0">
                    <a:pos x="4" y="19"/>
                  </a:cxn>
                  <a:cxn ang="0">
                    <a:pos x="2" y="22"/>
                  </a:cxn>
                  <a:cxn ang="0">
                    <a:pos x="0" y="2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9" name="Freeform 394"/>
              <p:cNvSpPr>
                <a:spLocks/>
              </p:cNvSpPr>
              <p:nvPr/>
            </p:nvSpPr>
            <p:spPr bwMode="auto">
              <a:xfrm>
                <a:off x="2270525" y="1993125"/>
                <a:ext cx="14800" cy="17586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1" y="24"/>
                  </a:cxn>
                  <a:cxn ang="0">
                    <a:pos x="4" y="29"/>
                  </a:cxn>
                  <a:cxn ang="0">
                    <a:pos x="6" y="32"/>
                  </a:cxn>
                  <a:cxn ang="0">
                    <a:pos x="8" y="34"/>
                  </a:cxn>
                  <a:cxn ang="0">
                    <a:pos x="11" y="36"/>
                  </a:cxn>
                  <a:cxn ang="0">
                    <a:pos x="13" y="36"/>
                  </a:cxn>
                  <a:cxn ang="0">
                    <a:pos x="32" y="36"/>
                  </a:cxn>
                  <a:cxn ang="0">
                    <a:pos x="32" y="22"/>
                  </a:cxn>
                  <a:cxn ang="0">
                    <a:pos x="31" y="14"/>
                  </a:cxn>
                  <a:cxn ang="0">
                    <a:pos x="30" y="7"/>
                  </a:cxn>
                  <a:cxn ang="0">
                    <a:pos x="26" y="0"/>
                  </a:cxn>
                  <a:cxn ang="0">
                    <a:pos x="19" y="2"/>
                  </a:cxn>
                  <a:cxn ang="0">
                    <a:pos x="11" y="7"/>
                  </a:cxn>
                  <a:cxn ang="0">
                    <a:pos x="6" y="10"/>
                  </a:cxn>
                  <a:cxn ang="0">
                    <a:pos x="3" y="13"/>
                  </a:cxn>
                  <a:cxn ang="0">
                    <a:pos x="1" y="16"/>
                  </a:cxn>
                  <a:cxn ang="0">
                    <a:pos x="0" y="18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0" name="Freeform 395"/>
              <p:cNvSpPr>
                <a:spLocks/>
              </p:cNvSpPr>
              <p:nvPr/>
            </p:nvSpPr>
            <p:spPr bwMode="auto">
              <a:xfrm>
                <a:off x="2199217" y="1523109"/>
                <a:ext cx="61890" cy="27178"/>
              </a:xfrm>
              <a:custGeom>
                <a:avLst/>
                <a:gdLst/>
                <a:ahLst/>
                <a:cxnLst>
                  <a:cxn ang="0">
                    <a:pos x="0" y="43"/>
                  </a:cxn>
                  <a:cxn ang="0">
                    <a:pos x="11" y="46"/>
                  </a:cxn>
                  <a:cxn ang="0">
                    <a:pos x="22" y="48"/>
                  </a:cxn>
                  <a:cxn ang="0">
                    <a:pos x="33" y="51"/>
                  </a:cxn>
                  <a:cxn ang="0">
                    <a:pos x="43" y="52"/>
                  </a:cxn>
                  <a:cxn ang="0">
                    <a:pos x="63" y="52"/>
                  </a:cxn>
                  <a:cxn ang="0">
                    <a:pos x="82" y="51"/>
                  </a:cxn>
                  <a:cxn ang="0">
                    <a:pos x="117" y="46"/>
                  </a:cxn>
                  <a:cxn ang="0">
                    <a:pos x="146" y="43"/>
                  </a:cxn>
                  <a:cxn ang="0">
                    <a:pos x="144" y="36"/>
                  </a:cxn>
                  <a:cxn ang="0">
                    <a:pos x="142" y="30"/>
                  </a:cxn>
                  <a:cxn ang="0">
                    <a:pos x="139" y="24"/>
                  </a:cxn>
                  <a:cxn ang="0">
                    <a:pos x="137" y="19"/>
                  </a:cxn>
                  <a:cxn ang="0">
                    <a:pos x="134" y="15"/>
                  </a:cxn>
                  <a:cxn ang="0">
                    <a:pos x="129" y="11"/>
                  </a:cxn>
                  <a:cxn ang="0">
                    <a:pos x="125" y="8"/>
                  </a:cxn>
                  <a:cxn ang="0">
                    <a:pos x="121" y="6"/>
                  </a:cxn>
                  <a:cxn ang="0">
                    <a:pos x="111" y="2"/>
                  </a:cxn>
                  <a:cxn ang="0">
                    <a:pos x="101" y="0"/>
                  </a:cxn>
                  <a:cxn ang="0">
                    <a:pos x="89" y="1"/>
                  </a:cxn>
                  <a:cxn ang="0">
                    <a:pos x="78" y="2"/>
                  </a:cxn>
                  <a:cxn ang="0">
                    <a:pos x="66" y="5"/>
                  </a:cxn>
                  <a:cxn ang="0">
                    <a:pos x="54" y="9"/>
                  </a:cxn>
                  <a:cxn ang="0">
                    <a:pos x="43" y="14"/>
                  </a:cxn>
                  <a:cxn ang="0">
                    <a:pos x="32" y="19"/>
                  </a:cxn>
                  <a:cxn ang="0">
                    <a:pos x="22" y="25"/>
                  </a:cxn>
                  <a:cxn ang="0">
                    <a:pos x="13" y="31"/>
                  </a:cxn>
                  <a:cxn ang="0">
                    <a:pos x="5" y="37"/>
                  </a:cxn>
                  <a:cxn ang="0">
                    <a:pos x="0" y="43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1" name="Freeform 396"/>
              <p:cNvSpPr>
                <a:spLocks/>
              </p:cNvSpPr>
              <p:nvPr/>
            </p:nvSpPr>
            <p:spPr bwMode="auto">
              <a:xfrm>
                <a:off x="2174999" y="1423990"/>
                <a:ext cx="26909" cy="15987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49" y="0"/>
                  </a:cxn>
                  <a:cxn ang="0">
                    <a:pos x="38" y="0"/>
                  </a:cxn>
                  <a:cxn ang="0">
                    <a:pos x="31" y="0"/>
                  </a:cxn>
                  <a:cxn ang="0">
                    <a:pos x="27" y="0"/>
                  </a:cxn>
                  <a:cxn ang="0">
                    <a:pos x="18" y="0"/>
                  </a:cxn>
                  <a:cxn ang="0">
                    <a:pos x="9" y="2"/>
                  </a:cxn>
                  <a:cxn ang="0">
                    <a:pos x="5" y="3"/>
                  </a:cxn>
                  <a:cxn ang="0">
                    <a:pos x="2" y="5"/>
                  </a:cxn>
                  <a:cxn ang="0">
                    <a:pos x="1" y="8"/>
                  </a:cxn>
                  <a:cxn ang="0">
                    <a:pos x="0" y="12"/>
                  </a:cxn>
                  <a:cxn ang="0">
                    <a:pos x="1" y="15"/>
                  </a:cxn>
                  <a:cxn ang="0">
                    <a:pos x="2" y="18"/>
                  </a:cxn>
                  <a:cxn ang="0">
                    <a:pos x="5" y="22"/>
                  </a:cxn>
                  <a:cxn ang="0">
                    <a:pos x="9" y="24"/>
                  </a:cxn>
                  <a:cxn ang="0">
                    <a:pos x="12" y="27"/>
                  </a:cxn>
                  <a:cxn ang="0">
                    <a:pos x="18" y="29"/>
                  </a:cxn>
                  <a:cxn ang="0">
                    <a:pos x="22" y="31"/>
                  </a:cxn>
                  <a:cxn ang="0">
                    <a:pos x="27" y="31"/>
                  </a:cxn>
                  <a:cxn ang="0">
                    <a:pos x="32" y="30"/>
                  </a:cxn>
                  <a:cxn ang="0">
                    <a:pos x="37" y="28"/>
                  </a:cxn>
                  <a:cxn ang="0">
                    <a:pos x="43" y="24"/>
                  </a:cxn>
                  <a:cxn ang="0">
                    <a:pos x="48" y="18"/>
                  </a:cxn>
                  <a:cxn ang="0">
                    <a:pos x="57" y="10"/>
                  </a:cxn>
                  <a:cxn ang="0">
                    <a:pos x="60" y="6"/>
                  </a:cxn>
                  <a:cxn ang="0">
                    <a:pos x="60" y="0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2" name="Freeform 397"/>
              <p:cNvSpPr>
                <a:spLocks/>
              </p:cNvSpPr>
              <p:nvPr/>
            </p:nvSpPr>
            <p:spPr bwMode="auto">
              <a:xfrm>
                <a:off x="2806008" y="2160988"/>
                <a:ext cx="34981" cy="31974"/>
              </a:xfrm>
              <a:custGeom>
                <a:avLst/>
                <a:gdLst/>
                <a:ahLst/>
                <a:cxnLst>
                  <a:cxn ang="0">
                    <a:pos x="0" y="43"/>
                  </a:cxn>
                  <a:cxn ang="0">
                    <a:pos x="1" y="46"/>
                  </a:cxn>
                  <a:cxn ang="0">
                    <a:pos x="1" y="49"/>
                  </a:cxn>
                  <a:cxn ang="0">
                    <a:pos x="3" y="51"/>
                  </a:cxn>
                  <a:cxn ang="0">
                    <a:pos x="4" y="53"/>
                  </a:cxn>
                  <a:cxn ang="0">
                    <a:pos x="10" y="57"/>
                  </a:cxn>
                  <a:cxn ang="0">
                    <a:pos x="15" y="59"/>
                  </a:cxn>
                  <a:cxn ang="0">
                    <a:pos x="28" y="62"/>
                  </a:cxn>
                  <a:cxn ang="0">
                    <a:pos x="40" y="62"/>
                  </a:cxn>
                  <a:cxn ang="0">
                    <a:pos x="45" y="62"/>
                  </a:cxn>
                  <a:cxn ang="0">
                    <a:pos x="49" y="59"/>
                  </a:cxn>
                  <a:cxn ang="0">
                    <a:pos x="54" y="57"/>
                  </a:cxn>
                  <a:cxn ang="0">
                    <a:pos x="58" y="54"/>
                  </a:cxn>
                  <a:cxn ang="0">
                    <a:pos x="65" y="47"/>
                  </a:cxn>
                  <a:cxn ang="0">
                    <a:pos x="70" y="38"/>
                  </a:cxn>
                  <a:cxn ang="0">
                    <a:pos x="74" y="28"/>
                  </a:cxn>
                  <a:cxn ang="0">
                    <a:pos x="78" y="18"/>
                  </a:cxn>
                  <a:cxn ang="0">
                    <a:pos x="79" y="8"/>
                  </a:cxn>
                  <a:cxn ang="0">
                    <a:pos x="80" y="0"/>
                  </a:cxn>
                  <a:cxn ang="0">
                    <a:pos x="71" y="0"/>
                  </a:cxn>
                  <a:cxn ang="0">
                    <a:pos x="59" y="3"/>
                  </a:cxn>
                  <a:cxn ang="0">
                    <a:pos x="46" y="8"/>
                  </a:cxn>
                  <a:cxn ang="0">
                    <a:pos x="33" y="13"/>
                  </a:cxn>
                  <a:cxn ang="0">
                    <a:pos x="21" y="19"/>
                  </a:cxn>
                  <a:cxn ang="0">
                    <a:pos x="10" y="26"/>
                  </a:cxn>
                  <a:cxn ang="0">
                    <a:pos x="6" y="30"/>
                  </a:cxn>
                  <a:cxn ang="0">
                    <a:pos x="3" y="34"/>
                  </a:cxn>
                  <a:cxn ang="0">
                    <a:pos x="1" y="39"/>
                  </a:cxn>
                  <a:cxn ang="0">
                    <a:pos x="0" y="43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3" name="Freeform 398"/>
              <p:cNvSpPr>
                <a:spLocks/>
              </p:cNvSpPr>
              <p:nvPr/>
            </p:nvSpPr>
            <p:spPr bwMode="auto">
              <a:xfrm>
                <a:off x="2608229" y="2098639"/>
                <a:ext cx="44399" cy="25579"/>
              </a:xfrm>
              <a:custGeom>
                <a:avLst/>
                <a:gdLst/>
                <a:ahLst/>
                <a:cxnLst>
                  <a:cxn ang="0">
                    <a:pos x="80" y="13"/>
                  </a:cxn>
                  <a:cxn ang="0">
                    <a:pos x="72" y="12"/>
                  </a:cxn>
                  <a:cxn ang="0">
                    <a:pos x="66" y="11"/>
                  </a:cxn>
                  <a:cxn ang="0">
                    <a:pos x="59" y="8"/>
                  </a:cxn>
                  <a:cxn ang="0">
                    <a:pos x="53" y="6"/>
                  </a:cxn>
                  <a:cxn ang="0">
                    <a:pos x="47" y="4"/>
                  </a:cxn>
                  <a:cxn ang="0">
                    <a:pos x="41" y="2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15" y="0"/>
                  </a:cxn>
                  <a:cxn ang="0">
                    <a:pos x="0" y="0"/>
                  </a:cxn>
                  <a:cxn ang="0">
                    <a:pos x="9" y="11"/>
                  </a:cxn>
                  <a:cxn ang="0">
                    <a:pos x="17" y="21"/>
                  </a:cxn>
                  <a:cxn ang="0">
                    <a:pos x="26" y="29"/>
                  </a:cxn>
                  <a:cxn ang="0">
                    <a:pos x="34" y="36"/>
                  </a:cxn>
                  <a:cxn ang="0">
                    <a:pos x="42" y="42"/>
                  </a:cxn>
                  <a:cxn ang="0">
                    <a:pos x="52" y="46"/>
                  </a:cxn>
                  <a:cxn ang="0">
                    <a:pos x="61" y="48"/>
                  </a:cxn>
                  <a:cxn ang="0">
                    <a:pos x="72" y="49"/>
                  </a:cxn>
                  <a:cxn ang="0">
                    <a:pos x="79" y="48"/>
                  </a:cxn>
                  <a:cxn ang="0">
                    <a:pos x="87" y="45"/>
                  </a:cxn>
                  <a:cxn ang="0">
                    <a:pos x="97" y="39"/>
                  </a:cxn>
                  <a:cxn ang="0">
                    <a:pos x="106" y="31"/>
                  </a:cxn>
                  <a:cxn ang="0">
                    <a:pos x="101" y="30"/>
                  </a:cxn>
                  <a:cxn ang="0">
                    <a:pos x="98" y="28"/>
                  </a:cxn>
                  <a:cxn ang="0">
                    <a:pos x="93" y="25"/>
                  </a:cxn>
                  <a:cxn ang="0">
                    <a:pos x="90" y="22"/>
                  </a:cxn>
                  <a:cxn ang="0">
                    <a:pos x="88" y="19"/>
                  </a:cxn>
                  <a:cxn ang="0">
                    <a:pos x="84" y="16"/>
                  </a:cxn>
                  <a:cxn ang="0">
                    <a:pos x="82" y="14"/>
                  </a:cxn>
                  <a:cxn ang="0">
                    <a:pos x="80" y="13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4" name="Freeform 399"/>
              <p:cNvSpPr>
                <a:spLocks/>
              </p:cNvSpPr>
              <p:nvPr/>
            </p:nvSpPr>
            <p:spPr bwMode="auto">
              <a:xfrm>
                <a:off x="2629756" y="2160988"/>
                <a:ext cx="20182" cy="11191"/>
              </a:xfrm>
              <a:custGeom>
                <a:avLst/>
                <a:gdLst/>
                <a:ahLst/>
                <a:cxnLst>
                  <a:cxn ang="0">
                    <a:pos x="0" y="19"/>
                  </a:cxn>
                  <a:cxn ang="0">
                    <a:pos x="5" y="21"/>
                  </a:cxn>
                  <a:cxn ang="0">
                    <a:pos x="12" y="22"/>
                  </a:cxn>
                  <a:cxn ang="0">
                    <a:pos x="18" y="22"/>
                  </a:cxn>
                  <a:cxn ang="0">
                    <a:pos x="26" y="21"/>
                  </a:cxn>
                  <a:cxn ang="0">
                    <a:pos x="33" y="19"/>
                  </a:cxn>
                  <a:cxn ang="0">
                    <a:pos x="38" y="15"/>
                  </a:cxn>
                  <a:cxn ang="0">
                    <a:pos x="41" y="12"/>
                  </a:cxn>
                  <a:cxn ang="0">
                    <a:pos x="44" y="9"/>
                  </a:cxn>
                  <a:cxn ang="0">
                    <a:pos x="45" y="5"/>
                  </a:cxn>
                  <a:cxn ang="0">
                    <a:pos x="47" y="0"/>
                  </a:cxn>
                  <a:cxn ang="0">
                    <a:pos x="0" y="19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5" name="Freeform 400"/>
              <p:cNvSpPr>
                <a:spLocks/>
              </p:cNvSpPr>
              <p:nvPr/>
            </p:nvSpPr>
            <p:spPr bwMode="auto">
              <a:xfrm>
                <a:off x="2641865" y="2207350"/>
                <a:ext cx="22872" cy="17586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37" y="9"/>
                  </a:cxn>
                  <a:cxn ang="0">
                    <a:pos x="23" y="18"/>
                  </a:cxn>
                  <a:cxn ang="0">
                    <a:pos x="11" y="26"/>
                  </a:cxn>
                  <a:cxn ang="0">
                    <a:pos x="0" y="32"/>
                  </a:cxn>
                  <a:cxn ang="0">
                    <a:pos x="13" y="32"/>
                  </a:cxn>
                  <a:cxn ang="0">
                    <a:pos x="26" y="32"/>
                  </a:cxn>
                  <a:cxn ang="0">
                    <a:pos x="39" y="32"/>
                  </a:cxn>
                  <a:cxn ang="0">
                    <a:pos x="53" y="32"/>
                  </a:cxn>
                  <a:cxn ang="0">
                    <a:pos x="53" y="24"/>
                  </a:cxn>
                  <a:cxn ang="0">
                    <a:pos x="53" y="16"/>
                  </a:cxn>
                  <a:cxn ang="0">
                    <a:pos x="53" y="9"/>
                  </a:cxn>
                  <a:cxn ang="0">
                    <a:pos x="53" y="0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6" name="Freeform 401"/>
              <p:cNvSpPr>
                <a:spLocks/>
              </p:cNvSpPr>
              <p:nvPr/>
            </p:nvSpPr>
            <p:spPr bwMode="auto">
              <a:xfrm>
                <a:off x="2429286" y="1721347"/>
                <a:ext cx="18836" cy="19184"/>
              </a:xfrm>
              <a:custGeom>
                <a:avLst/>
                <a:gdLst/>
                <a:ahLst/>
                <a:cxnLst>
                  <a:cxn ang="0">
                    <a:pos x="27" y="3"/>
                  </a:cxn>
                  <a:cxn ang="0">
                    <a:pos x="0" y="16"/>
                  </a:cxn>
                  <a:cxn ang="0">
                    <a:pos x="0" y="34"/>
                  </a:cxn>
                  <a:cxn ang="0">
                    <a:pos x="27" y="34"/>
                  </a:cxn>
                  <a:cxn ang="0">
                    <a:pos x="31" y="32"/>
                  </a:cxn>
                  <a:cxn ang="0">
                    <a:pos x="35" y="28"/>
                  </a:cxn>
                  <a:cxn ang="0">
                    <a:pos x="39" y="25"/>
                  </a:cxn>
                  <a:cxn ang="0">
                    <a:pos x="42" y="21"/>
                  </a:cxn>
                  <a:cxn ang="0">
                    <a:pos x="44" y="17"/>
                  </a:cxn>
                  <a:cxn ang="0">
                    <a:pos x="45" y="13"/>
                  </a:cxn>
                  <a:cxn ang="0">
                    <a:pos x="46" y="8"/>
                  </a:cxn>
                  <a:cxn ang="0">
                    <a:pos x="46" y="3"/>
                  </a:cxn>
                  <a:cxn ang="0">
                    <a:pos x="46" y="1"/>
                  </a:cxn>
                  <a:cxn ang="0">
                    <a:pos x="44" y="0"/>
                  </a:cxn>
                  <a:cxn ang="0">
                    <a:pos x="42" y="0"/>
                  </a:cxn>
                  <a:cxn ang="0">
                    <a:pos x="39" y="0"/>
                  </a:cxn>
                  <a:cxn ang="0">
                    <a:pos x="32" y="2"/>
                  </a:cxn>
                  <a:cxn ang="0">
                    <a:pos x="27" y="3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7" name="Freeform 402"/>
              <p:cNvSpPr>
                <a:spLocks/>
              </p:cNvSpPr>
              <p:nvPr/>
            </p:nvSpPr>
            <p:spPr bwMode="auto">
              <a:xfrm>
                <a:off x="2234198" y="1379226"/>
                <a:ext cx="21527" cy="12790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14" y="25"/>
                  </a:cxn>
                  <a:cxn ang="0">
                    <a:pos x="28" y="25"/>
                  </a:cxn>
                  <a:cxn ang="0">
                    <a:pos x="30" y="24"/>
                  </a:cxn>
                  <a:cxn ang="0">
                    <a:pos x="33" y="22"/>
                  </a:cxn>
                  <a:cxn ang="0">
                    <a:pos x="37" y="18"/>
                  </a:cxn>
                  <a:cxn ang="0">
                    <a:pos x="40" y="15"/>
                  </a:cxn>
                  <a:cxn ang="0">
                    <a:pos x="45" y="7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3" y="2"/>
                  </a:cxn>
                  <a:cxn ang="0">
                    <a:pos x="28" y="5"/>
                  </a:cxn>
                  <a:cxn ang="0">
                    <a:pos x="21" y="8"/>
                  </a:cxn>
                  <a:cxn ang="0">
                    <a:pos x="11" y="16"/>
                  </a:cxn>
                  <a:cxn ang="0">
                    <a:pos x="0" y="25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8" name="Freeform 403"/>
              <p:cNvSpPr>
                <a:spLocks/>
              </p:cNvSpPr>
              <p:nvPr/>
            </p:nvSpPr>
            <p:spPr bwMode="auto">
              <a:xfrm>
                <a:off x="2285325" y="1321673"/>
                <a:ext cx="10763" cy="1758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7"/>
                  </a:cxn>
                  <a:cxn ang="0">
                    <a:pos x="11" y="36"/>
                  </a:cxn>
                  <a:cxn ang="0">
                    <a:pos x="20" y="34"/>
                  </a:cxn>
                  <a:cxn ang="0">
                    <a:pos x="22" y="33"/>
                  </a:cxn>
                  <a:cxn ang="0">
                    <a:pos x="26" y="32"/>
                  </a:cxn>
                  <a:cxn ang="0">
                    <a:pos x="28" y="30"/>
                  </a:cxn>
                  <a:cxn ang="0">
                    <a:pos x="29" y="28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29" y="9"/>
                  </a:cxn>
                  <a:cxn ang="0">
                    <a:pos x="27" y="0"/>
                  </a:cxn>
                  <a:cxn ang="0">
                    <a:pos x="0" y="0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9" name="Freeform 404"/>
              <p:cNvSpPr>
                <a:spLocks/>
              </p:cNvSpPr>
              <p:nvPr/>
            </p:nvSpPr>
            <p:spPr bwMode="auto">
              <a:xfrm>
                <a:off x="2273216" y="1353647"/>
                <a:ext cx="48436" cy="25579"/>
              </a:xfrm>
              <a:custGeom>
                <a:avLst/>
                <a:gdLst/>
                <a:ahLst/>
                <a:cxnLst>
                  <a:cxn ang="0">
                    <a:pos x="33" y="3"/>
                  </a:cxn>
                  <a:cxn ang="0">
                    <a:pos x="22" y="3"/>
                  </a:cxn>
                  <a:cxn ang="0">
                    <a:pos x="12" y="5"/>
                  </a:cxn>
                  <a:cxn ang="0">
                    <a:pos x="7" y="7"/>
                  </a:cxn>
                  <a:cxn ang="0">
                    <a:pos x="3" y="11"/>
                  </a:cxn>
                  <a:cxn ang="0">
                    <a:pos x="1" y="15"/>
                  </a:cxn>
                  <a:cxn ang="0">
                    <a:pos x="0" y="21"/>
                  </a:cxn>
                  <a:cxn ang="0">
                    <a:pos x="6" y="27"/>
                  </a:cxn>
                  <a:cxn ang="0">
                    <a:pos x="10" y="33"/>
                  </a:cxn>
                  <a:cxn ang="0">
                    <a:pos x="16" y="37"/>
                  </a:cxn>
                  <a:cxn ang="0">
                    <a:pos x="20" y="41"/>
                  </a:cxn>
                  <a:cxn ang="0">
                    <a:pos x="25" y="43"/>
                  </a:cxn>
                  <a:cxn ang="0">
                    <a:pos x="30" y="45"/>
                  </a:cxn>
                  <a:cxn ang="0">
                    <a:pos x="35" y="46"/>
                  </a:cxn>
                  <a:cxn ang="0">
                    <a:pos x="40" y="46"/>
                  </a:cxn>
                  <a:cxn ang="0">
                    <a:pos x="56" y="46"/>
                  </a:cxn>
                  <a:cxn ang="0">
                    <a:pos x="70" y="43"/>
                  </a:cxn>
                  <a:cxn ang="0">
                    <a:pos x="76" y="41"/>
                  </a:cxn>
                  <a:cxn ang="0">
                    <a:pos x="81" y="38"/>
                  </a:cxn>
                  <a:cxn ang="0">
                    <a:pos x="87" y="36"/>
                  </a:cxn>
                  <a:cxn ang="0">
                    <a:pos x="91" y="33"/>
                  </a:cxn>
                  <a:cxn ang="0">
                    <a:pos x="99" y="27"/>
                  </a:cxn>
                  <a:cxn ang="0">
                    <a:pos x="106" y="20"/>
                  </a:cxn>
                  <a:cxn ang="0">
                    <a:pos x="110" y="12"/>
                  </a:cxn>
                  <a:cxn ang="0">
                    <a:pos x="113" y="3"/>
                  </a:cxn>
                  <a:cxn ang="0">
                    <a:pos x="99" y="1"/>
                  </a:cxn>
                  <a:cxn ang="0">
                    <a:pos x="87" y="0"/>
                  </a:cxn>
                  <a:cxn ang="0">
                    <a:pos x="76" y="0"/>
                  </a:cxn>
                  <a:cxn ang="0">
                    <a:pos x="66" y="1"/>
                  </a:cxn>
                  <a:cxn ang="0">
                    <a:pos x="48" y="2"/>
                  </a:cxn>
                  <a:cxn ang="0">
                    <a:pos x="33" y="3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0" name="Freeform 405"/>
              <p:cNvSpPr>
                <a:spLocks/>
              </p:cNvSpPr>
              <p:nvPr/>
            </p:nvSpPr>
            <p:spPr bwMode="auto">
              <a:xfrm>
                <a:off x="2314924" y="1342456"/>
                <a:ext cx="65926" cy="44763"/>
              </a:xfrm>
              <a:custGeom>
                <a:avLst/>
                <a:gdLst/>
                <a:ahLst/>
                <a:cxnLst>
                  <a:cxn ang="0">
                    <a:pos x="0" y="79"/>
                  </a:cxn>
                  <a:cxn ang="0">
                    <a:pos x="2" y="81"/>
                  </a:cxn>
                  <a:cxn ang="0">
                    <a:pos x="6" y="82"/>
                  </a:cxn>
                  <a:cxn ang="0">
                    <a:pos x="10" y="82"/>
                  </a:cxn>
                  <a:cxn ang="0">
                    <a:pos x="14" y="82"/>
                  </a:cxn>
                  <a:cxn ang="0">
                    <a:pos x="23" y="80"/>
                  </a:cxn>
                  <a:cxn ang="0">
                    <a:pos x="33" y="79"/>
                  </a:cxn>
                  <a:cxn ang="0">
                    <a:pos x="40" y="79"/>
                  </a:cxn>
                  <a:cxn ang="0">
                    <a:pos x="47" y="78"/>
                  </a:cxn>
                  <a:cxn ang="0">
                    <a:pos x="56" y="76"/>
                  </a:cxn>
                  <a:cxn ang="0">
                    <a:pos x="65" y="74"/>
                  </a:cxn>
                  <a:cxn ang="0">
                    <a:pos x="83" y="68"/>
                  </a:cxn>
                  <a:cxn ang="0">
                    <a:pos x="103" y="59"/>
                  </a:cxn>
                  <a:cxn ang="0">
                    <a:pos x="112" y="54"/>
                  </a:cxn>
                  <a:cxn ang="0">
                    <a:pos x="121" y="49"/>
                  </a:cxn>
                  <a:cxn ang="0">
                    <a:pos x="129" y="43"/>
                  </a:cxn>
                  <a:cxn ang="0">
                    <a:pos x="136" y="38"/>
                  </a:cxn>
                  <a:cxn ang="0">
                    <a:pos x="142" y="32"/>
                  </a:cxn>
                  <a:cxn ang="0">
                    <a:pos x="147" y="25"/>
                  </a:cxn>
                  <a:cxn ang="0">
                    <a:pos x="150" y="19"/>
                  </a:cxn>
                  <a:cxn ang="0">
                    <a:pos x="153" y="12"/>
                  </a:cxn>
                  <a:cxn ang="0">
                    <a:pos x="134" y="8"/>
                  </a:cxn>
                  <a:cxn ang="0">
                    <a:pos x="115" y="3"/>
                  </a:cxn>
                  <a:cxn ang="0">
                    <a:pos x="96" y="1"/>
                  </a:cxn>
                  <a:cxn ang="0">
                    <a:pos x="77" y="0"/>
                  </a:cxn>
                  <a:cxn ang="0">
                    <a:pos x="68" y="1"/>
                  </a:cxn>
                  <a:cxn ang="0">
                    <a:pos x="60" y="1"/>
                  </a:cxn>
                  <a:cxn ang="0">
                    <a:pos x="52" y="2"/>
                  </a:cxn>
                  <a:cxn ang="0">
                    <a:pos x="45" y="4"/>
                  </a:cxn>
                  <a:cxn ang="0">
                    <a:pos x="38" y="7"/>
                  </a:cxn>
                  <a:cxn ang="0">
                    <a:pos x="34" y="10"/>
                  </a:cxn>
                  <a:cxn ang="0">
                    <a:pos x="30" y="14"/>
                  </a:cxn>
                  <a:cxn ang="0">
                    <a:pos x="26" y="18"/>
                  </a:cxn>
                  <a:cxn ang="0">
                    <a:pos x="32" y="23"/>
                  </a:cxn>
                  <a:cxn ang="0">
                    <a:pos x="36" y="29"/>
                  </a:cxn>
                  <a:cxn ang="0">
                    <a:pos x="38" y="32"/>
                  </a:cxn>
                  <a:cxn ang="0">
                    <a:pos x="42" y="34"/>
                  </a:cxn>
                  <a:cxn ang="0">
                    <a:pos x="44" y="36"/>
                  </a:cxn>
                  <a:cxn ang="0">
                    <a:pos x="46" y="36"/>
                  </a:cxn>
                  <a:cxn ang="0">
                    <a:pos x="40" y="41"/>
                  </a:cxn>
                  <a:cxn ang="0">
                    <a:pos x="33" y="46"/>
                  </a:cxn>
                  <a:cxn ang="0">
                    <a:pos x="29" y="52"/>
                  </a:cxn>
                  <a:cxn ang="0">
                    <a:pos x="23" y="57"/>
                  </a:cxn>
                  <a:cxn ang="0">
                    <a:pos x="18" y="64"/>
                  </a:cxn>
                  <a:cxn ang="0">
                    <a:pos x="13" y="69"/>
                  </a:cxn>
                  <a:cxn ang="0">
                    <a:pos x="7" y="75"/>
                  </a:cxn>
                  <a:cxn ang="0">
                    <a:pos x="0" y="79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1" name="Freeform 406"/>
              <p:cNvSpPr>
                <a:spLocks/>
              </p:cNvSpPr>
              <p:nvPr/>
            </p:nvSpPr>
            <p:spPr bwMode="auto">
              <a:xfrm>
                <a:off x="2380851" y="1368035"/>
                <a:ext cx="39018" cy="27178"/>
              </a:xfrm>
              <a:custGeom>
                <a:avLst/>
                <a:gdLst/>
                <a:ahLst/>
                <a:cxnLst>
                  <a:cxn ang="0">
                    <a:pos x="0" y="37"/>
                  </a:cxn>
                  <a:cxn ang="0">
                    <a:pos x="5" y="41"/>
                  </a:cxn>
                  <a:cxn ang="0">
                    <a:pos x="11" y="44"/>
                  </a:cxn>
                  <a:cxn ang="0">
                    <a:pos x="16" y="47"/>
                  </a:cxn>
                  <a:cxn ang="0">
                    <a:pos x="23" y="48"/>
                  </a:cxn>
                  <a:cxn ang="0">
                    <a:pos x="35" y="49"/>
                  </a:cxn>
                  <a:cxn ang="0">
                    <a:pos x="46" y="50"/>
                  </a:cxn>
                  <a:cxn ang="0">
                    <a:pos x="58" y="49"/>
                  </a:cxn>
                  <a:cxn ang="0">
                    <a:pos x="67" y="48"/>
                  </a:cxn>
                  <a:cxn ang="0">
                    <a:pos x="73" y="47"/>
                  </a:cxn>
                  <a:cxn ang="0">
                    <a:pos x="79" y="44"/>
                  </a:cxn>
                  <a:cxn ang="0">
                    <a:pos x="82" y="41"/>
                  </a:cxn>
                  <a:cxn ang="0">
                    <a:pos x="84" y="37"/>
                  </a:cxn>
                  <a:cxn ang="0">
                    <a:pos x="85" y="32"/>
                  </a:cxn>
                  <a:cxn ang="0">
                    <a:pos x="86" y="25"/>
                  </a:cxn>
                  <a:cxn ang="0">
                    <a:pos x="85" y="17"/>
                  </a:cxn>
                  <a:cxn ang="0">
                    <a:pos x="84" y="10"/>
                  </a:cxn>
                  <a:cxn ang="0">
                    <a:pos x="83" y="7"/>
                  </a:cxn>
                  <a:cxn ang="0">
                    <a:pos x="81" y="5"/>
                  </a:cxn>
                  <a:cxn ang="0">
                    <a:pos x="77" y="2"/>
                  </a:cxn>
                  <a:cxn ang="0">
                    <a:pos x="73" y="0"/>
                  </a:cxn>
                  <a:cxn ang="0">
                    <a:pos x="0" y="37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2" name="Freeform 407"/>
              <p:cNvSpPr>
                <a:spLocks/>
              </p:cNvSpPr>
              <p:nvPr/>
            </p:nvSpPr>
            <p:spPr bwMode="auto">
              <a:xfrm>
                <a:off x="2333760" y="1281706"/>
                <a:ext cx="73999" cy="39967"/>
              </a:xfrm>
              <a:custGeom>
                <a:avLst/>
                <a:gdLst/>
                <a:ahLst/>
                <a:cxnLst>
                  <a:cxn ang="0">
                    <a:pos x="119" y="61"/>
                  </a:cxn>
                  <a:cxn ang="0">
                    <a:pos x="109" y="61"/>
                  </a:cxn>
                  <a:cxn ang="0">
                    <a:pos x="99" y="61"/>
                  </a:cxn>
                  <a:cxn ang="0">
                    <a:pos x="90" y="61"/>
                  </a:cxn>
                  <a:cxn ang="0">
                    <a:pos x="80" y="61"/>
                  </a:cxn>
                  <a:cxn ang="0">
                    <a:pos x="60" y="74"/>
                  </a:cxn>
                  <a:cxn ang="0">
                    <a:pos x="33" y="74"/>
                  </a:cxn>
                  <a:cxn ang="0">
                    <a:pos x="36" y="61"/>
                  </a:cxn>
                  <a:cxn ang="0">
                    <a:pos x="39" y="49"/>
                  </a:cxn>
                  <a:cxn ang="0">
                    <a:pos x="30" y="49"/>
                  </a:cxn>
                  <a:cxn ang="0">
                    <a:pos x="23" y="48"/>
                  </a:cxn>
                  <a:cxn ang="0">
                    <a:pos x="15" y="47"/>
                  </a:cxn>
                  <a:cxn ang="0">
                    <a:pos x="9" y="45"/>
                  </a:cxn>
                  <a:cxn ang="0">
                    <a:pos x="5" y="42"/>
                  </a:cxn>
                  <a:cxn ang="0">
                    <a:pos x="2" y="39"/>
                  </a:cxn>
                  <a:cxn ang="0">
                    <a:pos x="1" y="35"/>
                  </a:cxn>
                  <a:cxn ang="0">
                    <a:pos x="0" y="31"/>
                  </a:cxn>
                  <a:cxn ang="0">
                    <a:pos x="1" y="26"/>
                  </a:cxn>
                  <a:cxn ang="0">
                    <a:pos x="2" y="21"/>
                  </a:cxn>
                  <a:cxn ang="0">
                    <a:pos x="5" y="17"/>
                  </a:cxn>
                  <a:cxn ang="0">
                    <a:pos x="8" y="14"/>
                  </a:cxn>
                  <a:cxn ang="0">
                    <a:pos x="13" y="10"/>
                  </a:cxn>
                  <a:cxn ang="0">
                    <a:pos x="18" y="7"/>
                  </a:cxn>
                  <a:cxn ang="0">
                    <a:pos x="24" y="5"/>
                  </a:cxn>
                  <a:cxn ang="0">
                    <a:pos x="29" y="4"/>
                  </a:cxn>
                  <a:cxn ang="0">
                    <a:pos x="42" y="1"/>
                  </a:cxn>
                  <a:cxn ang="0">
                    <a:pos x="56" y="0"/>
                  </a:cxn>
                  <a:cxn ang="0">
                    <a:pos x="69" y="0"/>
                  </a:cxn>
                  <a:cxn ang="0">
                    <a:pos x="80" y="0"/>
                  </a:cxn>
                  <a:cxn ang="0">
                    <a:pos x="94" y="1"/>
                  </a:cxn>
                  <a:cxn ang="0">
                    <a:pos x="106" y="4"/>
                  </a:cxn>
                  <a:cxn ang="0">
                    <a:pos x="117" y="7"/>
                  </a:cxn>
                  <a:cxn ang="0">
                    <a:pos x="128" y="13"/>
                  </a:cxn>
                  <a:cxn ang="0">
                    <a:pos x="139" y="17"/>
                  </a:cxn>
                  <a:cxn ang="0">
                    <a:pos x="150" y="21"/>
                  </a:cxn>
                  <a:cxn ang="0">
                    <a:pos x="161" y="24"/>
                  </a:cxn>
                  <a:cxn ang="0">
                    <a:pos x="172" y="25"/>
                  </a:cxn>
                  <a:cxn ang="0">
                    <a:pos x="172" y="43"/>
                  </a:cxn>
                  <a:cxn ang="0">
                    <a:pos x="169" y="48"/>
                  </a:cxn>
                  <a:cxn ang="0">
                    <a:pos x="165" y="53"/>
                  </a:cxn>
                  <a:cxn ang="0">
                    <a:pos x="161" y="57"/>
                  </a:cxn>
                  <a:cxn ang="0">
                    <a:pos x="158" y="60"/>
                  </a:cxn>
                  <a:cxn ang="0">
                    <a:pos x="153" y="62"/>
                  </a:cxn>
                  <a:cxn ang="0">
                    <a:pos x="149" y="63"/>
                  </a:cxn>
                  <a:cxn ang="0">
                    <a:pos x="146" y="65"/>
                  </a:cxn>
                  <a:cxn ang="0">
                    <a:pos x="141" y="65"/>
                  </a:cxn>
                  <a:cxn ang="0">
                    <a:pos x="131" y="65"/>
                  </a:cxn>
                  <a:cxn ang="0">
                    <a:pos x="121" y="63"/>
                  </a:cxn>
                  <a:cxn ang="0">
                    <a:pos x="112" y="59"/>
                  </a:cxn>
                  <a:cxn ang="0">
                    <a:pos x="99" y="55"/>
                  </a:cxn>
                  <a:cxn ang="0">
                    <a:pos x="106" y="55"/>
                  </a:cxn>
                  <a:cxn ang="0">
                    <a:pos x="119" y="61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3" name="Freeform 408"/>
              <p:cNvSpPr>
                <a:spLocks/>
              </p:cNvSpPr>
              <p:nvPr/>
            </p:nvSpPr>
            <p:spPr bwMode="auto">
              <a:xfrm>
                <a:off x="2429286" y="1294495"/>
                <a:ext cx="51127" cy="27178"/>
              </a:xfrm>
              <a:custGeom>
                <a:avLst/>
                <a:gdLst/>
                <a:ahLst/>
                <a:cxnLst>
                  <a:cxn ang="0">
                    <a:pos x="27" y="49"/>
                  </a:cxn>
                  <a:cxn ang="0">
                    <a:pos x="47" y="49"/>
                  </a:cxn>
                  <a:cxn ang="0">
                    <a:pos x="64" y="48"/>
                  </a:cxn>
                  <a:cxn ang="0">
                    <a:pos x="78" y="46"/>
                  </a:cxn>
                  <a:cxn ang="0">
                    <a:pos x="90" y="43"/>
                  </a:cxn>
                  <a:cxn ang="0">
                    <a:pos x="96" y="39"/>
                  </a:cxn>
                  <a:cxn ang="0">
                    <a:pos x="100" y="37"/>
                  </a:cxn>
                  <a:cxn ang="0">
                    <a:pos x="104" y="34"/>
                  </a:cxn>
                  <a:cxn ang="0">
                    <a:pos x="108" y="31"/>
                  </a:cxn>
                  <a:cxn ang="0">
                    <a:pos x="114" y="22"/>
                  </a:cxn>
                  <a:cxn ang="0">
                    <a:pos x="120" y="12"/>
                  </a:cxn>
                  <a:cxn ang="0">
                    <a:pos x="102" y="6"/>
                  </a:cxn>
                  <a:cxn ang="0">
                    <a:pos x="84" y="3"/>
                  </a:cxn>
                  <a:cxn ang="0">
                    <a:pos x="66" y="1"/>
                  </a:cxn>
                  <a:cxn ang="0">
                    <a:pos x="50" y="0"/>
                  </a:cxn>
                  <a:cxn ang="0">
                    <a:pos x="34" y="1"/>
                  </a:cxn>
                  <a:cxn ang="0">
                    <a:pos x="20" y="2"/>
                  </a:cxn>
                  <a:cxn ang="0">
                    <a:pos x="9" y="4"/>
                  </a:cxn>
                  <a:cxn ang="0">
                    <a:pos x="0" y="6"/>
                  </a:cxn>
                  <a:cxn ang="0">
                    <a:pos x="0" y="30"/>
                  </a:cxn>
                  <a:cxn ang="0">
                    <a:pos x="2" y="35"/>
                  </a:cxn>
                  <a:cxn ang="0">
                    <a:pos x="6" y="38"/>
                  </a:cxn>
                  <a:cxn ang="0">
                    <a:pos x="9" y="41"/>
                  </a:cxn>
                  <a:cxn ang="0">
                    <a:pos x="13" y="45"/>
                  </a:cxn>
                  <a:cxn ang="0">
                    <a:pos x="20" y="48"/>
                  </a:cxn>
                  <a:cxn ang="0">
                    <a:pos x="27" y="49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4" name="Freeform 409"/>
              <p:cNvSpPr>
                <a:spLocks/>
              </p:cNvSpPr>
              <p:nvPr/>
            </p:nvSpPr>
            <p:spPr bwMode="auto">
              <a:xfrm>
                <a:off x="2417177" y="1331265"/>
                <a:ext cx="34981" cy="30375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22" y="5"/>
                  </a:cxn>
                  <a:cxn ang="0">
                    <a:pos x="11" y="12"/>
                  </a:cxn>
                  <a:cxn ang="0">
                    <a:pos x="6" y="17"/>
                  </a:cxn>
                  <a:cxn ang="0">
                    <a:pos x="3" y="21"/>
                  </a:cxn>
                  <a:cxn ang="0">
                    <a:pos x="0" y="25"/>
                  </a:cxn>
                  <a:cxn ang="0">
                    <a:pos x="0" y="31"/>
                  </a:cxn>
                  <a:cxn ang="0">
                    <a:pos x="0" y="34"/>
                  </a:cxn>
                  <a:cxn ang="0">
                    <a:pos x="1" y="37"/>
                  </a:cxn>
                  <a:cxn ang="0">
                    <a:pos x="2" y="40"/>
                  </a:cxn>
                  <a:cxn ang="0">
                    <a:pos x="5" y="43"/>
                  </a:cxn>
                  <a:cxn ang="0">
                    <a:pos x="11" y="48"/>
                  </a:cxn>
                  <a:cxn ang="0">
                    <a:pos x="18" y="53"/>
                  </a:cxn>
                  <a:cxn ang="0">
                    <a:pos x="27" y="56"/>
                  </a:cxn>
                  <a:cxn ang="0">
                    <a:pos x="36" y="59"/>
                  </a:cxn>
                  <a:cxn ang="0">
                    <a:pos x="45" y="61"/>
                  </a:cxn>
                  <a:cxn ang="0">
                    <a:pos x="53" y="61"/>
                  </a:cxn>
                  <a:cxn ang="0">
                    <a:pos x="56" y="61"/>
                  </a:cxn>
                  <a:cxn ang="0">
                    <a:pos x="59" y="60"/>
                  </a:cxn>
                  <a:cxn ang="0">
                    <a:pos x="62" y="59"/>
                  </a:cxn>
                  <a:cxn ang="0">
                    <a:pos x="66" y="57"/>
                  </a:cxn>
                  <a:cxn ang="0">
                    <a:pos x="72" y="52"/>
                  </a:cxn>
                  <a:cxn ang="0">
                    <a:pos x="77" y="47"/>
                  </a:cxn>
                  <a:cxn ang="0">
                    <a:pos x="80" y="40"/>
                  </a:cxn>
                  <a:cxn ang="0">
                    <a:pos x="83" y="33"/>
                  </a:cxn>
                  <a:cxn ang="0">
                    <a:pos x="85" y="25"/>
                  </a:cxn>
                  <a:cxn ang="0">
                    <a:pos x="85" y="18"/>
                  </a:cxn>
                  <a:cxn ang="0">
                    <a:pos x="33" y="0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5" name="Freeform 410"/>
              <p:cNvSpPr>
                <a:spLocks/>
              </p:cNvSpPr>
              <p:nvPr/>
            </p:nvSpPr>
            <p:spPr bwMode="auto">
              <a:xfrm>
                <a:off x="2165581" y="1321673"/>
                <a:ext cx="41708" cy="9592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7" y="11"/>
                  </a:cxn>
                  <a:cxn ang="0">
                    <a:pos x="13" y="15"/>
                  </a:cxn>
                  <a:cxn ang="0">
                    <a:pos x="21" y="18"/>
                  </a:cxn>
                  <a:cxn ang="0">
                    <a:pos x="27" y="19"/>
                  </a:cxn>
                  <a:cxn ang="0">
                    <a:pos x="100" y="6"/>
                  </a:cxn>
                  <a:cxn ang="0">
                    <a:pos x="73" y="2"/>
                  </a:cxn>
                  <a:cxn ang="0">
                    <a:pos x="47" y="0"/>
                  </a:cxn>
                  <a:cxn ang="0">
                    <a:pos x="36" y="0"/>
                  </a:cxn>
                  <a:cxn ang="0">
                    <a:pos x="24" y="1"/>
                  </a:cxn>
                  <a:cxn ang="0">
                    <a:pos x="12" y="3"/>
                  </a:cxn>
                  <a:cxn ang="0">
                    <a:pos x="0" y="6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6" name="Freeform 411"/>
              <p:cNvSpPr>
                <a:spLocks/>
              </p:cNvSpPr>
              <p:nvPr/>
            </p:nvSpPr>
            <p:spPr bwMode="auto">
              <a:xfrm>
                <a:off x="2189799" y="1289699"/>
                <a:ext cx="71308" cy="23980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0" y="29"/>
                  </a:cxn>
                  <a:cxn ang="0">
                    <a:pos x="3" y="31"/>
                  </a:cxn>
                  <a:cxn ang="0">
                    <a:pos x="8" y="33"/>
                  </a:cxn>
                  <a:cxn ang="0">
                    <a:pos x="13" y="35"/>
                  </a:cxn>
                  <a:cxn ang="0">
                    <a:pos x="27" y="38"/>
                  </a:cxn>
                  <a:cxn ang="0">
                    <a:pos x="44" y="41"/>
                  </a:cxn>
                  <a:cxn ang="0">
                    <a:pos x="75" y="44"/>
                  </a:cxn>
                  <a:cxn ang="0">
                    <a:pos x="92" y="45"/>
                  </a:cxn>
                  <a:cxn ang="0">
                    <a:pos x="166" y="27"/>
                  </a:cxn>
                  <a:cxn ang="0">
                    <a:pos x="157" y="25"/>
                  </a:cxn>
                  <a:cxn ang="0">
                    <a:pos x="137" y="19"/>
                  </a:cxn>
                  <a:cxn ang="0">
                    <a:pos x="110" y="11"/>
                  </a:cxn>
                  <a:cxn ang="0">
                    <a:pos x="80" y="4"/>
                  </a:cxn>
                  <a:cxn ang="0">
                    <a:pos x="65" y="2"/>
                  </a:cxn>
                  <a:cxn ang="0">
                    <a:pos x="50" y="1"/>
                  </a:cxn>
                  <a:cxn ang="0">
                    <a:pos x="36" y="0"/>
                  </a:cxn>
                  <a:cxn ang="0">
                    <a:pos x="24" y="2"/>
                  </a:cxn>
                  <a:cxn ang="0">
                    <a:pos x="19" y="3"/>
                  </a:cxn>
                  <a:cxn ang="0">
                    <a:pos x="14" y="5"/>
                  </a:cxn>
                  <a:cxn ang="0">
                    <a:pos x="10" y="7"/>
                  </a:cxn>
                  <a:cxn ang="0">
                    <a:pos x="7" y="10"/>
                  </a:cxn>
                  <a:cxn ang="0">
                    <a:pos x="3" y="13"/>
                  </a:cxn>
                  <a:cxn ang="0">
                    <a:pos x="1" y="17"/>
                  </a:cxn>
                  <a:cxn ang="0">
                    <a:pos x="0" y="22"/>
                  </a:cxn>
                  <a:cxn ang="0">
                    <a:pos x="0" y="27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7" name="Freeform 412"/>
              <p:cNvSpPr>
                <a:spLocks/>
              </p:cNvSpPr>
              <p:nvPr/>
            </p:nvSpPr>
            <p:spPr bwMode="auto">
              <a:xfrm>
                <a:off x="2480413" y="1695768"/>
                <a:ext cx="14800" cy="127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9"/>
                  </a:cxn>
                  <a:cxn ang="0">
                    <a:pos x="3" y="15"/>
                  </a:cxn>
                  <a:cxn ang="0">
                    <a:pos x="6" y="20"/>
                  </a:cxn>
                  <a:cxn ang="0">
                    <a:pos x="11" y="22"/>
                  </a:cxn>
                  <a:cxn ang="0">
                    <a:pos x="16" y="24"/>
                  </a:cxn>
                  <a:cxn ang="0">
                    <a:pos x="22" y="25"/>
                  </a:cxn>
                  <a:cxn ang="0">
                    <a:pos x="27" y="25"/>
                  </a:cxn>
                  <a:cxn ang="0">
                    <a:pos x="33" y="25"/>
                  </a:cxn>
                  <a:cxn ang="0">
                    <a:pos x="33" y="0"/>
                  </a:cxn>
                  <a:cxn ang="0">
                    <a:pos x="24" y="0"/>
                  </a:cxn>
                  <a:cxn ang="0">
                    <a:pos x="16" y="0"/>
                  </a:cxn>
                  <a:cxn ang="0">
                    <a:pos x="9" y="0"/>
                  </a:cxn>
                  <a:cxn ang="0">
                    <a:pos x="0" y="0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8" name="Freeform 413"/>
              <p:cNvSpPr>
                <a:spLocks/>
              </p:cNvSpPr>
              <p:nvPr/>
            </p:nvSpPr>
            <p:spPr bwMode="auto">
              <a:xfrm>
                <a:off x="2637829" y="2186567"/>
                <a:ext cx="21527" cy="31974"/>
              </a:xfrm>
              <a:custGeom>
                <a:avLst/>
                <a:gdLst/>
                <a:ahLst/>
                <a:cxnLst>
                  <a:cxn ang="0">
                    <a:pos x="0" y="62"/>
                  </a:cxn>
                  <a:cxn ang="0">
                    <a:pos x="12" y="56"/>
                  </a:cxn>
                  <a:cxn ang="0">
                    <a:pos x="22" y="50"/>
                  </a:cxn>
                  <a:cxn ang="0">
                    <a:pos x="30" y="43"/>
                  </a:cxn>
                  <a:cxn ang="0">
                    <a:pos x="37" y="36"/>
                  </a:cxn>
                  <a:cxn ang="0">
                    <a:pos x="41" y="28"/>
                  </a:cxn>
                  <a:cxn ang="0">
                    <a:pos x="44" y="19"/>
                  </a:cxn>
                  <a:cxn ang="0">
                    <a:pos x="47" y="9"/>
                  </a:cxn>
                  <a:cxn ang="0">
                    <a:pos x="48" y="0"/>
                  </a:cxn>
                  <a:cxn ang="0">
                    <a:pos x="40" y="3"/>
                  </a:cxn>
                  <a:cxn ang="0">
                    <a:pos x="32" y="6"/>
                  </a:cxn>
                  <a:cxn ang="0">
                    <a:pos x="23" y="10"/>
                  </a:cxn>
                  <a:cxn ang="0">
                    <a:pos x="17" y="15"/>
                  </a:cxn>
                  <a:cxn ang="0">
                    <a:pos x="10" y="21"/>
                  </a:cxn>
                  <a:cxn ang="0">
                    <a:pos x="6" y="27"/>
                  </a:cxn>
                  <a:cxn ang="0">
                    <a:pos x="4" y="31"/>
                  </a:cxn>
                  <a:cxn ang="0">
                    <a:pos x="3" y="35"/>
                  </a:cxn>
                  <a:cxn ang="0">
                    <a:pos x="1" y="39"/>
                  </a:cxn>
                  <a:cxn ang="0">
                    <a:pos x="0" y="43"/>
                  </a:cxn>
                  <a:cxn ang="0">
                    <a:pos x="0" y="52"/>
                  </a:cxn>
                  <a:cxn ang="0">
                    <a:pos x="0" y="62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9" name="Freeform 414"/>
              <p:cNvSpPr>
                <a:spLocks/>
              </p:cNvSpPr>
              <p:nvPr/>
            </p:nvSpPr>
            <p:spPr bwMode="auto">
              <a:xfrm>
                <a:off x="2569211" y="2186567"/>
                <a:ext cx="48436" cy="31974"/>
              </a:xfrm>
              <a:custGeom>
                <a:avLst/>
                <a:gdLst/>
                <a:ahLst/>
                <a:cxnLst>
                  <a:cxn ang="0">
                    <a:pos x="47" y="0"/>
                  </a:cxn>
                  <a:cxn ang="0">
                    <a:pos x="36" y="7"/>
                  </a:cxn>
                  <a:cxn ang="0">
                    <a:pos x="23" y="17"/>
                  </a:cxn>
                  <a:cxn ang="0">
                    <a:pos x="11" y="27"/>
                  </a:cxn>
                  <a:cxn ang="0">
                    <a:pos x="0" y="37"/>
                  </a:cxn>
                  <a:cxn ang="0">
                    <a:pos x="22" y="46"/>
                  </a:cxn>
                  <a:cxn ang="0">
                    <a:pos x="41" y="54"/>
                  </a:cxn>
                  <a:cxn ang="0">
                    <a:pos x="51" y="57"/>
                  </a:cxn>
                  <a:cxn ang="0">
                    <a:pos x="62" y="59"/>
                  </a:cxn>
                  <a:cxn ang="0">
                    <a:pos x="73" y="61"/>
                  </a:cxn>
                  <a:cxn ang="0">
                    <a:pos x="87" y="62"/>
                  </a:cxn>
                  <a:cxn ang="0">
                    <a:pos x="97" y="61"/>
                  </a:cxn>
                  <a:cxn ang="0">
                    <a:pos x="106" y="58"/>
                  </a:cxn>
                  <a:cxn ang="0">
                    <a:pos x="109" y="56"/>
                  </a:cxn>
                  <a:cxn ang="0">
                    <a:pos x="111" y="54"/>
                  </a:cxn>
                  <a:cxn ang="0">
                    <a:pos x="113" y="52"/>
                  </a:cxn>
                  <a:cxn ang="0">
                    <a:pos x="113" y="49"/>
                  </a:cxn>
                  <a:cxn ang="0">
                    <a:pos x="91" y="41"/>
                  </a:cxn>
                  <a:cxn ang="0">
                    <a:pos x="70" y="32"/>
                  </a:cxn>
                  <a:cxn ang="0">
                    <a:pos x="65" y="29"/>
                  </a:cxn>
                  <a:cxn ang="0">
                    <a:pos x="61" y="26"/>
                  </a:cxn>
                  <a:cxn ang="0">
                    <a:pos x="57" y="23"/>
                  </a:cxn>
                  <a:cxn ang="0">
                    <a:pos x="54" y="20"/>
                  </a:cxn>
                  <a:cxn ang="0">
                    <a:pos x="51" y="16"/>
                  </a:cxn>
                  <a:cxn ang="0">
                    <a:pos x="48" y="10"/>
                  </a:cxn>
                  <a:cxn ang="0">
                    <a:pos x="47" y="5"/>
                  </a:cxn>
                  <a:cxn ang="0">
                    <a:pos x="47" y="0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0" name="Freeform 415"/>
              <p:cNvSpPr>
                <a:spLocks/>
              </p:cNvSpPr>
              <p:nvPr/>
            </p:nvSpPr>
            <p:spPr bwMode="auto">
              <a:xfrm>
                <a:off x="2830226" y="1321673"/>
                <a:ext cx="39018" cy="2398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0"/>
                  </a:cxn>
                  <a:cxn ang="0">
                    <a:pos x="30" y="1"/>
                  </a:cxn>
                  <a:cxn ang="0">
                    <a:pos x="45" y="2"/>
                  </a:cxn>
                  <a:cxn ang="0">
                    <a:pos x="59" y="5"/>
                  </a:cxn>
                  <a:cxn ang="0">
                    <a:pos x="64" y="7"/>
                  </a:cxn>
                  <a:cxn ang="0">
                    <a:pos x="71" y="9"/>
                  </a:cxn>
                  <a:cxn ang="0">
                    <a:pos x="75" y="12"/>
                  </a:cxn>
                  <a:cxn ang="0">
                    <a:pos x="81" y="16"/>
                  </a:cxn>
                  <a:cxn ang="0">
                    <a:pos x="85" y="20"/>
                  </a:cxn>
                  <a:cxn ang="0">
                    <a:pos x="89" y="25"/>
                  </a:cxn>
                  <a:cxn ang="0">
                    <a:pos x="91" y="30"/>
                  </a:cxn>
                  <a:cxn ang="0">
                    <a:pos x="93" y="37"/>
                  </a:cxn>
                  <a:cxn ang="0">
                    <a:pos x="79" y="37"/>
                  </a:cxn>
                  <a:cxn ang="0">
                    <a:pos x="68" y="39"/>
                  </a:cxn>
                  <a:cxn ang="0">
                    <a:pos x="60" y="41"/>
                  </a:cxn>
                  <a:cxn ang="0">
                    <a:pos x="52" y="43"/>
                  </a:cxn>
                  <a:cxn ang="0">
                    <a:pos x="42" y="47"/>
                  </a:cxn>
                  <a:cxn ang="0">
                    <a:pos x="33" y="50"/>
                  </a:cxn>
                  <a:cxn ang="0">
                    <a:pos x="30" y="50"/>
                  </a:cxn>
                  <a:cxn ang="0">
                    <a:pos x="28" y="48"/>
                  </a:cxn>
                  <a:cxn ang="0">
                    <a:pos x="26" y="47"/>
                  </a:cxn>
                  <a:cxn ang="0">
                    <a:pos x="25" y="45"/>
                  </a:cxn>
                  <a:cxn ang="0">
                    <a:pos x="23" y="41"/>
                  </a:cxn>
                  <a:cxn ang="0">
                    <a:pos x="22" y="36"/>
                  </a:cxn>
                  <a:cxn ang="0">
                    <a:pos x="22" y="31"/>
                  </a:cxn>
                  <a:cxn ang="0">
                    <a:pos x="23" y="26"/>
                  </a:cxn>
                  <a:cxn ang="0">
                    <a:pos x="24" y="22"/>
                  </a:cxn>
                  <a:cxn ang="0">
                    <a:pos x="26" y="19"/>
                  </a:cxn>
                  <a:cxn ang="0">
                    <a:pos x="0" y="19"/>
                  </a:cxn>
                  <a:cxn ang="0">
                    <a:pos x="0" y="0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1" name="Freeform 416"/>
              <p:cNvSpPr>
                <a:spLocks/>
              </p:cNvSpPr>
              <p:nvPr/>
            </p:nvSpPr>
            <p:spPr bwMode="auto">
              <a:xfrm>
                <a:off x="2410450" y="1414398"/>
                <a:ext cx="445339" cy="316542"/>
              </a:xfrm>
              <a:custGeom>
                <a:avLst/>
                <a:gdLst/>
                <a:ahLst/>
                <a:cxnLst>
                  <a:cxn ang="0">
                    <a:pos x="20" y="112"/>
                  </a:cxn>
                  <a:cxn ang="0">
                    <a:pos x="67" y="60"/>
                  </a:cxn>
                  <a:cxn ang="0">
                    <a:pos x="266" y="0"/>
                  </a:cxn>
                  <a:cxn ang="0">
                    <a:pos x="205" y="47"/>
                  </a:cxn>
                  <a:cxn ang="0">
                    <a:pos x="180" y="105"/>
                  </a:cxn>
                  <a:cxn ang="0">
                    <a:pos x="274" y="60"/>
                  </a:cxn>
                  <a:cxn ang="0">
                    <a:pos x="397" y="14"/>
                  </a:cxn>
                  <a:cxn ang="0">
                    <a:pos x="438" y="23"/>
                  </a:cxn>
                  <a:cxn ang="0">
                    <a:pos x="433" y="71"/>
                  </a:cxn>
                  <a:cxn ang="0">
                    <a:pos x="581" y="80"/>
                  </a:cxn>
                  <a:cxn ang="0">
                    <a:pos x="675" y="89"/>
                  </a:cxn>
                  <a:cxn ang="0">
                    <a:pos x="749" y="111"/>
                  </a:cxn>
                  <a:cxn ang="0">
                    <a:pos x="749" y="134"/>
                  </a:cxn>
                  <a:cxn ang="0">
                    <a:pos x="711" y="184"/>
                  </a:cxn>
                  <a:cxn ang="0">
                    <a:pos x="799" y="168"/>
                  </a:cxn>
                  <a:cxn ang="0">
                    <a:pos x="866" y="191"/>
                  </a:cxn>
                  <a:cxn ang="0">
                    <a:pos x="856" y="239"/>
                  </a:cxn>
                  <a:cxn ang="0">
                    <a:pos x="788" y="248"/>
                  </a:cxn>
                  <a:cxn ang="0">
                    <a:pos x="859" y="284"/>
                  </a:cxn>
                  <a:cxn ang="0">
                    <a:pos x="903" y="327"/>
                  </a:cxn>
                  <a:cxn ang="0">
                    <a:pos x="977" y="329"/>
                  </a:cxn>
                  <a:cxn ang="0">
                    <a:pos x="1029" y="351"/>
                  </a:cxn>
                  <a:cxn ang="0">
                    <a:pos x="939" y="409"/>
                  </a:cxn>
                  <a:cxn ang="0">
                    <a:pos x="899" y="417"/>
                  </a:cxn>
                  <a:cxn ang="0">
                    <a:pos x="874" y="443"/>
                  </a:cxn>
                  <a:cxn ang="0">
                    <a:pos x="830" y="414"/>
                  </a:cxn>
                  <a:cxn ang="0">
                    <a:pos x="851" y="393"/>
                  </a:cxn>
                  <a:cxn ang="0">
                    <a:pos x="792" y="379"/>
                  </a:cxn>
                  <a:cxn ang="0">
                    <a:pos x="759" y="364"/>
                  </a:cxn>
                  <a:cxn ang="0">
                    <a:pos x="744" y="394"/>
                  </a:cxn>
                  <a:cxn ang="0">
                    <a:pos x="747" y="445"/>
                  </a:cxn>
                  <a:cxn ang="0">
                    <a:pos x="795" y="523"/>
                  </a:cxn>
                  <a:cxn ang="0">
                    <a:pos x="771" y="547"/>
                  </a:cxn>
                  <a:cxn ang="0">
                    <a:pos x="708" y="556"/>
                  </a:cxn>
                  <a:cxn ang="0">
                    <a:pos x="618" y="517"/>
                  </a:cxn>
                  <a:cxn ang="0">
                    <a:pos x="668" y="567"/>
                  </a:cxn>
                  <a:cxn ang="0">
                    <a:pos x="665" y="604"/>
                  </a:cxn>
                  <a:cxn ang="0">
                    <a:pos x="518" y="570"/>
                  </a:cxn>
                  <a:cxn ang="0">
                    <a:pos x="471" y="523"/>
                  </a:cxn>
                  <a:cxn ang="0">
                    <a:pos x="410" y="473"/>
                  </a:cxn>
                  <a:cxn ang="0">
                    <a:pos x="367" y="453"/>
                  </a:cxn>
                  <a:cxn ang="0">
                    <a:pos x="392" y="433"/>
                  </a:cxn>
                  <a:cxn ang="0">
                    <a:pos x="459" y="399"/>
                  </a:cxn>
                  <a:cxn ang="0">
                    <a:pos x="500" y="378"/>
                  </a:cxn>
                  <a:cxn ang="0">
                    <a:pos x="577" y="380"/>
                  </a:cxn>
                  <a:cxn ang="0">
                    <a:pos x="614" y="395"/>
                  </a:cxn>
                  <a:cxn ang="0">
                    <a:pos x="687" y="387"/>
                  </a:cxn>
                  <a:cxn ang="0">
                    <a:pos x="581" y="355"/>
                  </a:cxn>
                  <a:cxn ang="0">
                    <a:pos x="542" y="361"/>
                  </a:cxn>
                  <a:cxn ang="0">
                    <a:pos x="539" y="350"/>
                  </a:cxn>
                  <a:cxn ang="0">
                    <a:pos x="576" y="306"/>
                  </a:cxn>
                  <a:cxn ang="0">
                    <a:pos x="576" y="274"/>
                  </a:cxn>
                  <a:cxn ang="0">
                    <a:pos x="524" y="254"/>
                  </a:cxn>
                  <a:cxn ang="0">
                    <a:pos x="473" y="198"/>
                  </a:cxn>
                  <a:cxn ang="0">
                    <a:pos x="434" y="168"/>
                  </a:cxn>
                  <a:cxn ang="0">
                    <a:pos x="408" y="163"/>
                  </a:cxn>
                  <a:cxn ang="0">
                    <a:pos x="378" y="203"/>
                  </a:cxn>
                  <a:cxn ang="0">
                    <a:pos x="207" y="174"/>
                  </a:cxn>
                  <a:cxn ang="0">
                    <a:pos x="114" y="189"/>
                  </a:cxn>
                  <a:cxn ang="0">
                    <a:pos x="79" y="187"/>
                  </a:cxn>
                  <a:cxn ang="0">
                    <a:pos x="16" y="180"/>
                  </a:cxn>
                  <a:cxn ang="0">
                    <a:pos x="9" y="158"/>
                  </a:cxn>
                  <a:cxn ang="0">
                    <a:pos x="75" y="149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2" name="Freeform 417"/>
              <p:cNvSpPr>
                <a:spLocks/>
              </p:cNvSpPr>
              <p:nvPr/>
            </p:nvSpPr>
            <p:spPr bwMode="auto">
              <a:xfrm>
                <a:off x="2534230" y="1196975"/>
                <a:ext cx="550283" cy="167863"/>
              </a:xfrm>
              <a:custGeom>
                <a:avLst/>
                <a:gdLst/>
                <a:ahLst/>
                <a:cxnLst>
                  <a:cxn ang="0">
                    <a:pos x="797" y="38"/>
                  </a:cxn>
                  <a:cxn ang="0">
                    <a:pos x="813" y="16"/>
                  </a:cxn>
                  <a:cxn ang="0">
                    <a:pos x="846" y="10"/>
                  </a:cxn>
                  <a:cxn ang="0">
                    <a:pos x="865" y="25"/>
                  </a:cxn>
                  <a:cxn ang="0">
                    <a:pos x="938" y="14"/>
                  </a:cxn>
                  <a:cxn ang="0">
                    <a:pos x="1020" y="1"/>
                  </a:cxn>
                  <a:cxn ang="0">
                    <a:pos x="1084" y="17"/>
                  </a:cxn>
                  <a:cxn ang="0">
                    <a:pos x="1133" y="20"/>
                  </a:cxn>
                  <a:cxn ang="0">
                    <a:pos x="1268" y="32"/>
                  </a:cxn>
                  <a:cxn ang="0">
                    <a:pos x="1242" y="50"/>
                  </a:cxn>
                  <a:cxn ang="0">
                    <a:pos x="1163" y="64"/>
                  </a:cxn>
                  <a:cxn ang="0">
                    <a:pos x="1053" y="77"/>
                  </a:cxn>
                  <a:cxn ang="0">
                    <a:pos x="1029" y="96"/>
                  </a:cxn>
                  <a:cxn ang="0">
                    <a:pos x="999" y="104"/>
                  </a:cxn>
                  <a:cxn ang="0">
                    <a:pos x="942" y="102"/>
                  </a:cxn>
                  <a:cxn ang="0">
                    <a:pos x="930" y="118"/>
                  </a:cxn>
                  <a:cxn ang="0">
                    <a:pos x="747" y="133"/>
                  </a:cxn>
                  <a:cxn ang="0">
                    <a:pos x="666" y="156"/>
                  </a:cxn>
                  <a:cxn ang="0">
                    <a:pos x="635" y="181"/>
                  </a:cxn>
                  <a:cxn ang="0">
                    <a:pos x="591" y="167"/>
                  </a:cxn>
                  <a:cxn ang="0">
                    <a:pos x="570" y="181"/>
                  </a:cxn>
                  <a:cxn ang="0">
                    <a:pos x="590" y="207"/>
                  </a:cxn>
                  <a:cxn ang="0">
                    <a:pos x="545" y="237"/>
                  </a:cxn>
                  <a:cxn ang="0">
                    <a:pos x="483" y="236"/>
                  </a:cxn>
                  <a:cxn ang="0">
                    <a:pos x="404" y="242"/>
                  </a:cxn>
                  <a:cxn ang="0">
                    <a:pos x="405" y="257"/>
                  </a:cxn>
                  <a:cxn ang="0">
                    <a:pos x="392" y="293"/>
                  </a:cxn>
                  <a:cxn ang="0">
                    <a:pos x="333" y="320"/>
                  </a:cxn>
                  <a:cxn ang="0">
                    <a:pos x="290" y="296"/>
                  </a:cxn>
                  <a:cxn ang="0">
                    <a:pos x="253" y="285"/>
                  </a:cxn>
                  <a:cxn ang="0">
                    <a:pos x="96" y="276"/>
                  </a:cxn>
                  <a:cxn ang="0">
                    <a:pos x="0" y="285"/>
                  </a:cxn>
                  <a:cxn ang="0">
                    <a:pos x="10" y="266"/>
                  </a:cxn>
                  <a:cxn ang="0">
                    <a:pos x="56" y="246"/>
                  </a:cxn>
                  <a:cxn ang="0">
                    <a:pos x="143" y="235"/>
                  </a:cxn>
                  <a:cxn ang="0">
                    <a:pos x="170" y="225"/>
                  </a:cxn>
                  <a:cxn ang="0">
                    <a:pos x="190" y="217"/>
                  </a:cxn>
                  <a:cxn ang="0">
                    <a:pos x="219" y="232"/>
                  </a:cxn>
                  <a:cxn ang="0">
                    <a:pos x="247" y="247"/>
                  </a:cxn>
                  <a:cxn ang="0">
                    <a:pos x="208" y="207"/>
                  </a:cxn>
                  <a:cxn ang="0">
                    <a:pos x="193" y="200"/>
                  </a:cxn>
                  <a:cxn ang="0">
                    <a:pos x="197" y="181"/>
                  </a:cxn>
                  <a:cxn ang="0">
                    <a:pos x="246" y="174"/>
                  </a:cxn>
                  <a:cxn ang="0">
                    <a:pos x="365" y="186"/>
                  </a:cxn>
                  <a:cxn ang="0">
                    <a:pos x="418" y="174"/>
                  </a:cxn>
                  <a:cxn ang="0">
                    <a:pos x="322" y="169"/>
                  </a:cxn>
                  <a:cxn ang="0">
                    <a:pos x="299" y="149"/>
                  </a:cxn>
                  <a:cxn ang="0">
                    <a:pos x="378" y="137"/>
                  </a:cxn>
                  <a:cxn ang="0">
                    <a:pos x="438" y="155"/>
                  </a:cxn>
                  <a:cxn ang="0">
                    <a:pos x="478" y="124"/>
                  </a:cxn>
                  <a:cxn ang="0">
                    <a:pos x="664" y="87"/>
                  </a:cxn>
                  <a:cxn ang="0">
                    <a:pos x="589" y="110"/>
                  </a:cxn>
                  <a:cxn ang="0">
                    <a:pos x="449" y="111"/>
                  </a:cxn>
                  <a:cxn ang="0">
                    <a:pos x="312" y="116"/>
                  </a:cxn>
                  <a:cxn ang="0">
                    <a:pos x="253" y="101"/>
                  </a:cxn>
                  <a:cxn ang="0">
                    <a:pos x="219" y="80"/>
                  </a:cxn>
                  <a:cxn ang="0">
                    <a:pos x="253" y="71"/>
                  </a:cxn>
                  <a:cxn ang="0">
                    <a:pos x="446" y="47"/>
                  </a:cxn>
                  <a:cxn ang="0">
                    <a:pos x="618" y="32"/>
                  </a:cxn>
                  <a:cxn ang="0">
                    <a:pos x="674" y="20"/>
                  </a:cxn>
                  <a:cxn ang="0">
                    <a:pos x="757" y="26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3" name="Freeform 418"/>
              <p:cNvSpPr>
                <a:spLocks/>
              </p:cNvSpPr>
              <p:nvPr/>
            </p:nvSpPr>
            <p:spPr bwMode="auto">
              <a:xfrm>
                <a:off x="1222431" y="2076257"/>
                <a:ext cx="68617" cy="607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10"/>
                  </a:cxn>
                  <a:cxn ang="0">
                    <a:pos x="4" y="19"/>
                  </a:cxn>
                  <a:cxn ang="0">
                    <a:pos x="9" y="29"/>
                  </a:cxn>
                  <a:cxn ang="0">
                    <a:pos x="15" y="39"/>
                  </a:cxn>
                  <a:cxn ang="0">
                    <a:pos x="22" y="48"/>
                  </a:cxn>
                  <a:cxn ang="0">
                    <a:pos x="31" y="59"/>
                  </a:cxn>
                  <a:cxn ang="0">
                    <a:pos x="41" y="68"/>
                  </a:cxn>
                  <a:cxn ang="0">
                    <a:pos x="51" y="77"/>
                  </a:cxn>
                  <a:cxn ang="0">
                    <a:pos x="62" y="85"/>
                  </a:cxn>
                  <a:cxn ang="0">
                    <a:pos x="73" y="93"/>
                  </a:cxn>
                  <a:cxn ang="0">
                    <a:pos x="84" y="99"/>
                  </a:cxn>
                  <a:cxn ang="0">
                    <a:pos x="95" y="105"/>
                  </a:cxn>
                  <a:cxn ang="0">
                    <a:pos x="106" y="111"/>
                  </a:cxn>
                  <a:cxn ang="0">
                    <a:pos x="116" y="114"/>
                  </a:cxn>
                  <a:cxn ang="0">
                    <a:pos x="124" y="117"/>
                  </a:cxn>
                  <a:cxn ang="0">
                    <a:pos x="133" y="117"/>
                  </a:cxn>
                  <a:cxn ang="0">
                    <a:pos x="139" y="116"/>
                  </a:cxn>
                  <a:cxn ang="0">
                    <a:pos x="146" y="113"/>
                  </a:cxn>
                  <a:cxn ang="0">
                    <a:pos x="153" y="110"/>
                  </a:cxn>
                  <a:cxn ang="0">
                    <a:pos x="160" y="104"/>
                  </a:cxn>
                  <a:cxn ang="0">
                    <a:pos x="150" y="91"/>
                  </a:cxn>
                  <a:cxn ang="0">
                    <a:pos x="141" y="79"/>
                  </a:cxn>
                  <a:cxn ang="0">
                    <a:pos x="138" y="73"/>
                  </a:cxn>
                  <a:cxn ang="0">
                    <a:pos x="135" y="66"/>
                  </a:cxn>
                  <a:cxn ang="0">
                    <a:pos x="133" y="58"/>
                  </a:cxn>
                  <a:cxn ang="0">
                    <a:pos x="133" y="49"/>
                  </a:cxn>
                  <a:cxn ang="0">
                    <a:pos x="127" y="48"/>
                  </a:cxn>
                  <a:cxn ang="0">
                    <a:pos x="118" y="45"/>
                  </a:cxn>
                  <a:cxn ang="0">
                    <a:pos x="108" y="40"/>
                  </a:cxn>
                  <a:cxn ang="0">
                    <a:pos x="97" y="34"/>
                  </a:cxn>
                  <a:cxn ang="0">
                    <a:pos x="87" y="28"/>
                  </a:cxn>
                  <a:cxn ang="0">
                    <a:pos x="77" y="21"/>
                  </a:cxn>
                  <a:cxn ang="0">
                    <a:pos x="74" y="17"/>
                  </a:cxn>
                  <a:cxn ang="0">
                    <a:pos x="71" y="13"/>
                  </a:cxn>
                  <a:cxn ang="0">
                    <a:pos x="68" y="10"/>
                  </a:cxn>
                  <a:cxn ang="0">
                    <a:pos x="66" y="6"/>
                  </a:cxn>
                  <a:cxn ang="0">
                    <a:pos x="60" y="6"/>
                  </a:cxn>
                  <a:cxn ang="0">
                    <a:pos x="52" y="6"/>
                  </a:cxn>
                  <a:cxn ang="0">
                    <a:pos x="43" y="4"/>
                  </a:cxn>
                  <a:cxn ang="0">
                    <a:pos x="33" y="0"/>
                  </a:cxn>
                  <a:cxn ang="0">
                    <a:pos x="0" y="0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4" name="Freeform 419"/>
              <p:cNvSpPr>
                <a:spLocks/>
              </p:cNvSpPr>
              <p:nvPr/>
            </p:nvSpPr>
            <p:spPr bwMode="auto">
              <a:xfrm>
                <a:off x="1187450" y="1967546"/>
                <a:ext cx="34981" cy="73540"/>
              </a:xfrm>
              <a:custGeom>
                <a:avLst/>
                <a:gdLst/>
                <a:ahLst/>
                <a:cxnLst>
                  <a:cxn ang="0">
                    <a:pos x="40" y="123"/>
                  </a:cxn>
                  <a:cxn ang="0">
                    <a:pos x="80" y="36"/>
                  </a:cxn>
                  <a:cxn ang="0">
                    <a:pos x="80" y="18"/>
                  </a:cxn>
                  <a:cxn ang="0">
                    <a:pos x="68" y="17"/>
                  </a:cxn>
                  <a:cxn ang="0">
                    <a:pos x="59" y="16"/>
                  </a:cxn>
                  <a:cxn ang="0">
                    <a:pos x="53" y="14"/>
                  </a:cxn>
                  <a:cxn ang="0">
                    <a:pos x="47" y="11"/>
                  </a:cxn>
                  <a:cxn ang="0">
                    <a:pos x="44" y="8"/>
                  </a:cxn>
                  <a:cxn ang="0">
                    <a:pos x="42" y="5"/>
                  </a:cxn>
                  <a:cxn ang="0">
                    <a:pos x="41" y="2"/>
                  </a:cxn>
                  <a:cxn ang="0">
                    <a:pos x="40" y="0"/>
                  </a:cxn>
                  <a:cxn ang="0">
                    <a:pos x="0" y="0"/>
                  </a:cxn>
                  <a:cxn ang="0">
                    <a:pos x="0" y="23"/>
                  </a:cxn>
                  <a:cxn ang="0">
                    <a:pos x="0" y="40"/>
                  </a:cxn>
                  <a:cxn ang="0">
                    <a:pos x="0" y="52"/>
                  </a:cxn>
                  <a:cxn ang="0">
                    <a:pos x="0" y="61"/>
                  </a:cxn>
                  <a:cxn ang="0">
                    <a:pos x="1" y="69"/>
                  </a:cxn>
                  <a:cxn ang="0">
                    <a:pos x="3" y="78"/>
                  </a:cxn>
                  <a:cxn ang="0">
                    <a:pos x="7" y="88"/>
                  </a:cxn>
                  <a:cxn ang="0">
                    <a:pos x="11" y="99"/>
                  </a:cxn>
                  <a:cxn ang="0">
                    <a:pos x="20" y="121"/>
                  </a:cxn>
                  <a:cxn ang="0">
                    <a:pos x="27" y="141"/>
                  </a:cxn>
                  <a:cxn ang="0">
                    <a:pos x="31" y="135"/>
                  </a:cxn>
                  <a:cxn ang="0">
                    <a:pos x="33" y="129"/>
                  </a:cxn>
                  <a:cxn ang="0">
                    <a:pos x="34" y="127"/>
                  </a:cxn>
                  <a:cxn ang="0">
                    <a:pos x="36" y="125"/>
                  </a:cxn>
                  <a:cxn ang="0">
                    <a:pos x="38" y="123"/>
                  </a:cxn>
                  <a:cxn ang="0">
                    <a:pos x="40" y="123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5" name="Freeform 420"/>
              <p:cNvSpPr>
                <a:spLocks/>
              </p:cNvSpPr>
              <p:nvPr/>
            </p:nvSpPr>
            <p:spPr bwMode="auto">
              <a:xfrm>
                <a:off x="2333760" y="1633419"/>
                <a:ext cx="111671" cy="65547"/>
              </a:xfrm>
              <a:custGeom>
                <a:avLst/>
                <a:gdLst/>
                <a:ahLst/>
                <a:cxnLst>
                  <a:cxn ang="0">
                    <a:pos x="0" y="93"/>
                  </a:cxn>
                  <a:cxn ang="0">
                    <a:pos x="0" y="96"/>
                  </a:cxn>
                  <a:cxn ang="0">
                    <a:pos x="2" y="100"/>
                  </a:cxn>
                  <a:cxn ang="0">
                    <a:pos x="4" y="103"/>
                  </a:cxn>
                  <a:cxn ang="0">
                    <a:pos x="6" y="106"/>
                  </a:cxn>
                  <a:cxn ang="0">
                    <a:pos x="14" y="111"/>
                  </a:cxn>
                  <a:cxn ang="0">
                    <a:pos x="23" y="115"/>
                  </a:cxn>
                  <a:cxn ang="0">
                    <a:pos x="31" y="120"/>
                  </a:cxn>
                  <a:cxn ang="0">
                    <a:pos x="41" y="122"/>
                  </a:cxn>
                  <a:cxn ang="0">
                    <a:pos x="51" y="124"/>
                  </a:cxn>
                  <a:cxn ang="0">
                    <a:pos x="60" y="124"/>
                  </a:cxn>
                  <a:cxn ang="0">
                    <a:pos x="68" y="124"/>
                  </a:cxn>
                  <a:cxn ang="0">
                    <a:pos x="75" y="123"/>
                  </a:cxn>
                  <a:cxn ang="0">
                    <a:pos x="81" y="122"/>
                  </a:cxn>
                  <a:cxn ang="0">
                    <a:pos x="87" y="120"/>
                  </a:cxn>
                  <a:cxn ang="0">
                    <a:pos x="97" y="114"/>
                  </a:cxn>
                  <a:cxn ang="0">
                    <a:pos x="106" y="108"/>
                  </a:cxn>
                  <a:cxn ang="0">
                    <a:pos x="115" y="103"/>
                  </a:cxn>
                  <a:cxn ang="0">
                    <a:pos x="125" y="98"/>
                  </a:cxn>
                  <a:cxn ang="0">
                    <a:pos x="130" y="96"/>
                  </a:cxn>
                  <a:cxn ang="0">
                    <a:pos x="137" y="94"/>
                  </a:cxn>
                  <a:cxn ang="0">
                    <a:pos x="145" y="93"/>
                  </a:cxn>
                  <a:cxn ang="0">
                    <a:pos x="152" y="93"/>
                  </a:cxn>
                  <a:cxn ang="0">
                    <a:pos x="162" y="94"/>
                  </a:cxn>
                  <a:cxn ang="0">
                    <a:pos x="171" y="96"/>
                  </a:cxn>
                  <a:cxn ang="0">
                    <a:pos x="180" y="99"/>
                  </a:cxn>
                  <a:cxn ang="0">
                    <a:pos x="188" y="103"/>
                  </a:cxn>
                  <a:cxn ang="0">
                    <a:pos x="204" y="111"/>
                  </a:cxn>
                  <a:cxn ang="0">
                    <a:pos x="219" y="117"/>
                  </a:cxn>
                  <a:cxn ang="0">
                    <a:pos x="259" y="117"/>
                  </a:cxn>
                  <a:cxn ang="0">
                    <a:pos x="259" y="99"/>
                  </a:cxn>
                  <a:cxn ang="0">
                    <a:pos x="252" y="98"/>
                  </a:cxn>
                  <a:cxn ang="0">
                    <a:pos x="244" y="96"/>
                  </a:cxn>
                  <a:cxn ang="0">
                    <a:pos x="236" y="94"/>
                  </a:cxn>
                  <a:cxn ang="0">
                    <a:pos x="226" y="93"/>
                  </a:cxn>
                  <a:cxn ang="0">
                    <a:pos x="230" y="85"/>
                  </a:cxn>
                  <a:cxn ang="0">
                    <a:pos x="236" y="79"/>
                  </a:cxn>
                  <a:cxn ang="0">
                    <a:pos x="240" y="74"/>
                  </a:cxn>
                  <a:cxn ang="0">
                    <a:pos x="246" y="69"/>
                  </a:cxn>
                  <a:cxn ang="0">
                    <a:pos x="238" y="61"/>
                  </a:cxn>
                  <a:cxn ang="0">
                    <a:pos x="230" y="56"/>
                  </a:cxn>
                  <a:cxn ang="0">
                    <a:pos x="222" y="50"/>
                  </a:cxn>
                  <a:cxn ang="0">
                    <a:pos x="214" y="46"/>
                  </a:cxn>
                  <a:cxn ang="0">
                    <a:pos x="197" y="37"/>
                  </a:cxn>
                  <a:cxn ang="0">
                    <a:pos x="182" y="30"/>
                  </a:cxn>
                  <a:cxn ang="0">
                    <a:pos x="166" y="23"/>
                  </a:cxn>
                  <a:cxn ang="0">
                    <a:pos x="153" y="17"/>
                  </a:cxn>
                  <a:cxn ang="0">
                    <a:pos x="147" y="13"/>
                  </a:cxn>
                  <a:cxn ang="0">
                    <a:pos x="141" y="10"/>
                  </a:cxn>
                  <a:cxn ang="0">
                    <a:pos x="137" y="5"/>
                  </a:cxn>
                  <a:cxn ang="0">
                    <a:pos x="132" y="0"/>
                  </a:cxn>
                  <a:cxn ang="0">
                    <a:pos x="124" y="3"/>
                  </a:cxn>
                  <a:cxn ang="0">
                    <a:pos x="114" y="7"/>
                  </a:cxn>
                  <a:cxn ang="0">
                    <a:pos x="105" y="12"/>
                  </a:cxn>
                  <a:cxn ang="0">
                    <a:pos x="95" y="17"/>
                  </a:cxn>
                  <a:cxn ang="0">
                    <a:pos x="75" y="29"/>
                  </a:cxn>
                  <a:cxn ang="0">
                    <a:pos x="57" y="42"/>
                  </a:cxn>
                  <a:cxn ang="0">
                    <a:pos x="38" y="56"/>
                  </a:cxn>
                  <a:cxn ang="0">
                    <a:pos x="23" y="70"/>
                  </a:cxn>
                  <a:cxn ang="0">
                    <a:pos x="9" y="83"/>
                  </a:cxn>
                  <a:cxn ang="0">
                    <a:pos x="0" y="93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6" name="Freeform 421"/>
              <p:cNvSpPr>
                <a:spLocks/>
              </p:cNvSpPr>
              <p:nvPr/>
            </p:nvSpPr>
            <p:spPr bwMode="auto">
              <a:xfrm>
                <a:off x="2508667" y="1643011"/>
                <a:ext cx="51127" cy="30375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7" y="35"/>
                  </a:cxn>
                  <a:cxn ang="0">
                    <a:pos x="14" y="38"/>
                  </a:cxn>
                  <a:cxn ang="0">
                    <a:pos x="20" y="42"/>
                  </a:cxn>
                  <a:cxn ang="0">
                    <a:pos x="26" y="47"/>
                  </a:cxn>
                  <a:cxn ang="0">
                    <a:pos x="32" y="51"/>
                  </a:cxn>
                  <a:cxn ang="0">
                    <a:pos x="36" y="54"/>
                  </a:cxn>
                  <a:cxn ang="0">
                    <a:pos x="41" y="56"/>
                  </a:cxn>
                  <a:cxn ang="0">
                    <a:pos x="47" y="57"/>
                  </a:cxn>
                  <a:cxn ang="0">
                    <a:pos x="55" y="57"/>
                  </a:cxn>
                  <a:cxn ang="0">
                    <a:pos x="62" y="56"/>
                  </a:cxn>
                  <a:cxn ang="0">
                    <a:pos x="70" y="55"/>
                  </a:cxn>
                  <a:cxn ang="0">
                    <a:pos x="77" y="53"/>
                  </a:cxn>
                  <a:cxn ang="0">
                    <a:pos x="83" y="50"/>
                  </a:cxn>
                  <a:cxn ang="0">
                    <a:pos x="89" y="48"/>
                  </a:cxn>
                  <a:cxn ang="0">
                    <a:pos x="93" y="44"/>
                  </a:cxn>
                  <a:cxn ang="0">
                    <a:pos x="97" y="40"/>
                  </a:cxn>
                  <a:cxn ang="0">
                    <a:pos x="106" y="32"/>
                  </a:cxn>
                  <a:cxn ang="0">
                    <a:pos x="112" y="23"/>
                  </a:cxn>
                  <a:cxn ang="0">
                    <a:pos x="116" y="13"/>
                  </a:cxn>
                  <a:cxn ang="0">
                    <a:pos x="119" y="1"/>
                  </a:cxn>
                  <a:cxn ang="0">
                    <a:pos x="101" y="0"/>
                  </a:cxn>
                  <a:cxn ang="0">
                    <a:pos x="82" y="0"/>
                  </a:cxn>
                  <a:cxn ang="0">
                    <a:pos x="63" y="2"/>
                  </a:cxn>
                  <a:cxn ang="0">
                    <a:pos x="45" y="5"/>
                  </a:cxn>
                  <a:cxn ang="0">
                    <a:pos x="36" y="7"/>
                  </a:cxn>
                  <a:cxn ang="0">
                    <a:pos x="28" y="10"/>
                  </a:cxn>
                  <a:cxn ang="0">
                    <a:pos x="22" y="13"/>
                  </a:cxn>
                  <a:cxn ang="0">
                    <a:pos x="15" y="16"/>
                  </a:cxn>
                  <a:cxn ang="0">
                    <a:pos x="10" y="19"/>
                  </a:cxn>
                  <a:cxn ang="0">
                    <a:pos x="5" y="23"/>
                  </a:cxn>
                  <a:cxn ang="0">
                    <a:pos x="2" y="27"/>
                  </a:cxn>
                  <a:cxn ang="0">
                    <a:pos x="0" y="32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7" name="Freeform 422"/>
              <p:cNvSpPr>
                <a:spLocks/>
              </p:cNvSpPr>
              <p:nvPr/>
            </p:nvSpPr>
            <p:spPr bwMode="auto">
              <a:xfrm>
                <a:off x="2569211" y="1556681"/>
                <a:ext cx="45745" cy="27178"/>
              </a:xfrm>
              <a:custGeom>
                <a:avLst/>
                <a:gdLst/>
                <a:ahLst/>
                <a:cxnLst>
                  <a:cxn ang="0">
                    <a:pos x="0" y="50"/>
                  </a:cxn>
                  <a:cxn ang="0">
                    <a:pos x="6" y="51"/>
                  </a:cxn>
                  <a:cxn ang="0">
                    <a:pos x="9" y="52"/>
                  </a:cxn>
                  <a:cxn ang="0">
                    <a:pos x="13" y="52"/>
                  </a:cxn>
                  <a:cxn ang="0">
                    <a:pos x="17" y="52"/>
                  </a:cxn>
                  <a:cxn ang="0">
                    <a:pos x="24" y="50"/>
                  </a:cxn>
                  <a:cxn ang="0">
                    <a:pos x="34" y="50"/>
                  </a:cxn>
                  <a:cxn ang="0">
                    <a:pos x="43" y="49"/>
                  </a:cxn>
                  <a:cxn ang="0">
                    <a:pos x="53" y="48"/>
                  </a:cxn>
                  <a:cxn ang="0">
                    <a:pos x="62" y="47"/>
                  </a:cxn>
                  <a:cxn ang="0">
                    <a:pos x="70" y="43"/>
                  </a:cxn>
                  <a:cxn ang="0">
                    <a:pos x="79" y="40"/>
                  </a:cxn>
                  <a:cxn ang="0">
                    <a:pos x="88" y="36"/>
                  </a:cxn>
                  <a:cxn ang="0">
                    <a:pos x="97" y="31"/>
                  </a:cxn>
                  <a:cxn ang="0">
                    <a:pos x="107" y="24"/>
                  </a:cxn>
                  <a:cxn ang="0">
                    <a:pos x="107" y="0"/>
                  </a:cxn>
                  <a:cxn ang="0">
                    <a:pos x="98" y="1"/>
                  </a:cxn>
                  <a:cxn ang="0">
                    <a:pos x="86" y="3"/>
                  </a:cxn>
                  <a:cxn ang="0">
                    <a:pos x="72" y="7"/>
                  </a:cxn>
                  <a:cxn ang="0">
                    <a:pos x="56" y="13"/>
                  </a:cxn>
                  <a:cxn ang="0">
                    <a:pos x="41" y="20"/>
                  </a:cxn>
                  <a:cxn ang="0">
                    <a:pos x="25" y="28"/>
                  </a:cxn>
                  <a:cxn ang="0">
                    <a:pos x="19" y="33"/>
                  </a:cxn>
                  <a:cxn ang="0">
                    <a:pos x="12" y="38"/>
                  </a:cxn>
                  <a:cxn ang="0">
                    <a:pos x="6" y="43"/>
                  </a:cxn>
                  <a:cxn ang="0">
                    <a:pos x="0" y="50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8" name="Freeform 423"/>
              <p:cNvSpPr>
                <a:spLocks/>
              </p:cNvSpPr>
              <p:nvPr/>
            </p:nvSpPr>
            <p:spPr bwMode="auto">
              <a:xfrm>
                <a:off x="2336451" y="1411200"/>
                <a:ext cx="106289" cy="51158"/>
              </a:xfrm>
              <a:custGeom>
                <a:avLst/>
                <a:gdLst/>
                <a:ahLst/>
                <a:cxnLst>
                  <a:cxn ang="0">
                    <a:pos x="27" y="99"/>
                  </a:cxn>
                  <a:cxn ang="0">
                    <a:pos x="22" y="97"/>
                  </a:cxn>
                  <a:cxn ang="0">
                    <a:pos x="17" y="96"/>
                  </a:cxn>
                  <a:cxn ang="0">
                    <a:pos x="12" y="93"/>
                  </a:cxn>
                  <a:cxn ang="0">
                    <a:pos x="9" y="90"/>
                  </a:cxn>
                  <a:cxn ang="0">
                    <a:pos x="6" y="86"/>
                  </a:cxn>
                  <a:cxn ang="0">
                    <a:pos x="2" y="82"/>
                  </a:cxn>
                  <a:cxn ang="0">
                    <a:pos x="1" y="78"/>
                  </a:cxn>
                  <a:cxn ang="0">
                    <a:pos x="0" y="73"/>
                  </a:cxn>
                  <a:cxn ang="0">
                    <a:pos x="0" y="69"/>
                  </a:cxn>
                  <a:cxn ang="0">
                    <a:pos x="1" y="65"/>
                  </a:cxn>
                  <a:cxn ang="0">
                    <a:pos x="3" y="60"/>
                  </a:cxn>
                  <a:cxn ang="0">
                    <a:pos x="5" y="56"/>
                  </a:cxn>
                  <a:cxn ang="0">
                    <a:pos x="10" y="49"/>
                  </a:cxn>
                  <a:cxn ang="0">
                    <a:pos x="18" y="41"/>
                  </a:cxn>
                  <a:cxn ang="0">
                    <a:pos x="25" y="34"/>
                  </a:cxn>
                  <a:cxn ang="0">
                    <a:pos x="35" y="28"/>
                  </a:cxn>
                  <a:cxn ang="0">
                    <a:pos x="46" y="23"/>
                  </a:cxn>
                  <a:cxn ang="0">
                    <a:pos x="57" y="18"/>
                  </a:cxn>
                  <a:cxn ang="0">
                    <a:pos x="69" y="14"/>
                  </a:cxn>
                  <a:cxn ang="0">
                    <a:pos x="81" y="10"/>
                  </a:cxn>
                  <a:cxn ang="0">
                    <a:pos x="92" y="7"/>
                  </a:cxn>
                  <a:cxn ang="0">
                    <a:pos x="104" y="4"/>
                  </a:cxn>
                  <a:cxn ang="0">
                    <a:pos x="124" y="1"/>
                  </a:cxn>
                  <a:cxn ang="0">
                    <a:pos x="140" y="0"/>
                  </a:cxn>
                  <a:cxn ang="0">
                    <a:pos x="168" y="0"/>
                  </a:cxn>
                  <a:cxn ang="0">
                    <a:pos x="193" y="1"/>
                  </a:cxn>
                  <a:cxn ang="0">
                    <a:pos x="219" y="2"/>
                  </a:cxn>
                  <a:cxn ang="0">
                    <a:pos x="246" y="6"/>
                  </a:cxn>
                  <a:cxn ang="0">
                    <a:pos x="244" y="11"/>
                  </a:cxn>
                  <a:cxn ang="0">
                    <a:pos x="241" y="15"/>
                  </a:cxn>
                  <a:cxn ang="0">
                    <a:pos x="236" y="20"/>
                  </a:cxn>
                  <a:cxn ang="0">
                    <a:pos x="231" y="26"/>
                  </a:cxn>
                  <a:cxn ang="0">
                    <a:pos x="215" y="36"/>
                  </a:cxn>
                  <a:cxn ang="0">
                    <a:pos x="199" y="46"/>
                  </a:cxn>
                  <a:cxn ang="0">
                    <a:pos x="180" y="55"/>
                  </a:cxn>
                  <a:cxn ang="0">
                    <a:pos x="162" y="61"/>
                  </a:cxn>
                  <a:cxn ang="0">
                    <a:pos x="152" y="64"/>
                  </a:cxn>
                  <a:cxn ang="0">
                    <a:pos x="143" y="66"/>
                  </a:cxn>
                  <a:cxn ang="0">
                    <a:pos x="134" y="67"/>
                  </a:cxn>
                  <a:cxn ang="0">
                    <a:pos x="126" y="67"/>
                  </a:cxn>
                  <a:cxn ang="0">
                    <a:pos x="120" y="67"/>
                  </a:cxn>
                  <a:cxn ang="0">
                    <a:pos x="110" y="67"/>
                  </a:cxn>
                  <a:cxn ang="0">
                    <a:pos x="100" y="67"/>
                  </a:cxn>
                  <a:cxn ang="0">
                    <a:pos x="93" y="67"/>
                  </a:cxn>
                  <a:cxn ang="0">
                    <a:pos x="88" y="69"/>
                  </a:cxn>
                  <a:cxn ang="0">
                    <a:pos x="80" y="72"/>
                  </a:cxn>
                  <a:cxn ang="0">
                    <a:pos x="72" y="77"/>
                  </a:cxn>
                  <a:cxn ang="0">
                    <a:pos x="63" y="83"/>
                  </a:cxn>
                  <a:cxn ang="0">
                    <a:pos x="53" y="88"/>
                  </a:cxn>
                  <a:cxn ang="0">
                    <a:pos x="44" y="93"/>
                  </a:cxn>
                  <a:cxn ang="0">
                    <a:pos x="35" y="96"/>
                  </a:cxn>
                  <a:cxn ang="0">
                    <a:pos x="27" y="99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9" name="Freeform 424"/>
              <p:cNvSpPr>
                <a:spLocks/>
              </p:cNvSpPr>
              <p:nvPr/>
            </p:nvSpPr>
            <p:spPr bwMode="auto">
              <a:xfrm>
                <a:off x="2219398" y="1417595"/>
                <a:ext cx="102253" cy="63948"/>
              </a:xfrm>
              <a:custGeom>
                <a:avLst/>
                <a:gdLst/>
                <a:ahLst/>
                <a:cxnLst>
                  <a:cxn ang="0">
                    <a:pos x="33" y="88"/>
                  </a:cxn>
                  <a:cxn ang="0">
                    <a:pos x="10" y="78"/>
                  </a:cxn>
                  <a:cxn ang="0">
                    <a:pos x="0" y="55"/>
                  </a:cxn>
                  <a:cxn ang="0">
                    <a:pos x="20" y="37"/>
                  </a:cxn>
                  <a:cxn ang="0">
                    <a:pos x="40" y="37"/>
                  </a:cxn>
                  <a:cxn ang="0">
                    <a:pos x="61" y="37"/>
                  </a:cxn>
                  <a:cxn ang="0">
                    <a:pos x="72" y="36"/>
                  </a:cxn>
                  <a:cxn ang="0">
                    <a:pos x="83" y="33"/>
                  </a:cxn>
                  <a:cxn ang="0">
                    <a:pos x="104" y="23"/>
                  </a:cxn>
                  <a:cxn ang="0">
                    <a:pos x="123" y="11"/>
                  </a:cxn>
                  <a:cxn ang="0">
                    <a:pos x="146" y="0"/>
                  </a:cxn>
                  <a:cxn ang="0">
                    <a:pos x="161" y="8"/>
                  </a:cxn>
                  <a:cxn ang="0">
                    <a:pos x="181" y="12"/>
                  </a:cxn>
                  <a:cxn ang="0">
                    <a:pos x="190" y="10"/>
                  </a:cxn>
                  <a:cxn ang="0">
                    <a:pos x="201" y="6"/>
                  </a:cxn>
                  <a:cxn ang="0">
                    <a:pos x="213" y="0"/>
                  </a:cxn>
                  <a:cxn ang="0">
                    <a:pos x="232" y="6"/>
                  </a:cxn>
                  <a:cxn ang="0">
                    <a:pos x="228" y="18"/>
                  </a:cxn>
                  <a:cxn ang="0">
                    <a:pos x="219" y="25"/>
                  </a:cxn>
                  <a:cxn ang="0">
                    <a:pos x="207" y="30"/>
                  </a:cxn>
                  <a:cxn ang="0">
                    <a:pos x="201" y="43"/>
                  </a:cxn>
                  <a:cxn ang="0">
                    <a:pos x="206" y="62"/>
                  </a:cxn>
                  <a:cxn ang="0">
                    <a:pos x="185" y="85"/>
                  </a:cxn>
                  <a:cxn ang="0">
                    <a:pos x="157" y="96"/>
                  </a:cxn>
                  <a:cxn ang="0">
                    <a:pos x="139" y="98"/>
                  </a:cxn>
                  <a:cxn ang="0">
                    <a:pos x="116" y="100"/>
                  </a:cxn>
                  <a:cxn ang="0">
                    <a:pos x="96" y="106"/>
                  </a:cxn>
                  <a:cxn ang="0">
                    <a:pos x="82" y="115"/>
                  </a:cxn>
                  <a:cxn ang="0">
                    <a:pos x="67" y="122"/>
                  </a:cxn>
                  <a:cxn ang="0">
                    <a:pos x="58" y="122"/>
                  </a:cxn>
                  <a:cxn ang="0">
                    <a:pos x="53" y="115"/>
                  </a:cxn>
                  <a:cxn ang="0">
                    <a:pos x="48" y="100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0" name="Freeform 425"/>
              <p:cNvSpPr>
                <a:spLocks/>
              </p:cNvSpPr>
              <p:nvPr/>
            </p:nvSpPr>
            <p:spPr bwMode="auto">
              <a:xfrm>
                <a:off x="1800968" y="1398411"/>
                <a:ext cx="211233" cy="89527"/>
              </a:xfrm>
              <a:custGeom>
                <a:avLst/>
                <a:gdLst/>
                <a:ahLst/>
                <a:cxnLst>
                  <a:cxn ang="0">
                    <a:pos x="0" y="147"/>
                  </a:cxn>
                  <a:cxn ang="0">
                    <a:pos x="3" y="156"/>
                  </a:cxn>
                  <a:cxn ang="0">
                    <a:pos x="9" y="162"/>
                  </a:cxn>
                  <a:cxn ang="0">
                    <a:pos x="17" y="167"/>
                  </a:cxn>
                  <a:cxn ang="0">
                    <a:pos x="31" y="170"/>
                  </a:cxn>
                  <a:cxn ang="0">
                    <a:pos x="51" y="172"/>
                  </a:cxn>
                  <a:cxn ang="0">
                    <a:pos x="73" y="172"/>
                  </a:cxn>
                  <a:cxn ang="0">
                    <a:pos x="99" y="167"/>
                  </a:cxn>
                  <a:cxn ang="0">
                    <a:pos x="139" y="156"/>
                  </a:cxn>
                  <a:cxn ang="0">
                    <a:pos x="189" y="135"/>
                  </a:cxn>
                  <a:cxn ang="0">
                    <a:pos x="240" y="113"/>
                  </a:cxn>
                  <a:cxn ang="0">
                    <a:pos x="287" y="100"/>
                  </a:cxn>
                  <a:cxn ang="0">
                    <a:pos x="350" y="87"/>
                  </a:cxn>
                  <a:cxn ang="0">
                    <a:pos x="401" y="75"/>
                  </a:cxn>
                  <a:cxn ang="0">
                    <a:pos x="434" y="64"/>
                  </a:cxn>
                  <a:cxn ang="0">
                    <a:pos x="461" y="52"/>
                  </a:cxn>
                  <a:cxn ang="0">
                    <a:pos x="475" y="42"/>
                  </a:cxn>
                  <a:cxn ang="0">
                    <a:pos x="482" y="35"/>
                  </a:cxn>
                  <a:cxn ang="0">
                    <a:pos x="449" y="26"/>
                  </a:cxn>
                  <a:cxn ang="0">
                    <a:pos x="387" y="16"/>
                  </a:cxn>
                  <a:cxn ang="0">
                    <a:pos x="331" y="6"/>
                  </a:cxn>
                  <a:cxn ang="0">
                    <a:pos x="272" y="0"/>
                  </a:cxn>
                  <a:cxn ang="0">
                    <a:pos x="225" y="0"/>
                  </a:cxn>
                  <a:cxn ang="0">
                    <a:pos x="203" y="4"/>
                  </a:cxn>
                  <a:cxn ang="0">
                    <a:pos x="186" y="8"/>
                  </a:cxn>
                  <a:cxn ang="0">
                    <a:pos x="176" y="6"/>
                  </a:cxn>
                  <a:cxn ang="0">
                    <a:pos x="169" y="3"/>
                  </a:cxn>
                  <a:cxn ang="0">
                    <a:pos x="165" y="8"/>
                  </a:cxn>
                  <a:cxn ang="0">
                    <a:pos x="161" y="24"/>
                  </a:cxn>
                  <a:cxn ang="0">
                    <a:pos x="154" y="36"/>
                  </a:cxn>
                  <a:cxn ang="0">
                    <a:pos x="144" y="46"/>
                  </a:cxn>
                  <a:cxn ang="0">
                    <a:pos x="127" y="58"/>
                  </a:cxn>
                  <a:cxn ang="0">
                    <a:pos x="97" y="69"/>
                  </a:cxn>
                  <a:cxn ang="0">
                    <a:pos x="66" y="78"/>
                  </a:cxn>
                  <a:cxn ang="0">
                    <a:pos x="38" y="88"/>
                  </a:cxn>
                  <a:cxn ang="0">
                    <a:pos x="19" y="98"/>
                  </a:cxn>
                  <a:cxn ang="0">
                    <a:pos x="10" y="107"/>
                  </a:cxn>
                  <a:cxn ang="0">
                    <a:pos x="3" y="119"/>
                  </a:cxn>
                  <a:cxn ang="0">
                    <a:pos x="0" y="134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1" name="Freeform 426"/>
              <p:cNvSpPr>
                <a:spLocks/>
              </p:cNvSpPr>
              <p:nvPr/>
            </p:nvSpPr>
            <p:spPr bwMode="auto">
              <a:xfrm>
                <a:off x="1881694" y="1428786"/>
                <a:ext cx="297341" cy="126297"/>
              </a:xfrm>
              <a:custGeom>
                <a:avLst/>
                <a:gdLst/>
                <a:ahLst/>
                <a:cxnLst>
                  <a:cxn ang="0">
                    <a:pos x="317" y="5"/>
                  </a:cxn>
                  <a:cxn ang="0">
                    <a:pos x="304" y="27"/>
                  </a:cxn>
                  <a:cxn ang="0">
                    <a:pos x="297" y="41"/>
                  </a:cxn>
                  <a:cxn ang="0">
                    <a:pos x="299" y="43"/>
                  </a:cxn>
                  <a:cxn ang="0">
                    <a:pos x="337" y="39"/>
                  </a:cxn>
                  <a:cxn ang="0">
                    <a:pos x="372" y="19"/>
                  </a:cxn>
                  <a:cxn ang="0">
                    <a:pos x="379" y="38"/>
                  </a:cxn>
                  <a:cxn ang="0">
                    <a:pos x="377" y="55"/>
                  </a:cxn>
                  <a:cxn ang="0">
                    <a:pos x="405" y="69"/>
                  </a:cxn>
                  <a:cxn ang="0">
                    <a:pos x="511" y="51"/>
                  </a:cxn>
                  <a:cxn ang="0">
                    <a:pos x="514" y="70"/>
                  </a:cxn>
                  <a:cxn ang="0">
                    <a:pos x="541" y="63"/>
                  </a:cxn>
                  <a:cxn ang="0">
                    <a:pos x="557" y="45"/>
                  </a:cxn>
                  <a:cxn ang="0">
                    <a:pos x="558" y="19"/>
                  </a:cxn>
                  <a:cxn ang="0">
                    <a:pos x="563" y="8"/>
                  </a:cxn>
                  <a:cxn ang="0">
                    <a:pos x="579" y="0"/>
                  </a:cxn>
                  <a:cxn ang="0">
                    <a:pos x="624" y="3"/>
                  </a:cxn>
                  <a:cxn ang="0">
                    <a:pos x="645" y="0"/>
                  </a:cxn>
                  <a:cxn ang="0">
                    <a:pos x="657" y="39"/>
                  </a:cxn>
                  <a:cxn ang="0">
                    <a:pos x="653" y="70"/>
                  </a:cxn>
                  <a:cxn ang="0">
                    <a:pos x="637" y="101"/>
                  </a:cxn>
                  <a:cxn ang="0">
                    <a:pos x="618" y="124"/>
                  </a:cxn>
                  <a:cxn ang="0">
                    <a:pos x="648" y="137"/>
                  </a:cxn>
                  <a:cxn ang="0">
                    <a:pos x="672" y="145"/>
                  </a:cxn>
                  <a:cxn ang="0">
                    <a:pos x="684" y="180"/>
                  </a:cxn>
                  <a:cxn ang="0">
                    <a:pos x="639" y="185"/>
                  </a:cxn>
                  <a:cxn ang="0">
                    <a:pos x="608" y="181"/>
                  </a:cxn>
                  <a:cxn ang="0">
                    <a:pos x="574" y="180"/>
                  </a:cxn>
                  <a:cxn ang="0">
                    <a:pos x="564" y="184"/>
                  </a:cxn>
                  <a:cxn ang="0">
                    <a:pos x="542" y="200"/>
                  </a:cxn>
                  <a:cxn ang="0">
                    <a:pos x="524" y="209"/>
                  </a:cxn>
                  <a:cxn ang="0">
                    <a:pos x="493" y="209"/>
                  </a:cxn>
                  <a:cxn ang="0">
                    <a:pos x="452" y="204"/>
                  </a:cxn>
                  <a:cxn ang="0">
                    <a:pos x="422" y="198"/>
                  </a:cxn>
                  <a:cxn ang="0">
                    <a:pos x="337" y="211"/>
                  </a:cxn>
                  <a:cxn ang="0">
                    <a:pos x="231" y="230"/>
                  </a:cxn>
                  <a:cxn ang="0">
                    <a:pos x="169" y="238"/>
                  </a:cxn>
                  <a:cxn ang="0">
                    <a:pos x="124" y="238"/>
                  </a:cxn>
                  <a:cxn ang="0">
                    <a:pos x="100" y="228"/>
                  </a:cxn>
                  <a:cxn ang="0">
                    <a:pos x="67" y="208"/>
                  </a:cxn>
                  <a:cxn ang="0">
                    <a:pos x="29" y="196"/>
                  </a:cxn>
                  <a:cxn ang="0">
                    <a:pos x="0" y="173"/>
                  </a:cxn>
                  <a:cxn ang="0">
                    <a:pos x="64" y="159"/>
                  </a:cxn>
                  <a:cxn ang="0">
                    <a:pos x="100" y="154"/>
                  </a:cxn>
                  <a:cxn ang="0">
                    <a:pos x="156" y="160"/>
                  </a:cxn>
                  <a:cxn ang="0">
                    <a:pos x="201" y="165"/>
                  </a:cxn>
                  <a:cxn ang="0">
                    <a:pos x="224" y="162"/>
                  </a:cxn>
                  <a:cxn ang="0">
                    <a:pos x="26" y="136"/>
                  </a:cxn>
                  <a:cxn ang="0">
                    <a:pos x="52" y="128"/>
                  </a:cxn>
                  <a:cxn ang="0">
                    <a:pos x="109" y="117"/>
                  </a:cxn>
                  <a:cxn ang="0">
                    <a:pos x="165" y="108"/>
                  </a:cxn>
                  <a:cxn ang="0">
                    <a:pos x="187" y="99"/>
                  </a:cxn>
                  <a:cxn ang="0">
                    <a:pos x="166" y="93"/>
                  </a:cxn>
                  <a:cxn ang="0">
                    <a:pos x="125" y="98"/>
                  </a:cxn>
                  <a:cxn ang="0">
                    <a:pos x="71" y="110"/>
                  </a:cxn>
                  <a:cxn ang="0">
                    <a:pos x="52" y="106"/>
                  </a:cxn>
                  <a:cxn ang="0">
                    <a:pos x="55" y="90"/>
                  </a:cxn>
                  <a:cxn ang="0">
                    <a:pos x="54" y="81"/>
                  </a:cxn>
                  <a:cxn ang="0">
                    <a:pos x="59" y="78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2" name="Freeform 427"/>
              <p:cNvSpPr>
                <a:spLocks/>
              </p:cNvSpPr>
              <p:nvPr/>
            </p:nvSpPr>
            <p:spPr bwMode="auto">
              <a:xfrm>
                <a:off x="2691646" y="2049080"/>
                <a:ext cx="145307" cy="148679"/>
              </a:xfrm>
              <a:custGeom>
                <a:avLst/>
                <a:gdLst/>
                <a:ahLst/>
                <a:cxnLst>
                  <a:cxn ang="0">
                    <a:pos x="180" y="38"/>
                  </a:cxn>
                  <a:cxn ang="0">
                    <a:pos x="202" y="24"/>
                  </a:cxn>
                  <a:cxn ang="0">
                    <a:pos x="226" y="7"/>
                  </a:cxn>
                  <a:cxn ang="0">
                    <a:pos x="240" y="1"/>
                  </a:cxn>
                  <a:cxn ang="0">
                    <a:pos x="246" y="1"/>
                  </a:cxn>
                  <a:cxn ang="0">
                    <a:pos x="245" y="12"/>
                  </a:cxn>
                  <a:cxn ang="0">
                    <a:pos x="234" y="33"/>
                  </a:cxn>
                  <a:cxn ang="0">
                    <a:pos x="217" y="55"/>
                  </a:cxn>
                  <a:cxn ang="0">
                    <a:pos x="202" y="67"/>
                  </a:cxn>
                  <a:cxn ang="0">
                    <a:pos x="191" y="71"/>
                  </a:cxn>
                  <a:cxn ang="0">
                    <a:pos x="191" y="73"/>
                  </a:cxn>
                  <a:cxn ang="0">
                    <a:pos x="201" y="74"/>
                  </a:cxn>
                  <a:cxn ang="0">
                    <a:pos x="216" y="72"/>
                  </a:cxn>
                  <a:cxn ang="0">
                    <a:pos x="224" y="77"/>
                  </a:cxn>
                  <a:cxn ang="0">
                    <a:pos x="217" y="88"/>
                  </a:cxn>
                  <a:cxn ang="0">
                    <a:pos x="214" y="97"/>
                  </a:cxn>
                  <a:cxn ang="0">
                    <a:pos x="217" y="105"/>
                  </a:cxn>
                  <a:cxn ang="0">
                    <a:pos x="249" y="113"/>
                  </a:cxn>
                  <a:cxn ang="0">
                    <a:pos x="308" y="124"/>
                  </a:cxn>
                  <a:cxn ang="0">
                    <a:pos x="322" y="131"/>
                  </a:cxn>
                  <a:cxn ang="0">
                    <a:pos x="315" y="140"/>
                  </a:cxn>
                  <a:cxn ang="0">
                    <a:pos x="303" y="149"/>
                  </a:cxn>
                  <a:cxn ang="0">
                    <a:pos x="299" y="154"/>
                  </a:cxn>
                  <a:cxn ang="0">
                    <a:pos x="302" y="160"/>
                  </a:cxn>
                  <a:cxn ang="0">
                    <a:pos x="308" y="168"/>
                  </a:cxn>
                  <a:cxn ang="0">
                    <a:pos x="319" y="176"/>
                  </a:cxn>
                  <a:cxn ang="0">
                    <a:pos x="329" y="184"/>
                  </a:cxn>
                  <a:cxn ang="0">
                    <a:pos x="290" y="211"/>
                  </a:cxn>
                  <a:cxn ang="0">
                    <a:pos x="241" y="241"/>
                  </a:cxn>
                  <a:cxn ang="0">
                    <a:pos x="207" y="268"/>
                  </a:cxn>
                  <a:cxn ang="0">
                    <a:pos x="173" y="244"/>
                  </a:cxn>
                  <a:cxn ang="0">
                    <a:pos x="182" y="243"/>
                  </a:cxn>
                  <a:cxn ang="0">
                    <a:pos x="189" y="240"/>
                  </a:cxn>
                  <a:cxn ang="0">
                    <a:pos x="200" y="232"/>
                  </a:cxn>
                  <a:cxn ang="0">
                    <a:pos x="149" y="232"/>
                  </a:cxn>
                  <a:cxn ang="0">
                    <a:pos x="101" y="232"/>
                  </a:cxn>
                  <a:cxn ang="0">
                    <a:pos x="58" y="232"/>
                  </a:cxn>
                  <a:cxn ang="0">
                    <a:pos x="27" y="232"/>
                  </a:cxn>
                  <a:cxn ang="0">
                    <a:pos x="11" y="227"/>
                  </a:cxn>
                  <a:cxn ang="0">
                    <a:pos x="3" y="222"/>
                  </a:cxn>
                  <a:cxn ang="0">
                    <a:pos x="0" y="213"/>
                  </a:cxn>
                  <a:cxn ang="0">
                    <a:pos x="4" y="205"/>
                  </a:cxn>
                  <a:cxn ang="0">
                    <a:pos x="13" y="197"/>
                  </a:cxn>
                  <a:cxn ang="0">
                    <a:pos x="41" y="179"/>
                  </a:cxn>
                  <a:cxn ang="0">
                    <a:pos x="73" y="162"/>
                  </a:cxn>
                  <a:cxn ang="0">
                    <a:pos x="85" y="152"/>
                  </a:cxn>
                  <a:cxn ang="0">
                    <a:pos x="93" y="145"/>
                  </a:cxn>
                  <a:cxn ang="0">
                    <a:pos x="106" y="130"/>
                  </a:cxn>
                  <a:cxn ang="0">
                    <a:pos x="116" y="114"/>
                  </a:cxn>
                  <a:cxn ang="0">
                    <a:pos x="130" y="79"/>
                  </a:cxn>
                  <a:cxn ang="0">
                    <a:pos x="138" y="64"/>
                  </a:cxn>
                  <a:cxn ang="0">
                    <a:pos x="147" y="52"/>
                  </a:cxn>
                  <a:cxn ang="0">
                    <a:pos x="158" y="43"/>
                  </a:cxn>
                  <a:cxn ang="0">
                    <a:pos x="173" y="40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3" name="Freeform 428"/>
              <p:cNvSpPr>
                <a:spLocks/>
              </p:cNvSpPr>
              <p:nvPr/>
            </p:nvSpPr>
            <p:spPr bwMode="auto">
              <a:xfrm>
                <a:off x="1961075" y="1324871"/>
                <a:ext cx="149343" cy="43165"/>
              </a:xfrm>
              <a:custGeom>
                <a:avLst/>
                <a:gdLst/>
                <a:ahLst/>
                <a:cxnLst>
                  <a:cxn ang="0">
                    <a:pos x="106" y="86"/>
                  </a:cxn>
                  <a:cxn ang="0">
                    <a:pos x="119" y="81"/>
                  </a:cxn>
                  <a:cxn ang="0">
                    <a:pos x="133" y="76"/>
                  </a:cxn>
                  <a:cxn ang="0">
                    <a:pos x="148" y="72"/>
                  </a:cxn>
                  <a:cxn ang="0">
                    <a:pos x="164" y="69"/>
                  </a:cxn>
                  <a:cxn ang="0">
                    <a:pos x="197" y="63"/>
                  </a:cxn>
                  <a:cxn ang="0">
                    <a:pos x="231" y="57"/>
                  </a:cxn>
                  <a:cxn ang="0">
                    <a:pos x="247" y="53"/>
                  </a:cxn>
                  <a:cxn ang="0">
                    <a:pos x="264" y="50"/>
                  </a:cxn>
                  <a:cxn ang="0">
                    <a:pos x="279" y="46"/>
                  </a:cxn>
                  <a:cxn ang="0">
                    <a:pos x="294" y="40"/>
                  </a:cxn>
                  <a:cxn ang="0">
                    <a:pos x="309" y="35"/>
                  </a:cxn>
                  <a:cxn ang="0">
                    <a:pos x="322" y="28"/>
                  </a:cxn>
                  <a:cxn ang="0">
                    <a:pos x="334" y="21"/>
                  </a:cxn>
                  <a:cxn ang="0">
                    <a:pos x="345" y="13"/>
                  </a:cxn>
                  <a:cxn ang="0">
                    <a:pos x="335" y="12"/>
                  </a:cxn>
                  <a:cxn ang="0">
                    <a:pos x="326" y="11"/>
                  </a:cxn>
                  <a:cxn ang="0">
                    <a:pos x="317" y="9"/>
                  </a:cxn>
                  <a:cxn ang="0">
                    <a:pos x="309" y="6"/>
                  </a:cxn>
                  <a:cxn ang="0">
                    <a:pos x="300" y="4"/>
                  </a:cxn>
                  <a:cxn ang="0">
                    <a:pos x="291" y="2"/>
                  </a:cxn>
                  <a:cxn ang="0">
                    <a:pos x="281" y="1"/>
                  </a:cxn>
                  <a:cxn ang="0">
                    <a:pos x="272" y="0"/>
                  </a:cxn>
                  <a:cxn ang="0">
                    <a:pos x="259" y="1"/>
                  </a:cxn>
                  <a:cxn ang="0">
                    <a:pos x="245" y="3"/>
                  </a:cxn>
                  <a:cxn ang="0">
                    <a:pos x="227" y="5"/>
                  </a:cxn>
                  <a:cxn ang="0">
                    <a:pos x="209" y="9"/>
                  </a:cxn>
                  <a:cxn ang="0">
                    <a:pos x="168" y="18"/>
                  </a:cxn>
                  <a:cxn ang="0">
                    <a:pos x="126" y="29"/>
                  </a:cxn>
                  <a:cxn ang="0">
                    <a:pos x="104" y="36"/>
                  </a:cxn>
                  <a:cxn ang="0">
                    <a:pos x="85" y="42"/>
                  </a:cxn>
                  <a:cxn ang="0">
                    <a:pos x="66" y="50"/>
                  </a:cxn>
                  <a:cxn ang="0">
                    <a:pos x="47" y="58"/>
                  </a:cxn>
                  <a:cxn ang="0">
                    <a:pos x="32" y="65"/>
                  </a:cxn>
                  <a:cxn ang="0">
                    <a:pos x="19" y="72"/>
                  </a:cxn>
                  <a:cxn ang="0">
                    <a:pos x="8" y="79"/>
                  </a:cxn>
                  <a:cxn ang="0">
                    <a:pos x="0" y="86"/>
                  </a:cxn>
                  <a:cxn ang="0">
                    <a:pos x="106" y="86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4" name="Freeform 429"/>
              <p:cNvSpPr>
                <a:spLocks/>
              </p:cNvSpPr>
              <p:nvPr/>
            </p:nvSpPr>
            <p:spPr bwMode="auto">
              <a:xfrm>
                <a:off x="2036419" y="1339259"/>
                <a:ext cx="200470" cy="68744"/>
              </a:xfrm>
              <a:custGeom>
                <a:avLst/>
                <a:gdLst/>
                <a:ahLst/>
                <a:cxnLst>
                  <a:cxn ang="0">
                    <a:pos x="19" y="86"/>
                  </a:cxn>
                  <a:cxn ang="0">
                    <a:pos x="77" y="81"/>
                  </a:cxn>
                  <a:cxn ang="0">
                    <a:pos x="103" y="81"/>
                  </a:cxn>
                  <a:cxn ang="0">
                    <a:pos x="92" y="89"/>
                  </a:cxn>
                  <a:cxn ang="0">
                    <a:pos x="81" y="100"/>
                  </a:cxn>
                  <a:cxn ang="0">
                    <a:pos x="73" y="112"/>
                  </a:cxn>
                  <a:cxn ang="0">
                    <a:pos x="73" y="119"/>
                  </a:cxn>
                  <a:cxn ang="0">
                    <a:pos x="79" y="124"/>
                  </a:cxn>
                  <a:cxn ang="0">
                    <a:pos x="92" y="129"/>
                  </a:cxn>
                  <a:cxn ang="0">
                    <a:pos x="109" y="129"/>
                  </a:cxn>
                  <a:cxn ang="0">
                    <a:pos x="128" y="127"/>
                  </a:cxn>
                  <a:cxn ang="0">
                    <a:pos x="157" y="119"/>
                  </a:cxn>
                  <a:cxn ang="0">
                    <a:pos x="196" y="108"/>
                  </a:cxn>
                  <a:cxn ang="0">
                    <a:pos x="226" y="101"/>
                  </a:cxn>
                  <a:cxn ang="0">
                    <a:pos x="248" y="99"/>
                  </a:cxn>
                  <a:cxn ang="0">
                    <a:pos x="266" y="99"/>
                  </a:cxn>
                  <a:cxn ang="0">
                    <a:pos x="304" y="99"/>
                  </a:cxn>
                  <a:cxn ang="0">
                    <a:pos x="333" y="98"/>
                  </a:cxn>
                  <a:cxn ang="0">
                    <a:pos x="376" y="93"/>
                  </a:cxn>
                  <a:cxn ang="0">
                    <a:pos x="415" y="83"/>
                  </a:cxn>
                  <a:cxn ang="0">
                    <a:pos x="449" y="66"/>
                  </a:cxn>
                  <a:cxn ang="0">
                    <a:pos x="455" y="51"/>
                  </a:cxn>
                  <a:cxn ang="0">
                    <a:pos x="439" y="48"/>
                  </a:cxn>
                  <a:cxn ang="0">
                    <a:pos x="413" y="48"/>
                  </a:cxn>
                  <a:cxn ang="0">
                    <a:pos x="396" y="46"/>
                  </a:cxn>
                  <a:cxn ang="0">
                    <a:pos x="406" y="36"/>
                  </a:cxn>
                  <a:cxn ang="0">
                    <a:pos x="413" y="22"/>
                  </a:cxn>
                  <a:cxn ang="0">
                    <a:pos x="418" y="7"/>
                  </a:cxn>
                  <a:cxn ang="0">
                    <a:pos x="378" y="0"/>
                  </a:cxn>
                  <a:cxn ang="0">
                    <a:pos x="360" y="19"/>
                  </a:cxn>
                  <a:cxn ang="0">
                    <a:pos x="343" y="41"/>
                  </a:cxn>
                  <a:cxn ang="0">
                    <a:pos x="323" y="59"/>
                  </a:cxn>
                  <a:cxn ang="0">
                    <a:pos x="312" y="65"/>
                  </a:cxn>
                  <a:cxn ang="0">
                    <a:pos x="298" y="68"/>
                  </a:cxn>
                  <a:cxn ang="0">
                    <a:pos x="278" y="66"/>
                  </a:cxn>
                  <a:cxn ang="0">
                    <a:pos x="262" y="63"/>
                  </a:cxn>
                  <a:cxn ang="0">
                    <a:pos x="239" y="54"/>
                  </a:cxn>
                  <a:cxn ang="0">
                    <a:pos x="205" y="31"/>
                  </a:cxn>
                  <a:cxn ang="0">
                    <a:pos x="180" y="29"/>
                  </a:cxn>
                  <a:cxn ang="0">
                    <a:pos x="150" y="31"/>
                  </a:cxn>
                  <a:cxn ang="0">
                    <a:pos x="117" y="37"/>
                  </a:cxn>
                  <a:cxn ang="0">
                    <a:pos x="85" y="45"/>
                  </a:cxn>
                  <a:cxn ang="0">
                    <a:pos x="54" y="54"/>
                  </a:cxn>
                  <a:cxn ang="0">
                    <a:pos x="29" y="65"/>
                  </a:cxn>
                  <a:cxn ang="0">
                    <a:pos x="9" y="77"/>
                  </a:cxn>
                  <a:cxn ang="0">
                    <a:pos x="0" y="86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5" name="Freeform 430"/>
              <p:cNvSpPr>
                <a:spLocks/>
              </p:cNvSpPr>
              <p:nvPr/>
            </p:nvSpPr>
            <p:spPr bwMode="auto">
              <a:xfrm>
                <a:off x="2458886" y="1348851"/>
                <a:ext cx="205852" cy="49560"/>
              </a:xfrm>
              <a:custGeom>
                <a:avLst/>
                <a:gdLst/>
                <a:ahLst/>
                <a:cxnLst>
                  <a:cxn ang="0">
                    <a:pos x="63" y="0"/>
                  </a:cxn>
                  <a:cxn ang="0">
                    <a:pos x="44" y="0"/>
                  </a:cxn>
                  <a:cxn ang="0">
                    <a:pos x="24" y="0"/>
                  </a:cxn>
                  <a:cxn ang="0">
                    <a:pos x="12" y="3"/>
                  </a:cxn>
                  <a:cxn ang="0">
                    <a:pos x="7" y="8"/>
                  </a:cxn>
                  <a:cxn ang="0">
                    <a:pos x="7" y="16"/>
                  </a:cxn>
                  <a:cxn ang="0">
                    <a:pos x="10" y="23"/>
                  </a:cxn>
                  <a:cxn ang="0">
                    <a:pos x="15" y="32"/>
                  </a:cxn>
                  <a:cxn ang="0">
                    <a:pos x="14" y="41"/>
                  </a:cxn>
                  <a:cxn ang="0">
                    <a:pos x="4" y="50"/>
                  </a:cxn>
                  <a:cxn ang="0">
                    <a:pos x="1" y="57"/>
                  </a:cxn>
                  <a:cxn ang="0">
                    <a:pos x="2" y="64"/>
                  </a:cxn>
                  <a:cxn ang="0">
                    <a:pos x="14" y="69"/>
                  </a:cxn>
                  <a:cxn ang="0">
                    <a:pos x="48" y="76"/>
                  </a:cxn>
                  <a:cxn ang="0">
                    <a:pos x="109" y="85"/>
                  </a:cxn>
                  <a:cxn ang="0">
                    <a:pos x="167" y="91"/>
                  </a:cxn>
                  <a:cxn ang="0">
                    <a:pos x="365" y="92"/>
                  </a:cxn>
                  <a:cxn ang="0">
                    <a:pos x="374" y="81"/>
                  </a:cxn>
                  <a:cxn ang="0">
                    <a:pos x="385" y="75"/>
                  </a:cxn>
                  <a:cxn ang="0">
                    <a:pos x="397" y="73"/>
                  </a:cxn>
                  <a:cxn ang="0">
                    <a:pos x="411" y="73"/>
                  </a:cxn>
                  <a:cxn ang="0">
                    <a:pos x="441" y="76"/>
                  </a:cxn>
                  <a:cxn ang="0">
                    <a:pos x="456" y="76"/>
                  </a:cxn>
                  <a:cxn ang="0">
                    <a:pos x="472" y="73"/>
                  </a:cxn>
                  <a:cxn ang="0">
                    <a:pos x="465" y="33"/>
                  </a:cxn>
                  <a:cxn ang="0">
                    <a:pos x="453" y="26"/>
                  </a:cxn>
                  <a:cxn ang="0">
                    <a:pos x="443" y="18"/>
                  </a:cxn>
                  <a:cxn ang="0">
                    <a:pos x="432" y="13"/>
                  </a:cxn>
                  <a:cxn ang="0">
                    <a:pos x="416" y="12"/>
                  </a:cxn>
                  <a:cxn ang="0">
                    <a:pos x="396" y="15"/>
                  </a:cxn>
                  <a:cxn ang="0">
                    <a:pos x="367" y="22"/>
                  </a:cxn>
                  <a:cxn ang="0">
                    <a:pos x="328" y="33"/>
                  </a:cxn>
                  <a:cxn ang="0">
                    <a:pos x="298" y="39"/>
                  </a:cxn>
                  <a:cxn ang="0">
                    <a:pos x="276" y="42"/>
                  </a:cxn>
                  <a:cxn ang="0">
                    <a:pos x="236" y="42"/>
                  </a:cxn>
                  <a:cxn ang="0">
                    <a:pos x="191" y="42"/>
                  </a:cxn>
                  <a:cxn ang="0">
                    <a:pos x="156" y="42"/>
                  </a:cxn>
                  <a:cxn ang="0">
                    <a:pos x="120" y="42"/>
                  </a:cxn>
                  <a:cxn ang="0">
                    <a:pos x="91" y="41"/>
                  </a:cxn>
                  <a:cxn ang="0">
                    <a:pos x="78" y="36"/>
                  </a:cxn>
                  <a:cxn ang="0">
                    <a:pos x="70" y="27"/>
                  </a:cxn>
                  <a:cxn ang="0">
                    <a:pos x="67" y="17"/>
                  </a:cxn>
                  <a:cxn ang="0">
                    <a:pos x="69" y="8"/>
                  </a:cxn>
                  <a:cxn ang="0">
                    <a:pos x="74" y="2"/>
                  </a:cxn>
                  <a:cxn ang="0">
                    <a:pos x="74" y="0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6" name="Freeform 431"/>
              <p:cNvSpPr>
                <a:spLocks/>
              </p:cNvSpPr>
              <p:nvPr/>
            </p:nvSpPr>
            <p:spPr bwMode="auto">
              <a:xfrm>
                <a:off x="2514049" y="1238541"/>
                <a:ext cx="142616" cy="71941"/>
              </a:xfrm>
              <a:custGeom>
                <a:avLst/>
                <a:gdLst/>
                <a:ahLst/>
                <a:cxnLst>
                  <a:cxn ang="0">
                    <a:pos x="145" y="107"/>
                  </a:cxn>
                  <a:cxn ang="0">
                    <a:pos x="203" y="97"/>
                  </a:cxn>
                  <a:cxn ang="0">
                    <a:pos x="262" y="84"/>
                  </a:cxn>
                  <a:cxn ang="0">
                    <a:pos x="300" y="74"/>
                  </a:cxn>
                  <a:cxn ang="0">
                    <a:pos x="318" y="66"/>
                  </a:cxn>
                  <a:cxn ang="0">
                    <a:pos x="322" y="56"/>
                  </a:cxn>
                  <a:cxn ang="0">
                    <a:pos x="312" y="48"/>
                  </a:cxn>
                  <a:cxn ang="0">
                    <a:pos x="300" y="41"/>
                  </a:cxn>
                  <a:cxn ang="0">
                    <a:pos x="286" y="37"/>
                  </a:cxn>
                  <a:cxn ang="0">
                    <a:pos x="263" y="32"/>
                  </a:cxn>
                  <a:cxn ang="0">
                    <a:pos x="230" y="30"/>
                  </a:cxn>
                  <a:cxn ang="0">
                    <a:pos x="209" y="30"/>
                  </a:cxn>
                  <a:cxn ang="0">
                    <a:pos x="202" y="24"/>
                  </a:cxn>
                  <a:cxn ang="0">
                    <a:pos x="196" y="17"/>
                  </a:cxn>
                  <a:cxn ang="0">
                    <a:pos x="191" y="9"/>
                  </a:cxn>
                  <a:cxn ang="0">
                    <a:pos x="180" y="5"/>
                  </a:cxn>
                  <a:cxn ang="0">
                    <a:pos x="162" y="1"/>
                  </a:cxn>
                  <a:cxn ang="0">
                    <a:pos x="135" y="1"/>
                  </a:cxn>
                  <a:cxn ang="0">
                    <a:pos x="87" y="8"/>
                  </a:cxn>
                  <a:cxn ang="0">
                    <a:pos x="49" y="17"/>
                  </a:cxn>
                  <a:cxn ang="0">
                    <a:pos x="27" y="26"/>
                  </a:cxn>
                  <a:cxn ang="0">
                    <a:pos x="11" y="37"/>
                  </a:cxn>
                  <a:cxn ang="0">
                    <a:pos x="3" y="46"/>
                  </a:cxn>
                  <a:cxn ang="0">
                    <a:pos x="1" y="52"/>
                  </a:cxn>
                  <a:cxn ang="0">
                    <a:pos x="34" y="74"/>
                  </a:cxn>
                  <a:cxn ang="0">
                    <a:pos x="56" y="81"/>
                  </a:cxn>
                  <a:cxn ang="0">
                    <a:pos x="41" y="90"/>
                  </a:cxn>
                  <a:cxn ang="0">
                    <a:pos x="38" y="99"/>
                  </a:cxn>
                  <a:cxn ang="0">
                    <a:pos x="44" y="114"/>
                  </a:cxn>
                  <a:cxn ang="0">
                    <a:pos x="48" y="128"/>
                  </a:cxn>
                  <a:cxn ang="0">
                    <a:pos x="55" y="134"/>
                  </a:cxn>
                  <a:cxn ang="0">
                    <a:pos x="69" y="135"/>
                  </a:cxn>
                  <a:cxn ang="0">
                    <a:pos x="86" y="131"/>
                  </a:cxn>
                  <a:cxn ang="0">
                    <a:pos x="101" y="127"/>
                  </a:cxn>
                  <a:cxn ang="0">
                    <a:pos x="117" y="124"/>
                  </a:cxn>
                  <a:cxn ang="0">
                    <a:pos x="120" y="11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7" name="Freeform 432"/>
              <p:cNvSpPr>
                <a:spLocks/>
              </p:cNvSpPr>
              <p:nvPr/>
            </p:nvSpPr>
            <p:spPr bwMode="auto">
              <a:xfrm>
                <a:off x="2609575" y="1412799"/>
                <a:ext cx="68617" cy="28777"/>
              </a:xfrm>
              <a:custGeom>
                <a:avLst/>
                <a:gdLst/>
                <a:ahLst/>
                <a:cxnLst>
                  <a:cxn ang="0">
                    <a:pos x="46" y="53"/>
                  </a:cxn>
                  <a:cxn ang="0">
                    <a:pos x="40" y="52"/>
                  </a:cxn>
                  <a:cxn ang="0">
                    <a:pos x="34" y="49"/>
                  </a:cxn>
                  <a:cxn ang="0">
                    <a:pos x="26" y="45"/>
                  </a:cxn>
                  <a:cxn ang="0">
                    <a:pos x="18" y="38"/>
                  </a:cxn>
                  <a:cxn ang="0">
                    <a:pos x="10" y="31"/>
                  </a:cxn>
                  <a:cxn ang="0">
                    <a:pos x="5" y="24"/>
                  </a:cxn>
                  <a:cxn ang="0">
                    <a:pos x="3" y="21"/>
                  </a:cxn>
                  <a:cxn ang="0">
                    <a:pos x="1" y="17"/>
                  </a:cxn>
                  <a:cxn ang="0">
                    <a:pos x="0" y="13"/>
                  </a:cxn>
                  <a:cxn ang="0">
                    <a:pos x="0" y="10"/>
                  </a:cxn>
                  <a:cxn ang="0">
                    <a:pos x="21" y="10"/>
                  </a:cxn>
                  <a:cxn ang="0">
                    <a:pos x="39" y="10"/>
                  </a:cxn>
                  <a:cxn ang="0">
                    <a:pos x="52" y="10"/>
                  </a:cxn>
                  <a:cxn ang="0">
                    <a:pos x="59" y="10"/>
                  </a:cxn>
                  <a:cxn ang="0">
                    <a:pos x="83" y="6"/>
                  </a:cxn>
                  <a:cxn ang="0">
                    <a:pos x="117" y="0"/>
                  </a:cxn>
                  <a:cxn ang="0">
                    <a:pos x="125" y="0"/>
                  </a:cxn>
                  <a:cxn ang="0">
                    <a:pos x="132" y="0"/>
                  </a:cxn>
                  <a:cxn ang="0">
                    <a:pos x="140" y="0"/>
                  </a:cxn>
                  <a:cxn ang="0">
                    <a:pos x="147" y="2"/>
                  </a:cxn>
                  <a:cxn ang="0">
                    <a:pos x="151" y="5"/>
                  </a:cxn>
                  <a:cxn ang="0">
                    <a:pos x="155" y="9"/>
                  </a:cxn>
                  <a:cxn ang="0">
                    <a:pos x="158" y="15"/>
                  </a:cxn>
                  <a:cxn ang="0">
                    <a:pos x="159" y="22"/>
                  </a:cxn>
                  <a:cxn ang="0">
                    <a:pos x="158" y="30"/>
                  </a:cxn>
                  <a:cxn ang="0">
                    <a:pos x="155" y="37"/>
                  </a:cxn>
                  <a:cxn ang="0">
                    <a:pos x="151" y="44"/>
                  </a:cxn>
                  <a:cxn ang="0">
                    <a:pos x="146" y="48"/>
                  </a:cxn>
                  <a:cxn ang="0">
                    <a:pos x="139" y="52"/>
                  </a:cxn>
                  <a:cxn ang="0">
                    <a:pos x="132" y="54"/>
                  </a:cxn>
                  <a:cxn ang="0">
                    <a:pos x="124" y="55"/>
                  </a:cxn>
                  <a:cxn ang="0">
                    <a:pos x="115" y="56"/>
                  </a:cxn>
                  <a:cxn ang="0">
                    <a:pos x="77" y="55"/>
                  </a:cxn>
                  <a:cxn ang="0">
                    <a:pos x="46" y="53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8" name="Freeform 433"/>
              <p:cNvSpPr>
                <a:spLocks/>
              </p:cNvSpPr>
              <p:nvPr/>
            </p:nvSpPr>
            <p:spPr bwMode="auto">
              <a:xfrm>
                <a:off x="1196868" y="1468753"/>
                <a:ext cx="1621249" cy="861697"/>
              </a:xfrm>
              <a:custGeom>
                <a:avLst/>
                <a:gdLst/>
                <a:ahLst/>
                <a:cxnLst>
                  <a:cxn ang="0">
                    <a:pos x="2931" y="1362"/>
                  </a:cxn>
                  <a:cxn ang="0">
                    <a:pos x="2556" y="1522"/>
                  </a:cxn>
                  <a:cxn ang="0">
                    <a:pos x="2312" y="1592"/>
                  </a:cxn>
                  <a:cxn ang="0">
                    <a:pos x="2294" y="1634"/>
                  </a:cxn>
                  <a:cxn ang="0">
                    <a:pos x="2177" y="1607"/>
                  </a:cxn>
                  <a:cxn ang="0">
                    <a:pos x="2279" y="1512"/>
                  </a:cxn>
                  <a:cxn ang="0">
                    <a:pos x="2166" y="1416"/>
                  </a:cxn>
                  <a:cxn ang="0">
                    <a:pos x="2094" y="1295"/>
                  </a:cxn>
                  <a:cxn ang="0">
                    <a:pos x="1947" y="1317"/>
                  </a:cxn>
                  <a:cxn ang="0">
                    <a:pos x="1771" y="1281"/>
                  </a:cxn>
                  <a:cxn ang="0">
                    <a:pos x="261" y="1235"/>
                  </a:cxn>
                  <a:cxn ang="0">
                    <a:pos x="127" y="1125"/>
                  </a:cxn>
                  <a:cxn ang="0">
                    <a:pos x="151" y="1040"/>
                  </a:cxn>
                  <a:cxn ang="0">
                    <a:pos x="147" y="927"/>
                  </a:cxn>
                  <a:cxn ang="0">
                    <a:pos x="259" y="859"/>
                  </a:cxn>
                  <a:cxn ang="0">
                    <a:pos x="250" y="747"/>
                  </a:cxn>
                  <a:cxn ang="0">
                    <a:pos x="128" y="665"/>
                  </a:cxn>
                  <a:cxn ang="0">
                    <a:pos x="602" y="114"/>
                  </a:cxn>
                  <a:cxn ang="0">
                    <a:pos x="1146" y="105"/>
                  </a:cxn>
                  <a:cxn ang="0">
                    <a:pos x="1296" y="117"/>
                  </a:cxn>
                  <a:cxn ang="0">
                    <a:pos x="1641" y="166"/>
                  </a:cxn>
                  <a:cxn ang="0">
                    <a:pos x="1771" y="206"/>
                  </a:cxn>
                  <a:cxn ang="0">
                    <a:pos x="2076" y="193"/>
                  </a:cxn>
                  <a:cxn ang="0">
                    <a:pos x="2286" y="216"/>
                  </a:cxn>
                  <a:cxn ang="0">
                    <a:pos x="2365" y="216"/>
                  </a:cxn>
                  <a:cxn ang="0">
                    <a:pos x="2518" y="123"/>
                  </a:cxn>
                  <a:cxn ang="0">
                    <a:pos x="2587" y="2"/>
                  </a:cxn>
                  <a:cxn ang="0">
                    <a:pos x="2644" y="105"/>
                  </a:cxn>
                  <a:cxn ang="0">
                    <a:pos x="2664" y="166"/>
                  </a:cxn>
                  <a:cxn ang="0">
                    <a:pos x="2716" y="196"/>
                  </a:cxn>
                  <a:cxn ang="0">
                    <a:pos x="2891" y="121"/>
                  </a:cxn>
                  <a:cxn ang="0">
                    <a:pos x="3036" y="135"/>
                  </a:cxn>
                  <a:cxn ang="0">
                    <a:pos x="2883" y="271"/>
                  </a:cxn>
                  <a:cxn ang="0">
                    <a:pos x="2790" y="289"/>
                  </a:cxn>
                  <a:cxn ang="0">
                    <a:pos x="2569" y="304"/>
                  </a:cxn>
                  <a:cxn ang="0">
                    <a:pos x="2501" y="402"/>
                  </a:cxn>
                  <a:cxn ang="0">
                    <a:pos x="2333" y="471"/>
                  </a:cxn>
                  <a:cxn ang="0">
                    <a:pos x="2087" y="625"/>
                  </a:cxn>
                  <a:cxn ang="0">
                    <a:pos x="2106" y="793"/>
                  </a:cxn>
                  <a:cxn ang="0">
                    <a:pos x="2360" y="907"/>
                  </a:cxn>
                  <a:cxn ang="0">
                    <a:pos x="2443" y="1059"/>
                  </a:cxn>
                  <a:cxn ang="0">
                    <a:pos x="2614" y="987"/>
                  </a:cxn>
                  <a:cxn ang="0">
                    <a:pos x="2848" y="785"/>
                  </a:cxn>
                  <a:cxn ang="0">
                    <a:pos x="2896" y="597"/>
                  </a:cxn>
                  <a:cxn ang="0">
                    <a:pos x="3156" y="500"/>
                  </a:cxn>
                  <a:cxn ang="0">
                    <a:pos x="3276" y="592"/>
                  </a:cxn>
                  <a:cxn ang="0">
                    <a:pos x="3226" y="736"/>
                  </a:cxn>
                  <a:cxn ang="0">
                    <a:pos x="3492" y="613"/>
                  </a:cxn>
                  <a:cxn ang="0">
                    <a:pos x="3545" y="774"/>
                  </a:cxn>
                  <a:cxn ang="0">
                    <a:pos x="3662" y="924"/>
                  </a:cxn>
                  <a:cxn ang="0">
                    <a:pos x="3616" y="961"/>
                  </a:cxn>
                  <a:cxn ang="0">
                    <a:pos x="3694" y="1028"/>
                  </a:cxn>
                  <a:cxn ang="0">
                    <a:pos x="3556" y="1108"/>
                  </a:cxn>
                  <a:cxn ang="0">
                    <a:pos x="3151" y="1168"/>
                  </a:cxn>
                  <a:cxn ang="0">
                    <a:pos x="2853" y="1335"/>
                  </a:cxn>
                  <a:cxn ang="0">
                    <a:pos x="2905" y="1337"/>
                  </a:cxn>
                  <a:cxn ang="0">
                    <a:pos x="3216" y="1256"/>
                  </a:cxn>
                  <a:cxn ang="0">
                    <a:pos x="3066" y="1298"/>
                  </a:cxn>
                  <a:cxn ang="0">
                    <a:pos x="3138" y="1391"/>
                  </a:cxn>
                  <a:cxn ang="0">
                    <a:pos x="3248" y="1473"/>
                  </a:cxn>
                  <a:cxn ang="0">
                    <a:pos x="3018" y="1564"/>
                  </a:cxn>
                  <a:cxn ang="0">
                    <a:pos x="3189" y="1466"/>
                  </a:cxn>
                  <a:cxn ang="0">
                    <a:pos x="3016" y="1484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827399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80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281738" y="4298182"/>
              <a:ext cx="127000" cy="158750"/>
            </a:xfrm>
            <a:custGeom>
              <a:avLst/>
              <a:gdLst/>
              <a:ahLst/>
              <a:cxnLst>
                <a:cxn ang="0">
                  <a:pos x="265" y="10"/>
                </a:cxn>
                <a:cxn ang="0">
                  <a:pos x="276" y="37"/>
                </a:cxn>
                <a:cxn ang="0">
                  <a:pos x="286" y="91"/>
                </a:cxn>
                <a:cxn ang="0">
                  <a:pos x="292" y="144"/>
                </a:cxn>
                <a:cxn ang="0">
                  <a:pos x="291" y="161"/>
                </a:cxn>
                <a:cxn ang="0">
                  <a:pos x="286" y="179"/>
                </a:cxn>
                <a:cxn ang="0">
                  <a:pos x="269" y="206"/>
                </a:cxn>
                <a:cxn ang="0">
                  <a:pos x="231" y="185"/>
                </a:cxn>
                <a:cxn ang="0">
                  <a:pos x="165" y="258"/>
                </a:cxn>
                <a:cxn ang="0">
                  <a:pos x="132" y="278"/>
                </a:cxn>
                <a:cxn ang="0">
                  <a:pos x="59" y="296"/>
                </a:cxn>
                <a:cxn ang="0">
                  <a:pos x="32" y="308"/>
                </a:cxn>
                <a:cxn ang="0">
                  <a:pos x="6" y="308"/>
                </a:cxn>
                <a:cxn ang="0">
                  <a:pos x="9" y="297"/>
                </a:cxn>
                <a:cxn ang="0">
                  <a:pos x="11" y="286"/>
                </a:cxn>
                <a:cxn ang="0">
                  <a:pos x="7" y="265"/>
                </a:cxn>
                <a:cxn ang="0">
                  <a:pos x="2" y="246"/>
                </a:cxn>
                <a:cxn ang="0">
                  <a:pos x="0" y="228"/>
                </a:cxn>
                <a:cxn ang="0">
                  <a:pos x="3" y="205"/>
                </a:cxn>
                <a:cxn ang="0">
                  <a:pos x="12" y="188"/>
                </a:cxn>
                <a:cxn ang="0">
                  <a:pos x="26" y="174"/>
                </a:cxn>
                <a:cxn ang="0">
                  <a:pos x="42" y="161"/>
                </a:cxn>
                <a:cxn ang="0">
                  <a:pos x="77" y="135"/>
                </a:cxn>
                <a:cxn ang="0">
                  <a:pos x="93" y="119"/>
                </a:cxn>
                <a:cxn ang="0">
                  <a:pos x="105" y="98"/>
                </a:cxn>
                <a:cxn ang="0">
                  <a:pos x="98" y="96"/>
                </a:cxn>
                <a:cxn ang="0">
                  <a:pos x="92" y="91"/>
                </a:cxn>
                <a:cxn ang="0">
                  <a:pos x="82" y="73"/>
                </a:cxn>
                <a:cxn ang="0">
                  <a:pos x="74" y="50"/>
                </a:cxn>
                <a:cxn ang="0">
                  <a:pos x="72" y="24"/>
                </a:cxn>
                <a:cxn ang="0">
                  <a:pos x="90" y="19"/>
                </a:cxn>
                <a:cxn ang="0">
                  <a:pos x="105" y="20"/>
                </a:cxn>
                <a:cxn ang="0">
                  <a:pos x="132" y="24"/>
                </a:cxn>
                <a:cxn ang="0">
                  <a:pos x="169" y="21"/>
                </a:cxn>
                <a:cxn ang="0">
                  <a:pos x="210" y="12"/>
                </a:cxn>
                <a:cxn ang="0">
                  <a:pos x="259" y="0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1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388100" y="4448994"/>
              <a:ext cx="6350" cy="571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3" y="3"/>
                </a:cxn>
                <a:cxn ang="0">
                  <a:pos x="14" y="7"/>
                </a:cxn>
                <a:cxn ang="0">
                  <a:pos x="0" y="7"/>
                </a:cxn>
                <a:cxn ang="0">
                  <a:pos x="11" y="0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2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878514" y="3685407"/>
              <a:ext cx="249237" cy="500062"/>
            </a:xfrm>
            <a:custGeom>
              <a:avLst/>
              <a:gdLst/>
              <a:ahLst/>
              <a:cxnLst>
                <a:cxn ang="0">
                  <a:pos x="81" y="115"/>
                </a:cxn>
                <a:cxn ang="0">
                  <a:pos x="104" y="152"/>
                </a:cxn>
                <a:cxn ang="0">
                  <a:pos x="111" y="180"/>
                </a:cxn>
                <a:cxn ang="0">
                  <a:pos x="95" y="234"/>
                </a:cxn>
                <a:cxn ang="0">
                  <a:pos x="96" y="325"/>
                </a:cxn>
                <a:cxn ang="0">
                  <a:pos x="93" y="363"/>
                </a:cxn>
                <a:cxn ang="0">
                  <a:pos x="82" y="396"/>
                </a:cxn>
                <a:cxn ang="0">
                  <a:pos x="59" y="429"/>
                </a:cxn>
                <a:cxn ang="0">
                  <a:pos x="31" y="461"/>
                </a:cxn>
                <a:cxn ang="0">
                  <a:pos x="17" y="481"/>
                </a:cxn>
                <a:cxn ang="0">
                  <a:pos x="2" y="542"/>
                </a:cxn>
                <a:cxn ang="0">
                  <a:pos x="69" y="616"/>
                </a:cxn>
                <a:cxn ang="0">
                  <a:pos x="69" y="634"/>
                </a:cxn>
                <a:cxn ang="0">
                  <a:pos x="74" y="665"/>
                </a:cxn>
                <a:cxn ang="0">
                  <a:pos x="74" y="696"/>
                </a:cxn>
                <a:cxn ang="0">
                  <a:pos x="78" y="733"/>
                </a:cxn>
                <a:cxn ang="0">
                  <a:pos x="94" y="778"/>
                </a:cxn>
                <a:cxn ang="0">
                  <a:pos x="105" y="792"/>
                </a:cxn>
                <a:cxn ang="0">
                  <a:pos x="68" y="794"/>
                </a:cxn>
                <a:cxn ang="0">
                  <a:pos x="42" y="802"/>
                </a:cxn>
                <a:cxn ang="0">
                  <a:pos x="36" y="812"/>
                </a:cxn>
                <a:cxn ang="0">
                  <a:pos x="42" y="842"/>
                </a:cxn>
                <a:cxn ang="0">
                  <a:pos x="69" y="876"/>
                </a:cxn>
                <a:cxn ang="0">
                  <a:pos x="87" y="899"/>
                </a:cxn>
                <a:cxn ang="0">
                  <a:pos x="100" y="927"/>
                </a:cxn>
                <a:cxn ang="0">
                  <a:pos x="156" y="955"/>
                </a:cxn>
                <a:cxn ang="0">
                  <a:pos x="189" y="942"/>
                </a:cxn>
                <a:cxn ang="0">
                  <a:pos x="248" y="929"/>
                </a:cxn>
                <a:cxn ang="0">
                  <a:pos x="279" y="921"/>
                </a:cxn>
                <a:cxn ang="0">
                  <a:pos x="297" y="904"/>
                </a:cxn>
                <a:cxn ang="0">
                  <a:pos x="302" y="892"/>
                </a:cxn>
                <a:cxn ang="0">
                  <a:pos x="302" y="868"/>
                </a:cxn>
                <a:cxn ang="0">
                  <a:pos x="338" y="871"/>
                </a:cxn>
                <a:cxn ang="0">
                  <a:pos x="367" y="866"/>
                </a:cxn>
                <a:cxn ang="0">
                  <a:pos x="389" y="856"/>
                </a:cxn>
                <a:cxn ang="0">
                  <a:pos x="405" y="842"/>
                </a:cxn>
                <a:cxn ang="0">
                  <a:pos x="432" y="807"/>
                </a:cxn>
                <a:cxn ang="0">
                  <a:pos x="460" y="773"/>
                </a:cxn>
                <a:cxn ang="0">
                  <a:pos x="477" y="760"/>
                </a:cxn>
                <a:cxn ang="0">
                  <a:pos x="502" y="752"/>
                </a:cxn>
                <a:cxn ang="0">
                  <a:pos x="521" y="745"/>
                </a:cxn>
                <a:cxn ang="0">
                  <a:pos x="499" y="697"/>
                </a:cxn>
                <a:cxn ang="0">
                  <a:pos x="484" y="653"/>
                </a:cxn>
                <a:cxn ang="0">
                  <a:pos x="472" y="623"/>
                </a:cxn>
                <a:cxn ang="0">
                  <a:pos x="481" y="610"/>
                </a:cxn>
                <a:cxn ang="0">
                  <a:pos x="487" y="579"/>
                </a:cxn>
                <a:cxn ang="0">
                  <a:pos x="494" y="541"/>
                </a:cxn>
                <a:cxn ang="0">
                  <a:pos x="505" y="519"/>
                </a:cxn>
                <a:cxn ang="0">
                  <a:pos x="532" y="486"/>
                </a:cxn>
                <a:cxn ang="0">
                  <a:pos x="570" y="461"/>
                </a:cxn>
                <a:cxn ang="0">
                  <a:pos x="129" y="0"/>
                </a:cxn>
                <a:cxn ang="0">
                  <a:pos x="98" y="5"/>
                </a:cxn>
                <a:cxn ang="0">
                  <a:pos x="69" y="24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3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554664" y="3067869"/>
              <a:ext cx="15875" cy="57150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0" y="18"/>
                </a:cxn>
                <a:cxn ang="0">
                  <a:pos x="23" y="36"/>
                </a:cxn>
                <a:cxn ang="0">
                  <a:pos x="45" y="15"/>
                </a:cxn>
                <a:cxn ang="0">
                  <a:pos x="26" y="0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84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3854451" y="5128445"/>
              <a:ext cx="384175" cy="1031875"/>
              <a:chOff x="1589" y="3126"/>
              <a:chExt cx="290" cy="657"/>
            </a:xfrm>
            <a:grpFill/>
          </p:grpSpPr>
          <p:sp>
            <p:nvSpPr>
              <p:cNvPr id="394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/>
                <a:ahLst/>
                <a:cxnLst>
                  <a:cxn ang="0">
                    <a:pos x="46" y="12"/>
                  </a:cxn>
                  <a:cxn ang="0">
                    <a:pos x="19" y="0"/>
                  </a:cxn>
                  <a:cxn ang="0">
                    <a:pos x="13" y="5"/>
                  </a:cxn>
                  <a:cxn ang="0">
                    <a:pos x="7" y="9"/>
                  </a:cxn>
                  <a:cxn ang="0">
                    <a:pos x="4" y="12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0" y="19"/>
                  </a:cxn>
                  <a:cxn ang="0">
                    <a:pos x="0" y="24"/>
                  </a:cxn>
                  <a:cxn ang="0">
                    <a:pos x="2" y="29"/>
                  </a:cxn>
                  <a:cxn ang="0">
                    <a:pos x="4" y="36"/>
                  </a:cxn>
                  <a:cxn ang="0">
                    <a:pos x="7" y="41"/>
                  </a:cxn>
                  <a:cxn ang="0">
                    <a:pos x="10" y="46"/>
                  </a:cxn>
                  <a:cxn ang="0">
                    <a:pos x="13" y="49"/>
                  </a:cxn>
                  <a:cxn ang="0">
                    <a:pos x="15" y="50"/>
                  </a:cxn>
                  <a:cxn ang="0">
                    <a:pos x="16" y="51"/>
                  </a:cxn>
                  <a:cxn ang="0">
                    <a:pos x="18" y="51"/>
                  </a:cxn>
                  <a:cxn ang="0">
                    <a:pos x="19" y="50"/>
                  </a:cxn>
                  <a:cxn ang="0">
                    <a:pos x="35" y="50"/>
                  </a:cxn>
                  <a:cxn ang="0">
                    <a:pos x="46" y="50"/>
                  </a:cxn>
                  <a:cxn ang="0">
                    <a:pos x="46" y="37"/>
                  </a:cxn>
                  <a:cxn ang="0">
                    <a:pos x="46" y="26"/>
                  </a:cxn>
                  <a:cxn ang="0">
                    <a:pos x="46" y="18"/>
                  </a:cxn>
                  <a:cxn ang="0">
                    <a:pos x="46" y="12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5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4"/>
                  </a:cxn>
                  <a:cxn ang="0">
                    <a:pos x="2" y="26"/>
                  </a:cxn>
                  <a:cxn ang="0">
                    <a:pos x="4" y="38"/>
                  </a:cxn>
                  <a:cxn ang="0">
                    <a:pos x="7" y="50"/>
                  </a:cxn>
                  <a:cxn ang="0">
                    <a:pos x="11" y="61"/>
                  </a:cxn>
                  <a:cxn ang="0">
                    <a:pos x="15" y="71"/>
                  </a:cxn>
                  <a:cxn ang="0">
                    <a:pos x="21" y="81"/>
                  </a:cxn>
                  <a:cxn ang="0">
                    <a:pos x="25" y="90"/>
                  </a:cxn>
                  <a:cxn ang="0">
                    <a:pos x="47" y="122"/>
                  </a:cxn>
                  <a:cxn ang="0">
                    <a:pos x="66" y="148"/>
                  </a:cxn>
                  <a:cxn ang="0">
                    <a:pos x="72" y="151"/>
                  </a:cxn>
                  <a:cxn ang="0">
                    <a:pos x="79" y="153"/>
                  </a:cxn>
                  <a:cxn ang="0">
                    <a:pos x="85" y="155"/>
                  </a:cxn>
                  <a:cxn ang="0">
                    <a:pos x="92" y="156"/>
                  </a:cxn>
                  <a:cxn ang="0">
                    <a:pos x="105" y="158"/>
                  </a:cxn>
                  <a:cxn ang="0">
                    <a:pos x="119" y="158"/>
                  </a:cxn>
                  <a:cxn ang="0">
                    <a:pos x="152" y="155"/>
                  </a:cxn>
                  <a:cxn ang="0">
                    <a:pos x="192" y="154"/>
                  </a:cxn>
                  <a:cxn ang="0">
                    <a:pos x="184" y="153"/>
                  </a:cxn>
                  <a:cxn ang="0">
                    <a:pos x="176" y="152"/>
                  </a:cxn>
                  <a:cxn ang="0">
                    <a:pos x="168" y="151"/>
                  </a:cxn>
                  <a:cxn ang="0">
                    <a:pos x="160" y="149"/>
                  </a:cxn>
                  <a:cxn ang="0">
                    <a:pos x="145" y="144"/>
                  </a:cxn>
                  <a:cxn ang="0">
                    <a:pos x="129" y="138"/>
                  </a:cxn>
                  <a:cxn ang="0">
                    <a:pos x="115" y="130"/>
                  </a:cxn>
                  <a:cxn ang="0">
                    <a:pos x="101" y="120"/>
                  </a:cxn>
                  <a:cxn ang="0">
                    <a:pos x="87" y="110"/>
                  </a:cxn>
                  <a:cxn ang="0">
                    <a:pos x="75" y="98"/>
                  </a:cxn>
                  <a:cxn ang="0">
                    <a:pos x="63" y="87"/>
                  </a:cxn>
                  <a:cxn ang="0">
                    <a:pos x="52" y="75"/>
                  </a:cxn>
                  <a:cxn ang="0">
                    <a:pos x="42" y="63"/>
                  </a:cxn>
                  <a:cxn ang="0">
                    <a:pos x="35" y="50"/>
                  </a:cxn>
                  <a:cxn ang="0">
                    <a:pos x="27" y="38"/>
                  </a:cxn>
                  <a:cxn ang="0">
                    <a:pos x="21" y="26"/>
                  </a:cxn>
                  <a:cxn ang="0">
                    <a:pos x="16" y="16"/>
                  </a:cxn>
                  <a:cxn ang="0">
                    <a:pos x="13" y="6"/>
                  </a:cxn>
                  <a:cxn ang="0">
                    <a:pos x="0" y="0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6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/>
                <a:ahLst/>
                <a:cxnLst>
                  <a:cxn ang="0">
                    <a:pos x="772" y="415"/>
                  </a:cxn>
                  <a:cxn ang="0">
                    <a:pos x="873" y="342"/>
                  </a:cxn>
                  <a:cxn ang="0">
                    <a:pos x="884" y="232"/>
                  </a:cxn>
                  <a:cxn ang="0">
                    <a:pos x="840" y="192"/>
                  </a:cxn>
                  <a:cxn ang="0">
                    <a:pos x="841" y="262"/>
                  </a:cxn>
                  <a:cxn ang="0">
                    <a:pos x="774" y="328"/>
                  </a:cxn>
                  <a:cxn ang="0">
                    <a:pos x="667" y="331"/>
                  </a:cxn>
                  <a:cxn ang="0">
                    <a:pos x="625" y="290"/>
                  </a:cxn>
                  <a:cxn ang="0">
                    <a:pos x="658" y="215"/>
                  </a:cxn>
                  <a:cxn ang="0">
                    <a:pos x="544" y="148"/>
                  </a:cxn>
                  <a:cxn ang="0">
                    <a:pos x="425" y="87"/>
                  </a:cxn>
                  <a:cxn ang="0">
                    <a:pos x="373" y="10"/>
                  </a:cxn>
                  <a:cxn ang="0">
                    <a:pos x="286" y="22"/>
                  </a:cxn>
                  <a:cxn ang="0">
                    <a:pos x="234" y="24"/>
                  </a:cxn>
                  <a:cxn ang="0">
                    <a:pos x="171" y="8"/>
                  </a:cxn>
                  <a:cxn ang="0">
                    <a:pos x="98" y="54"/>
                  </a:cxn>
                  <a:cxn ang="0">
                    <a:pos x="67" y="116"/>
                  </a:cxn>
                  <a:cxn ang="0">
                    <a:pos x="27" y="179"/>
                  </a:cxn>
                  <a:cxn ang="0">
                    <a:pos x="55" y="251"/>
                  </a:cxn>
                  <a:cxn ang="0">
                    <a:pos x="51" y="319"/>
                  </a:cxn>
                  <a:cxn ang="0">
                    <a:pos x="0" y="432"/>
                  </a:cxn>
                  <a:cxn ang="0">
                    <a:pos x="12" y="609"/>
                  </a:cxn>
                  <a:cxn ang="0">
                    <a:pos x="76" y="696"/>
                  </a:cxn>
                  <a:cxn ang="0">
                    <a:pos x="60" y="753"/>
                  </a:cxn>
                  <a:cxn ang="0">
                    <a:pos x="60" y="808"/>
                  </a:cxn>
                  <a:cxn ang="0">
                    <a:pos x="81" y="850"/>
                  </a:cxn>
                  <a:cxn ang="0">
                    <a:pos x="53" y="900"/>
                  </a:cxn>
                  <a:cxn ang="0">
                    <a:pos x="82" y="983"/>
                  </a:cxn>
                  <a:cxn ang="0">
                    <a:pos x="81" y="1055"/>
                  </a:cxn>
                  <a:cxn ang="0">
                    <a:pos x="78" y="1152"/>
                  </a:cxn>
                  <a:cxn ang="0">
                    <a:pos x="137" y="1265"/>
                  </a:cxn>
                  <a:cxn ang="0">
                    <a:pos x="198" y="1394"/>
                  </a:cxn>
                  <a:cxn ang="0">
                    <a:pos x="217" y="1463"/>
                  </a:cxn>
                  <a:cxn ang="0">
                    <a:pos x="230" y="1526"/>
                  </a:cxn>
                  <a:cxn ang="0">
                    <a:pos x="213" y="1590"/>
                  </a:cxn>
                  <a:cxn ang="0">
                    <a:pos x="201" y="1644"/>
                  </a:cxn>
                  <a:cxn ang="0">
                    <a:pos x="228" y="1718"/>
                  </a:cxn>
                  <a:cxn ang="0">
                    <a:pos x="311" y="1772"/>
                  </a:cxn>
                  <a:cxn ang="0">
                    <a:pos x="392" y="1798"/>
                  </a:cxn>
                  <a:cxn ang="0">
                    <a:pos x="451" y="1786"/>
                  </a:cxn>
                  <a:cxn ang="0">
                    <a:pos x="454" y="1703"/>
                  </a:cxn>
                  <a:cxn ang="0">
                    <a:pos x="470" y="1612"/>
                  </a:cxn>
                  <a:cxn ang="0">
                    <a:pos x="495" y="1509"/>
                  </a:cxn>
                  <a:cxn ang="0">
                    <a:pos x="420" y="1486"/>
                  </a:cxn>
                  <a:cxn ang="0">
                    <a:pos x="401" y="1430"/>
                  </a:cxn>
                  <a:cxn ang="0">
                    <a:pos x="453" y="1395"/>
                  </a:cxn>
                  <a:cxn ang="0">
                    <a:pos x="484" y="1332"/>
                  </a:cxn>
                  <a:cxn ang="0">
                    <a:pos x="455" y="1224"/>
                  </a:cxn>
                  <a:cxn ang="0">
                    <a:pos x="425" y="1141"/>
                  </a:cxn>
                  <a:cxn ang="0">
                    <a:pos x="518" y="1166"/>
                  </a:cxn>
                  <a:cxn ang="0">
                    <a:pos x="568" y="1151"/>
                  </a:cxn>
                  <a:cxn ang="0">
                    <a:pos x="558" y="1078"/>
                  </a:cxn>
                  <a:cxn ang="0">
                    <a:pos x="565" y="1030"/>
                  </a:cxn>
                  <a:cxn ang="0">
                    <a:pos x="676" y="1023"/>
                  </a:cxn>
                  <a:cxn ang="0">
                    <a:pos x="795" y="973"/>
                  </a:cxn>
                  <a:cxn ang="0">
                    <a:pos x="816" y="882"/>
                  </a:cxn>
                  <a:cxn ang="0">
                    <a:pos x="781" y="852"/>
                  </a:cxn>
                  <a:cxn ang="0">
                    <a:pos x="758" y="810"/>
                  </a:cxn>
                  <a:cxn ang="0">
                    <a:pos x="692" y="752"/>
                  </a:cxn>
                  <a:cxn ang="0">
                    <a:pos x="701" y="532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85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564314" y="3080569"/>
              <a:ext cx="123825" cy="109538"/>
            </a:xfrm>
            <a:custGeom>
              <a:avLst/>
              <a:gdLst/>
              <a:ahLst/>
              <a:cxnLst>
                <a:cxn ang="0">
                  <a:pos x="33" y="87"/>
                </a:cxn>
                <a:cxn ang="0">
                  <a:pos x="59" y="142"/>
                </a:cxn>
                <a:cxn ang="0">
                  <a:pos x="59" y="179"/>
                </a:cxn>
                <a:cxn ang="0">
                  <a:pos x="102" y="196"/>
                </a:cxn>
                <a:cxn ang="0">
                  <a:pos x="122" y="202"/>
                </a:cxn>
                <a:cxn ang="0">
                  <a:pos x="139" y="204"/>
                </a:cxn>
                <a:cxn ang="0">
                  <a:pos x="146" y="201"/>
                </a:cxn>
                <a:cxn ang="0">
                  <a:pos x="151" y="194"/>
                </a:cxn>
                <a:cxn ang="0">
                  <a:pos x="160" y="172"/>
                </a:cxn>
                <a:cxn ang="0">
                  <a:pos x="172" y="149"/>
                </a:cxn>
                <a:cxn ang="0">
                  <a:pos x="181" y="141"/>
                </a:cxn>
                <a:cxn ang="0">
                  <a:pos x="192" y="136"/>
                </a:cxn>
                <a:cxn ang="0">
                  <a:pos x="209" y="138"/>
                </a:cxn>
                <a:cxn ang="0">
                  <a:pos x="220" y="142"/>
                </a:cxn>
                <a:cxn ang="0">
                  <a:pos x="228" y="148"/>
                </a:cxn>
                <a:cxn ang="0">
                  <a:pos x="231" y="154"/>
                </a:cxn>
                <a:cxn ang="0">
                  <a:pos x="234" y="164"/>
                </a:cxn>
                <a:cxn ang="0">
                  <a:pos x="231" y="167"/>
                </a:cxn>
                <a:cxn ang="0">
                  <a:pos x="234" y="153"/>
                </a:cxn>
                <a:cxn ang="0">
                  <a:pos x="238" y="140"/>
                </a:cxn>
                <a:cxn ang="0">
                  <a:pos x="245" y="117"/>
                </a:cxn>
                <a:cxn ang="0">
                  <a:pos x="254" y="115"/>
                </a:cxn>
                <a:cxn ang="0">
                  <a:pos x="264" y="110"/>
                </a:cxn>
                <a:cxn ang="0">
                  <a:pos x="279" y="99"/>
                </a:cxn>
                <a:cxn ang="0">
                  <a:pos x="252" y="75"/>
                </a:cxn>
                <a:cxn ang="0">
                  <a:pos x="227" y="58"/>
                </a:cxn>
                <a:cxn ang="0">
                  <a:pos x="204" y="44"/>
                </a:cxn>
                <a:cxn ang="0">
                  <a:pos x="185" y="31"/>
                </a:cxn>
                <a:cxn ang="0">
                  <a:pos x="146" y="68"/>
                </a:cxn>
                <a:cxn ang="0">
                  <a:pos x="79" y="25"/>
                </a:cxn>
                <a:cxn ang="0">
                  <a:pos x="52" y="12"/>
                </a:cxn>
                <a:cxn ang="0">
                  <a:pos x="46" y="62"/>
                </a:cxn>
                <a:cxn ang="0">
                  <a:pos x="0" y="56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6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030913" y="2653532"/>
              <a:ext cx="209550" cy="150812"/>
            </a:xfrm>
            <a:custGeom>
              <a:avLst/>
              <a:gdLst/>
              <a:ahLst/>
              <a:cxnLst>
                <a:cxn ang="0">
                  <a:pos x="252" y="20"/>
                </a:cxn>
                <a:cxn ang="0">
                  <a:pos x="300" y="44"/>
                </a:cxn>
                <a:cxn ang="0">
                  <a:pos x="372" y="44"/>
                </a:cxn>
                <a:cxn ang="0">
                  <a:pos x="425" y="131"/>
                </a:cxn>
                <a:cxn ang="0">
                  <a:pos x="485" y="167"/>
                </a:cxn>
                <a:cxn ang="0">
                  <a:pos x="412" y="173"/>
                </a:cxn>
                <a:cxn ang="0">
                  <a:pos x="433" y="210"/>
                </a:cxn>
                <a:cxn ang="0">
                  <a:pos x="392" y="241"/>
                </a:cxn>
                <a:cxn ang="0">
                  <a:pos x="385" y="291"/>
                </a:cxn>
                <a:cxn ang="0">
                  <a:pos x="285" y="266"/>
                </a:cxn>
                <a:cxn ang="0">
                  <a:pos x="173" y="254"/>
                </a:cxn>
                <a:cxn ang="0">
                  <a:pos x="60" y="266"/>
                </a:cxn>
                <a:cxn ang="0">
                  <a:pos x="15" y="271"/>
                </a:cxn>
                <a:cxn ang="0">
                  <a:pos x="8" y="257"/>
                </a:cxn>
                <a:cxn ang="0">
                  <a:pos x="3" y="244"/>
                </a:cxn>
                <a:cxn ang="0">
                  <a:pos x="0" y="229"/>
                </a:cxn>
                <a:cxn ang="0">
                  <a:pos x="5" y="219"/>
                </a:cxn>
                <a:cxn ang="0">
                  <a:pos x="14" y="207"/>
                </a:cxn>
                <a:cxn ang="0">
                  <a:pos x="23" y="189"/>
                </a:cxn>
                <a:cxn ang="0">
                  <a:pos x="31" y="166"/>
                </a:cxn>
                <a:cxn ang="0">
                  <a:pos x="41" y="137"/>
                </a:cxn>
                <a:cxn ang="0">
                  <a:pos x="48" y="126"/>
                </a:cxn>
                <a:cxn ang="0">
                  <a:pos x="60" y="119"/>
                </a:cxn>
                <a:cxn ang="0">
                  <a:pos x="87" y="111"/>
                </a:cxn>
                <a:cxn ang="0">
                  <a:pos x="89" y="106"/>
                </a:cxn>
                <a:cxn ang="0">
                  <a:pos x="94" y="100"/>
                </a:cxn>
                <a:cxn ang="0">
                  <a:pos x="101" y="95"/>
                </a:cxn>
                <a:cxn ang="0">
                  <a:pos x="106" y="93"/>
                </a:cxn>
                <a:cxn ang="0">
                  <a:pos x="106" y="76"/>
                </a:cxn>
                <a:cxn ang="0">
                  <a:pos x="109" y="70"/>
                </a:cxn>
                <a:cxn ang="0">
                  <a:pos x="113" y="67"/>
                </a:cxn>
                <a:cxn ang="0">
                  <a:pos x="122" y="69"/>
                </a:cxn>
                <a:cxn ang="0">
                  <a:pos x="128" y="69"/>
                </a:cxn>
                <a:cxn ang="0">
                  <a:pos x="132" y="66"/>
                </a:cxn>
                <a:cxn ang="0">
                  <a:pos x="134" y="56"/>
                </a:cxn>
                <a:cxn ang="0">
                  <a:pos x="139" y="44"/>
                </a:cxn>
                <a:cxn ang="0">
                  <a:pos x="144" y="39"/>
                </a:cxn>
                <a:cxn ang="0">
                  <a:pos x="213" y="0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7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888038" y="2985320"/>
              <a:ext cx="82550" cy="87313"/>
            </a:xfrm>
            <a:custGeom>
              <a:avLst/>
              <a:gdLst/>
              <a:ahLst/>
              <a:cxnLst>
                <a:cxn ang="0">
                  <a:pos x="86" y="147"/>
                </a:cxn>
                <a:cxn ang="0">
                  <a:pos x="83" y="136"/>
                </a:cxn>
                <a:cxn ang="0">
                  <a:pos x="78" y="127"/>
                </a:cxn>
                <a:cxn ang="0">
                  <a:pos x="74" y="118"/>
                </a:cxn>
                <a:cxn ang="0">
                  <a:pos x="70" y="110"/>
                </a:cxn>
                <a:cxn ang="0">
                  <a:pos x="60" y="95"/>
                </a:cxn>
                <a:cxn ang="0">
                  <a:pos x="49" y="82"/>
                </a:cxn>
                <a:cxn ang="0">
                  <a:pos x="37" y="70"/>
                </a:cxn>
                <a:cxn ang="0">
                  <a:pos x="25" y="56"/>
                </a:cxn>
                <a:cxn ang="0">
                  <a:pos x="13" y="38"/>
                </a:cxn>
                <a:cxn ang="0">
                  <a:pos x="0" y="18"/>
                </a:cxn>
                <a:cxn ang="0">
                  <a:pos x="0" y="0"/>
                </a:cxn>
                <a:cxn ang="0">
                  <a:pos x="7" y="2"/>
                </a:cxn>
                <a:cxn ang="0">
                  <a:pos x="14" y="3"/>
                </a:cxn>
                <a:cxn ang="0">
                  <a:pos x="20" y="4"/>
                </a:cxn>
                <a:cxn ang="0">
                  <a:pos x="27" y="4"/>
                </a:cxn>
                <a:cxn ang="0">
                  <a:pos x="33" y="4"/>
                </a:cxn>
                <a:cxn ang="0">
                  <a:pos x="40" y="3"/>
                </a:cxn>
                <a:cxn ang="0">
                  <a:pos x="47" y="2"/>
                </a:cxn>
                <a:cxn ang="0">
                  <a:pos x="53" y="0"/>
                </a:cxn>
                <a:cxn ang="0">
                  <a:pos x="140" y="12"/>
                </a:cxn>
                <a:cxn ang="0">
                  <a:pos x="186" y="91"/>
                </a:cxn>
                <a:cxn ang="0">
                  <a:pos x="171" y="112"/>
                </a:cxn>
                <a:cxn ang="0">
                  <a:pos x="155" y="129"/>
                </a:cxn>
                <a:cxn ang="0">
                  <a:pos x="149" y="137"/>
                </a:cxn>
                <a:cxn ang="0">
                  <a:pos x="144" y="145"/>
                </a:cxn>
                <a:cxn ang="0">
                  <a:pos x="142" y="150"/>
                </a:cxn>
                <a:cxn ang="0">
                  <a:pos x="141" y="156"/>
                </a:cxn>
                <a:cxn ang="0">
                  <a:pos x="140" y="161"/>
                </a:cxn>
                <a:cxn ang="0">
                  <a:pos x="140" y="166"/>
                </a:cxn>
                <a:cxn ang="0">
                  <a:pos x="86" y="147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8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252913" y="4422007"/>
              <a:ext cx="82550" cy="57150"/>
            </a:xfrm>
            <a:custGeom>
              <a:avLst/>
              <a:gdLst/>
              <a:ahLst/>
              <a:cxnLst>
                <a:cxn ang="0">
                  <a:pos x="153" y="21"/>
                </a:cxn>
                <a:cxn ang="0">
                  <a:pos x="146" y="21"/>
                </a:cxn>
                <a:cxn ang="0">
                  <a:pos x="141" y="20"/>
                </a:cxn>
                <a:cxn ang="0">
                  <a:pos x="136" y="18"/>
                </a:cxn>
                <a:cxn ang="0">
                  <a:pos x="133" y="15"/>
                </a:cxn>
                <a:cxn ang="0">
                  <a:pos x="130" y="13"/>
                </a:cxn>
                <a:cxn ang="0">
                  <a:pos x="125" y="11"/>
                </a:cxn>
                <a:cxn ang="0">
                  <a:pos x="120" y="10"/>
                </a:cxn>
                <a:cxn ang="0">
                  <a:pos x="113" y="9"/>
                </a:cxn>
                <a:cxn ang="0">
                  <a:pos x="100" y="8"/>
                </a:cxn>
                <a:cxn ang="0">
                  <a:pos x="88" y="6"/>
                </a:cxn>
                <a:cxn ang="0">
                  <a:pos x="75" y="3"/>
                </a:cxn>
                <a:cxn ang="0">
                  <a:pos x="64" y="1"/>
                </a:cxn>
                <a:cxn ang="0">
                  <a:pos x="60" y="0"/>
                </a:cxn>
                <a:cxn ang="0">
                  <a:pos x="54" y="0"/>
                </a:cxn>
                <a:cxn ang="0">
                  <a:pos x="51" y="1"/>
                </a:cxn>
                <a:cxn ang="0">
                  <a:pos x="46" y="2"/>
                </a:cxn>
                <a:cxn ang="0">
                  <a:pos x="44" y="4"/>
                </a:cxn>
                <a:cxn ang="0">
                  <a:pos x="42" y="6"/>
                </a:cxn>
                <a:cxn ang="0">
                  <a:pos x="41" y="10"/>
                </a:cxn>
                <a:cxn ang="0">
                  <a:pos x="40" y="15"/>
                </a:cxn>
                <a:cxn ang="0">
                  <a:pos x="34" y="27"/>
                </a:cxn>
                <a:cxn ang="0">
                  <a:pos x="20" y="47"/>
                </a:cxn>
                <a:cxn ang="0">
                  <a:pos x="7" y="66"/>
                </a:cxn>
                <a:cxn ang="0">
                  <a:pos x="0" y="77"/>
                </a:cxn>
                <a:cxn ang="0">
                  <a:pos x="8" y="77"/>
                </a:cxn>
                <a:cxn ang="0">
                  <a:pos x="16" y="78"/>
                </a:cxn>
                <a:cxn ang="0">
                  <a:pos x="21" y="79"/>
                </a:cxn>
                <a:cxn ang="0">
                  <a:pos x="25" y="81"/>
                </a:cxn>
                <a:cxn ang="0">
                  <a:pos x="33" y="85"/>
                </a:cxn>
                <a:cxn ang="0">
                  <a:pos x="40" y="89"/>
                </a:cxn>
                <a:cxn ang="0">
                  <a:pos x="45" y="94"/>
                </a:cxn>
                <a:cxn ang="0">
                  <a:pos x="52" y="98"/>
                </a:cxn>
                <a:cxn ang="0">
                  <a:pos x="56" y="100"/>
                </a:cxn>
                <a:cxn ang="0">
                  <a:pos x="61" y="101"/>
                </a:cxn>
                <a:cxn ang="0">
                  <a:pos x="66" y="102"/>
                </a:cxn>
                <a:cxn ang="0">
                  <a:pos x="74" y="102"/>
                </a:cxn>
                <a:cxn ang="0">
                  <a:pos x="107" y="103"/>
                </a:cxn>
                <a:cxn ang="0">
                  <a:pos x="131" y="104"/>
                </a:cxn>
                <a:cxn ang="0">
                  <a:pos x="135" y="103"/>
                </a:cxn>
                <a:cxn ang="0">
                  <a:pos x="139" y="102"/>
                </a:cxn>
                <a:cxn ang="0">
                  <a:pos x="142" y="100"/>
                </a:cxn>
                <a:cxn ang="0">
                  <a:pos x="145" y="97"/>
                </a:cxn>
                <a:cxn ang="0">
                  <a:pos x="147" y="94"/>
                </a:cxn>
                <a:cxn ang="0">
                  <a:pos x="150" y="88"/>
                </a:cxn>
                <a:cxn ang="0">
                  <a:pos x="152" y="83"/>
                </a:cxn>
                <a:cxn ang="0">
                  <a:pos x="153" y="77"/>
                </a:cxn>
                <a:cxn ang="0">
                  <a:pos x="186" y="27"/>
                </a:cxn>
                <a:cxn ang="0">
                  <a:pos x="153" y="21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9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6046788" y="3020244"/>
              <a:ext cx="133350" cy="96838"/>
            </a:xfrm>
            <a:custGeom>
              <a:avLst/>
              <a:gdLst/>
              <a:ahLst/>
              <a:cxnLst>
                <a:cxn ang="0">
                  <a:pos x="79" y="38"/>
                </a:cxn>
                <a:cxn ang="0">
                  <a:pos x="115" y="26"/>
                </a:cxn>
                <a:cxn ang="0">
                  <a:pos x="148" y="14"/>
                </a:cxn>
                <a:cxn ang="0">
                  <a:pos x="178" y="4"/>
                </a:cxn>
                <a:cxn ang="0">
                  <a:pos x="211" y="0"/>
                </a:cxn>
                <a:cxn ang="0">
                  <a:pos x="236" y="2"/>
                </a:cxn>
                <a:cxn ang="0">
                  <a:pos x="256" y="6"/>
                </a:cxn>
                <a:cxn ang="0">
                  <a:pos x="292" y="12"/>
                </a:cxn>
                <a:cxn ang="0">
                  <a:pos x="287" y="28"/>
                </a:cxn>
                <a:cxn ang="0">
                  <a:pos x="278" y="42"/>
                </a:cxn>
                <a:cxn ang="0">
                  <a:pos x="269" y="53"/>
                </a:cxn>
                <a:cxn ang="0">
                  <a:pos x="265" y="62"/>
                </a:cxn>
                <a:cxn ang="0">
                  <a:pos x="266" y="66"/>
                </a:cxn>
                <a:cxn ang="0">
                  <a:pos x="271" y="71"/>
                </a:cxn>
                <a:cxn ang="0">
                  <a:pos x="285" y="79"/>
                </a:cxn>
                <a:cxn ang="0">
                  <a:pos x="311" y="93"/>
                </a:cxn>
                <a:cxn ang="0">
                  <a:pos x="287" y="107"/>
                </a:cxn>
                <a:cxn ang="0">
                  <a:pos x="281" y="115"/>
                </a:cxn>
                <a:cxn ang="0">
                  <a:pos x="278" y="129"/>
                </a:cxn>
                <a:cxn ang="0">
                  <a:pos x="252" y="136"/>
                </a:cxn>
                <a:cxn ang="0">
                  <a:pos x="211" y="148"/>
                </a:cxn>
                <a:cxn ang="0">
                  <a:pos x="191" y="168"/>
                </a:cxn>
                <a:cxn ang="0">
                  <a:pos x="178" y="176"/>
                </a:cxn>
                <a:cxn ang="0">
                  <a:pos x="165" y="179"/>
                </a:cxn>
                <a:cxn ang="0">
                  <a:pos x="151" y="175"/>
                </a:cxn>
                <a:cxn ang="0">
                  <a:pos x="137" y="167"/>
                </a:cxn>
                <a:cxn ang="0">
                  <a:pos x="120" y="158"/>
                </a:cxn>
                <a:cxn ang="0">
                  <a:pos x="98" y="155"/>
                </a:cxn>
                <a:cxn ang="0">
                  <a:pos x="66" y="155"/>
                </a:cxn>
                <a:cxn ang="0">
                  <a:pos x="51" y="157"/>
                </a:cxn>
                <a:cxn ang="0">
                  <a:pos x="39" y="161"/>
                </a:cxn>
                <a:cxn ang="0">
                  <a:pos x="36" y="142"/>
                </a:cxn>
                <a:cxn ang="0">
                  <a:pos x="32" y="123"/>
                </a:cxn>
                <a:cxn ang="0">
                  <a:pos x="21" y="128"/>
                </a:cxn>
                <a:cxn ang="0">
                  <a:pos x="13" y="129"/>
                </a:cxn>
                <a:cxn ang="0">
                  <a:pos x="7" y="126"/>
                </a:cxn>
                <a:cxn ang="0">
                  <a:pos x="3" y="121"/>
                </a:cxn>
                <a:cxn ang="0">
                  <a:pos x="0" y="105"/>
                </a:cxn>
                <a:cxn ang="0">
                  <a:pos x="0" y="87"/>
                </a:cxn>
                <a:cxn ang="0">
                  <a:pos x="3" y="82"/>
                </a:cxn>
                <a:cxn ang="0">
                  <a:pos x="13" y="78"/>
                </a:cxn>
                <a:cxn ang="0">
                  <a:pos x="21" y="72"/>
                </a:cxn>
                <a:cxn ang="0">
                  <a:pos x="25" y="68"/>
                </a:cxn>
                <a:cxn ang="0">
                  <a:pos x="26" y="62"/>
                </a:cxn>
                <a:cxn ang="0">
                  <a:pos x="24" y="51"/>
                </a:cxn>
                <a:cxn ang="0">
                  <a:pos x="19" y="43"/>
                </a:cxn>
                <a:cxn ang="0">
                  <a:pos x="8" y="29"/>
                </a:cxn>
                <a:cxn ang="0">
                  <a:pos x="1" y="18"/>
                </a:cxn>
                <a:cxn ang="0">
                  <a:pos x="1" y="13"/>
                </a:cxn>
                <a:cxn ang="0">
                  <a:pos x="6" y="6"/>
                </a:cxn>
                <a:cxn ang="0">
                  <a:pos x="0" y="6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0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402263" y="3947344"/>
              <a:ext cx="177800" cy="165100"/>
            </a:xfrm>
            <a:custGeom>
              <a:avLst/>
              <a:gdLst/>
              <a:ahLst/>
              <a:cxnLst>
                <a:cxn ang="0">
                  <a:pos x="6" y="260"/>
                </a:cxn>
                <a:cxn ang="0">
                  <a:pos x="13" y="237"/>
                </a:cxn>
                <a:cxn ang="0">
                  <a:pos x="17" y="202"/>
                </a:cxn>
                <a:cxn ang="0">
                  <a:pos x="23" y="173"/>
                </a:cxn>
                <a:cxn ang="0">
                  <a:pos x="32" y="162"/>
                </a:cxn>
                <a:cxn ang="0">
                  <a:pos x="48" y="150"/>
                </a:cxn>
                <a:cxn ang="0">
                  <a:pos x="72" y="141"/>
                </a:cxn>
                <a:cxn ang="0">
                  <a:pos x="93" y="134"/>
                </a:cxn>
                <a:cxn ang="0">
                  <a:pos x="104" y="125"/>
                </a:cxn>
                <a:cxn ang="0">
                  <a:pos x="113" y="114"/>
                </a:cxn>
                <a:cxn ang="0">
                  <a:pos x="123" y="93"/>
                </a:cxn>
                <a:cxn ang="0">
                  <a:pos x="136" y="69"/>
                </a:cxn>
                <a:cxn ang="0">
                  <a:pos x="147" y="55"/>
                </a:cxn>
                <a:cxn ang="0">
                  <a:pos x="155" y="51"/>
                </a:cxn>
                <a:cxn ang="0">
                  <a:pos x="170" y="51"/>
                </a:cxn>
                <a:cxn ang="0">
                  <a:pos x="189" y="48"/>
                </a:cxn>
                <a:cxn ang="0">
                  <a:pos x="213" y="35"/>
                </a:cxn>
                <a:cxn ang="0">
                  <a:pos x="237" y="20"/>
                </a:cxn>
                <a:cxn ang="0">
                  <a:pos x="257" y="11"/>
                </a:cxn>
                <a:cxn ang="0">
                  <a:pos x="282" y="4"/>
                </a:cxn>
                <a:cxn ang="0">
                  <a:pos x="314" y="0"/>
                </a:cxn>
                <a:cxn ang="0">
                  <a:pos x="332" y="14"/>
                </a:cxn>
                <a:cxn ang="0">
                  <a:pos x="337" y="34"/>
                </a:cxn>
                <a:cxn ang="0">
                  <a:pos x="343" y="50"/>
                </a:cxn>
                <a:cxn ang="0">
                  <a:pos x="352" y="62"/>
                </a:cxn>
                <a:cxn ang="0">
                  <a:pos x="368" y="74"/>
                </a:cxn>
                <a:cxn ang="0">
                  <a:pos x="382" y="85"/>
                </a:cxn>
                <a:cxn ang="0">
                  <a:pos x="390" y="93"/>
                </a:cxn>
                <a:cxn ang="0">
                  <a:pos x="396" y="115"/>
                </a:cxn>
                <a:cxn ang="0">
                  <a:pos x="398" y="143"/>
                </a:cxn>
                <a:cxn ang="0">
                  <a:pos x="398" y="170"/>
                </a:cxn>
                <a:cxn ang="0">
                  <a:pos x="402" y="196"/>
                </a:cxn>
                <a:cxn ang="0">
                  <a:pos x="398" y="217"/>
                </a:cxn>
                <a:cxn ang="0">
                  <a:pos x="382" y="226"/>
                </a:cxn>
                <a:cxn ang="0">
                  <a:pos x="365" y="241"/>
                </a:cxn>
                <a:cxn ang="0">
                  <a:pos x="363" y="237"/>
                </a:cxn>
                <a:cxn ang="0">
                  <a:pos x="358" y="233"/>
                </a:cxn>
                <a:cxn ang="0">
                  <a:pos x="342" y="227"/>
                </a:cxn>
                <a:cxn ang="0">
                  <a:pos x="319" y="223"/>
                </a:cxn>
                <a:cxn ang="0">
                  <a:pos x="152" y="241"/>
                </a:cxn>
                <a:cxn ang="0">
                  <a:pos x="150" y="257"/>
                </a:cxn>
                <a:cxn ang="0">
                  <a:pos x="150" y="274"/>
                </a:cxn>
                <a:cxn ang="0">
                  <a:pos x="152" y="314"/>
                </a:cxn>
                <a:cxn ang="0">
                  <a:pos x="139" y="312"/>
                </a:cxn>
                <a:cxn ang="0">
                  <a:pos x="126" y="305"/>
                </a:cxn>
                <a:cxn ang="0">
                  <a:pos x="100" y="290"/>
                </a:cxn>
                <a:cxn ang="0">
                  <a:pos x="89" y="307"/>
                </a:cxn>
                <a:cxn ang="0">
                  <a:pos x="82" y="312"/>
                </a:cxn>
                <a:cxn ang="0">
                  <a:pos x="73" y="314"/>
                </a:cxn>
                <a:cxn ang="0">
                  <a:pos x="60" y="311"/>
                </a:cxn>
                <a:cxn ang="0">
                  <a:pos x="47" y="302"/>
                </a:cxn>
                <a:cxn ang="0">
                  <a:pos x="28" y="291"/>
                </a:cxn>
                <a:cxn ang="0">
                  <a:pos x="0" y="284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1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749926" y="4015607"/>
              <a:ext cx="193675" cy="349250"/>
            </a:xfrm>
            <a:custGeom>
              <a:avLst/>
              <a:gdLst/>
              <a:ahLst/>
              <a:cxnLst>
                <a:cxn ang="0">
                  <a:pos x="335" y="36"/>
                </a:cxn>
                <a:cxn ang="0">
                  <a:pos x="321" y="98"/>
                </a:cxn>
                <a:cxn ang="0">
                  <a:pos x="277" y="162"/>
                </a:cxn>
                <a:cxn ang="0">
                  <a:pos x="253" y="219"/>
                </a:cxn>
                <a:cxn ang="0">
                  <a:pos x="232" y="272"/>
                </a:cxn>
                <a:cxn ang="0">
                  <a:pos x="209" y="329"/>
                </a:cxn>
                <a:cxn ang="0">
                  <a:pos x="196" y="362"/>
                </a:cxn>
                <a:cxn ang="0">
                  <a:pos x="180" y="380"/>
                </a:cxn>
                <a:cxn ang="0">
                  <a:pos x="167" y="390"/>
                </a:cxn>
                <a:cxn ang="0">
                  <a:pos x="141" y="382"/>
                </a:cxn>
                <a:cxn ang="0">
                  <a:pos x="121" y="370"/>
                </a:cxn>
                <a:cxn ang="0">
                  <a:pos x="94" y="367"/>
                </a:cxn>
                <a:cxn ang="0">
                  <a:pos x="64" y="380"/>
                </a:cxn>
                <a:cxn ang="0">
                  <a:pos x="44" y="403"/>
                </a:cxn>
                <a:cxn ang="0">
                  <a:pos x="21" y="454"/>
                </a:cxn>
                <a:cxn ang="0">
                  <a:pos x="7" y="482"/>
                </a:cxn>
                <a:cxn ang="0">
                  <a:pos x="1" y="500"/>
                </a:cxn>
                <a:cxn ang="0">
                  <a:pos x="8" y="517"/>
                </a:cxn>
                <a:cxn ang="0">
                  <a:pos x="20" y="526"/>
                </a:cxn>
                <a:cxn ang="0">
                  <a:pos x="55" y="526"/>
                </a:cxn>
                <a:cxn ang="0">
                  <a:pos x="71" y="548"/>
                </a:cxn>
                <a:cxn ang="0">
                  <a:pos x="73" y="590"/>
                </a:cxn>
                <a:cxn ang="0">
                  <a:pos x="67" y="630"/>
                </a:cxn>
                <a:cxn ang="0">
                  <a:pos x="433" y="661"/>
                </a:cxn>
                <a:cxn ang="0">
                  <a:pos x="442" y="582"/>
                </a:cxn>
                <a:cxn ang="0">
                  <a:pos x="415" y="568"/>
                </a:cxn>
                <a:cxn ang="0">
                  <a:pos x="373" y="557"/>
                </a:cxn>
                <a:cxn ang="0">
                  <a:pos x="353" y="549"/>
                </a:cxn>
                <a:cxn ang="0">
                  <a:pos x="340" y="537"/>
                </a:cxn>
                <a:cxn ang="0">
                  <a:pos x="333" y="515"/>
                </a:cxn>
                <a:cxn ang="0">
                  <a:pos x="333" y="464"/>
                </a:cxn>
                <a:cxn ang="0">
                  <a:pos x="337" y="428"/>
                </a:cxn>
                <a:cxn ang="0">
                  <a:pos x="351" y="397"/>
                </a:cxn>
                <a:cxn ang="0">
                  <a:pos x="373" y="364"/>
                </a:cxn>
                <a:cxn ang="0">
                  <a:pos x="392" y="330"/>
                </a:cxn>
                <a:cxn ang="0">
                  <a:pos x="399" y="297"/>
                </a:cxn>
                <a:cxn ang="0">
                  <a:pos x="389" y="267"/>
                </a:cxn>
                <a:cxn ang="0">
                  <a:pos x="373" y="246"/>
                </a:cxn>
                <a:cxn ang="0">
                  <a:pos x="343" y="217"/>
                </a:cxn>
                <a:cxn ang="0">
                  <a:pos x="333" y="192"/>
                </a:cxn>
                <a:cxn ang="0">
                  <a:pos x="335" y="173"/>
                </a:cxn>
                <a:cxn ang="0">
                  <a:pos x="353" y="164"/>
                </a:cxn>
                <a:cxn ang="0">
                  <a:pos x="406" y="162"/>
                </a:cxn>
                <a:cxn ang="0">
                  <a:pos x="395" y="151"/>
                </a:cxn>
                <a:cxn ang="0">
                  <a:pos x="379" y="117"/>
                </a:cxn>
                <a:cxn ang="0">
                  <a:pos x="371" y="73"/>
                </a:cxn>
                <a:cxn ang="0">
                  <a:pos x="373" y="45"/>
                </a:cxn>
                <a:cxn ang="0">
                  <a:pos x="367" y="11"/>
                </a:cxn>
                <a:cxn ang="0">
                  <a:pos x="347" y="0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2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201026" y="3774307"/>
              <a:ext cx="55563" cy="57150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4" y="49"/>
                </a:cxn>
                <a:cxn ang="0">
                  <a:pos x="10" y="41"/>
                </a:cxn>
                <a:cxn ang="0">
                  <a:pos x="16" y="33"/>
                </a:cxn>
                <a:cxn ang="0">
                  <a:pos x="24" y="25"/>
                </a:cxn>
                <a:cxn ang="0">
                  <a:pos x="37" y="11"/>
                </a:cxn>
                <a:cxn ang="0">
                  <a:pos x="47" y="0"/>
                </a:cxn>
                <a:cxn ang="0">
                  <a:pos x="113" y="0"/>
                </a:cxn>
                <a:cxn ang="0">
                  <a:pos x="114" y="4"/>
                </a:cxn>
                <a:cxn ang="0">
                  <a:pos x="115" y="8"/>
                </a:cxn>
                <a:cxn ang="0">
                  <a:pos x="117" y="12"/>
                </a:cxn>
                <a:cxn ang="0">
                  <a:pos x="119" y="14"/>
                </a:cxn>
                <a:cxn ang="0">
                  <a:pos x="124" y="20"/>
                </a:cxn>
                <a:cxn ang="0">
                  <a:pos x="126" y="24"/>
                </a:cxn>
                <a:cxn ang="0">
                  <a:pos x="126" y="32"/>
                </a:cxn>
                <a:cxn ang="0">
                  <a:pos x="125" y="41"/>
                </a:cxn>
                <a:cxn ang="0">
                  <a:pos x="124" y="48"/>
                </a:cxn>
                <a:cxn ang="0">
                  <a:pos x="122" y="55"/>
                </a:cxn>
                <a:cxn ang="0">
                  <a:pos x="119" y="62"/>
                </a:cxn>
                <a:cxn ang="0">
                  <a:pos x="116" y="69"/>
                </a:cxn>
                <a:cxn ang="0">
                  <a:pos x="112" y="75"/>
                </a:cxn>
                <a:cxn ang="0">
                  <a:pos x="108" y="81"/>
                </a:cxn>
                <a:cxn ang="0">
                  <a:pos x="104" y="86"/>
                </a:cxn>
                <a:cxn ang="0">
                  <a:pos x="99" y="90"/>
                </a:cxn>
                <a:cxn ang="0">
                  <a:pos x="93" y="94"/>
                </a:cxn>
                <a:cxn ang="0">
                  <a:pos x="88" y="99"/>
                </a:cxn>
                <a:cxn ang="0">
                  <a:pos x="81" y="101"/>
                </a:cxn>
                <a:cxn ang="0">
                  <a:pos x="74" y="103"/>
                </a:cxn>
                <a:cxn ang="0">
                  <a:pos x="67" y="105"/>
                </a:cxn>
                <a:cxn ang="0">
                  <a:pos x="60" y="105"/>
                </a:cxn>
                <a:cxn ang="0">
                  <a:pos x="48" y="104"/>
                </a:cxn>
                <a:cxn ang="0">
                  <a:pos x="38" y="102"/>
                </a:cxn>
                <a:cxn ang="0">
                  <a:pos x="31" y="98"/>
                </a:cxn>
                <a:cxn ang="0">
                  <a:pos x="24" y="92"/>
                </a:cxn>
                <a:cxn ang="0">
                  <a:pos x="20" y="86"/>
                </a:cxn>
                <a:cxn ang="0">
                  <a:pos x="16" y="78"/>
                </a:cxn>
                <a:cxn ang="0">
                  <a:pos x="14" y="70"/>
                </a:cxn>
                <a:cxn ang="0">
                  <a:pos x="13" y="62"/>
                </a:cxn>
                <a:cxn ang="0">
                  <a:pos x="0" y="56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3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56000" y="4037833"/>
              <a:ext cx="298450" cy="523875"/>
            </a:xfrm>
            <a:custGeom>
              <a:avLst/>
              <a:gdLst/>
              <a:ahLst/>
              <a:cxnLst>
                <a:cxn ang="0">
                  <a:pos x="671" y="573"/>
                </a:cxn>
                <a:cxn ang="0">
                  <a:pos x="680" y="550"/>
                </a:cxn>
                <a:cxn ang="0">
                  <a:pos x="671" y="491"/>
                </a:cxn>
                <a:cxn ang="0">
                  <a:pos x="659" y="423"/>
                </a:cxn>
                <a:cxn ang="0">
                  <a:pos x="678" y="389"/>
                </a:cxn>
                <a:cxn ang="0">
                  <a:pos x="557" y="361"/>
                </a:cxn>
                <a:cxn ang="0">
                  <a:pos x="533" y="326"/>
                </a:cxn>
                <a:cxn ang="0">
                  <a:pos x="462" y="310"/>
                </a:cxn>
                <a:cxn ang="0">
                  <a:pos x="402" y="270"/>
                </a:cxn>
                <a:cxn ang="0">
                  <a:pos x="375" y="201"/>
                </a:cxn>
                <a:cxn ang="0">
                  <a:pos x="375" y="133"/>
                </a:cxn>
                <a:cxn ang="0">
                  <a:pos x="395" y="84"/>
                </a:cxn>
                <a:cxn ang="0">
                  <a:pos x="435" y="48"/>
                </a:cxn>
                <a:cxn ang="0">
                  <a:pos x="463" y="11"/>
                </a:cxn>
                <a:cxn ang="0">
                  <a:pos x="389" y="39"/>
                </a:cxn>
                <a:cxn ang="0">
                  <a:pos x="335" y="68"/>
                </a:cxn>
                <a:cxn ang="0">
                  <a:pos x="304" y="78"/>
                </a:cxn>
                <a:cxn ang="0">
                  <a:pos x="278" y="84"/>
                </a:cxn>
                <a:cxn ang="0">
                  <a:pos x="241" y="81"/>
                </a:cxn>
                <a:cxn ang="0">
                  <a:pos x="217" y="108"/>
                </a:cxn>
                <a:cxn ang="0">
                  <a:pos x="196" y="175"/>
                </a:cxn>
                <a:cxn ang="0">
                  <a:pos x="157" y="227"/>
                </a:cxn>
                <a:cxn ang="0">
                  <a:pos x="107" y="284"/>
                </a:cxn>
                <a:cxn ang="0">
                  <a:pos x="90" y="317"/>
                </a:cxn>
                <a:cxn ang="0">
                  <a:pos x="86" y="356"/>
                </a:cxn>
                <a:cxn ang="0">
                  <a:pos x="97" y="382"/>
                </a:cxn>
                <a:cxn ang="0">
                  <a:pos x="97" y="451"/>
                </a:cxn>
                <a:cxn ang="0">
                  <a:pos x="95" y="525"/>
                </a:cxn>
                <a:cxn ang="0">
                  <a:pos x="72" y="563"/>
                </a:cxn>
                <a:cxn ang="0">
                  <a:pos x="37" y="592"/>
                </a:cxn>
                <a:cxn ang="0">
                  <a:pos x="11" y="612"/>
                </a:cxn>
                <a:cxn ang="0">
                  <a:pos x="30" y="668"/>
                </a:cxn>
                <a:cxn ang="0">
                  <a:pos x="123" y="725"/>
                </a:cxn>
                <a:cxn ang="0">
                  <a:pos x="175" y="728"/>
                </a:cxn>
                <a:cxn ang="0">
                  <a:pos x="234" y="746"/>
                </a:cxn>
                <a:cxn ang="0">
                  <a:pos x="299" y="795"/>
                </a:cxn>
                <a:cxn ang="0">
                  <a:pos x="337" y="850"/>
                </a:cxn>
                <a:cxn ang="0">
                  <a:pos x="367" y="881"/>
                </a:cxn>
                <a:cxn ang="0">
                  <a:pos x="412" y="886"/>
                </a:cxn>
                <a:cxn ang="0">
                  <a:pos x="462" y="876"/>
                </a:cxn>
                <a:cxn ang="0">
                  <a:pos x="492" y="878"/>
                </a:cxn>
                <a:cxn ang="0">
                  <a:pos x="515" y="904"/>
                </a:cxn>
                <a:cxn ang="0">
                  <a:pos x="513" y="922"/>
                </a:cxn>
                <a:cxn ang="0">
                  <a:pos x="488" y="937"/>
                </a:cxn>
                <a:cxn ang="0">
                  <a:pos x="488" y="963"/>
                </a:cxn>
                <a:cxn ang="0">
                  <a:pos x="511" y="994"/>
                </a:cxn>
                <a:cxn ang="0">
                  <a:pos x="542" y="962"/>
                </a:cxn>
                <a:cxn ang="0">
                  <a:pos x="566" y="861"/>
                </a:cxn>
                <a:cxn ang="0">
                  <a:pos x="571" y="803"/>
                </a:cxn>
                <a:cxn ang="0">
                  <a:pos x="555" y="771"/>
                </a:cxn>
                <a:cxn ang="0">
                  <a:pos x="523" y="749"/>
                </a:cxn>
                <a:cxn ang="0">
                  <a:pos x="521" y="723"/>
                </a:cxn>
                <a:cxn ang="0">
                  <a:pos x="566" y="700"/>
                </a:cxn>
                <a:cxn ang="0">
                  <a:pos x="556" y="665"/>
                </a:cxn>
                <a:cxn ang="0">
                  <a:pos x="556" y="649"/>
                </a:cxn>
                <a:cxn ang="0">
                  <a:pos x="655" y="628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4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808664" y="4306119"/>
              <a:ext cx="187325" cy="274638"/>
            </a:xfrm>
            <a:custGeom>
              <a:avLst/>
              <a:gdLst/>
              <a:ahLst/>
              <a:cxnLst>
                <a:cxn ang="0">
                  <a:pos x="429" y="22"/>
                </a:cxn>
                <a:cxn ang="0">
                  <a:pos x="428" y="43"/>
                </a:cxn>
                <a:cxn ang="0">
                  <a:pos x="424" y="54"/>
                </a:cxn>
                <a:cxn ang="0">
                  <a:pos x="415" y="67"/>
                </a:cxn>
                <a:cxn ang="0">
                  <a:pos x="413" y="81"/>
                </a:cxn>
                <a:cxn ang="0">
                  <a:pos x="414" y="160"/>
                </a:cxn>
                <a:cxn ang="0">
                  <a:pos x="408" y="207"/>
                </a:cxn>
                <a:cxn ang="0">
                  <a:pos x="396" y="241"/>
                </a:cxn>
                <a:cxn ang="0">
                  <a:pos x="372" y="278"/>
                </a:cxn>
                <a:cxn ang="0">
                  <a:pos x="338" y="309"/>
                </a:cxn>
                <a:cxn ang="0">
                  <a:pos x="319" y="333"/>
                </a:cxn>
                <a:cxn ang="0">
                  <a:pos x="312" y="412"/>
                </a:cxn>
                <a:cxn ang="0">
                  <a:pos x="304" y="439"/>
                </a:cxn>
                <a:cxn ang="0">
                  <a:pos x="290" y="448"/>
                </a:cxn>
                <a:cxn ang="0">
                  <a:pos x="269" y="455"/>
                </a:cxn>
                <a:cxn ang="0">
                  <a:pos x="253" y="472"/>
                </a:cxn>
                <a:cxn ang="0">
                  <a:pos x="234" y="500"/>
                </a:cxn>
                <a:cxn ang="0">
                  <a:pos x="223" y="505"/>
                </a:cxn>
                <a:cxn ang="0">
                  <a:pos x="201" y="504"/>
                </a:cxn>
                <a:cxn ang="0">
                  <a:pos x="189" y="498"/>
                </a:cxn>
                <a:cxn ang="0">
                  <a:pos x="145" y="500"/>
                </a:cxn>
                <a:cxn ang="0">
                  <a:pos x="123" y="500"/>
                </a:cxn>
                <a:cxn ang="0">
                  <a:pos x="113" y="494"/>
                </a:cxn>
                <a:cxn ang="0">
                  <a:pos x="95" y="493"/>
                </a:cxn>
                <a:cxn ang="0">
                  <a:pos x="78" y="502"/>
                </a:cxn>
                <a:cxn ang="0">
                  <a:pos x="62" y="519"/>
                </a:cxn>
                <a:cxn ang="0">
                  <a:pos x="27" y="491"/>
                </a:cxn>
                <a:cxn ang="0">
                  <a:pos x="6" y="447"/>
                </a:cxn>
                <a:cxn ang="0">
                  <a:pos x="25" y="430"/>
                </a:cxn>
                <a:cxn ang="0">
                  <a:pos x="42" y="424"/>
                </a:cxn>
                <a:cxn ang="0">
                  <a:pos x="61" y="428"/>
                </a:cxn>
                <a:cxn ang="0">
                  <a:pos x="58" y="418"/>
                </a:cxn>
                <a:cxn ang="0">
                  <a:pos x="45" y="386"/>
                </a:cxn>
                <a:cxn ang="0">
                  <a:pos x="47" y="366"/>
                </a:cxn>
                <a:cxn ang="0">
                  <a:pos x="57" y="356"/>
                </a:cxn>
                <a:cxn ang="0">
                  <a:pos x="71" y="352"/>
                </a:cxn>
                <a:cxn ang="0">
                  <a:pos x="89" y="337"/>
                </a:cxn>
                <a:cxn ang="0">
                  <a:pos x="104" y="333"/>
                </a:cxn>
                <a:cxn ang="0">
                  <a:pos x="115" y="342"/>
                </a:cxn>
                <a:cxn ang="0">
                  <a:pos x="135" y="359"/>
                </a:cxn>
                <a:cxn ang="0">
                  <a:pos x="154" y="351"/>
                </a:cxn>
                <a:cxn ang="0">
                  <a:pos x="181" y="353"/>
                </a:cxn>
                <a:cxn ang="0">
                  <a:pos x="199" y="340"/>
                </a:cxn>
                <a:cxn ang="0">
                  <a:pos x="210" y="315"/>
                </a:cxn>
                <a:cxn ang="0">
                  <a:pos x="213" y="290"/>
                </a:cxn>
                <a:cxn ang="0">
                  <a:pos x="215" y="269"/>
                </a:cxn>
                <a:cxn ang="0">
                  <a:pos x="201" y="236"/>
                </a:cxn>
                <a:cxn ang="0">
                  <a:pos x="188" y="203"/>
                </a:cxn>
                <a:cxn ang="0">
                  <a:pos x="207" y="177"/>
                </a:cxn>
                <a:cxn ang="0">
                  <a:pos x="210" y="164"/>
                </a:cxn>
                <a:cxn ang="0">
                  <a:pos x="200" y="155"/>
                </a:cxn>
                <a:cxn ang="0">
                  <a:pos x="197" y="137"/>
                </a:cxn>
                <a:cxn ang="0">
                  <a:pos x="188" y="129"/>
                </a:cxn>
                <a:cxn ang="0">
                  <a:pos x="161" y="132"/>
                </a:cxn>
                <a:cxn ang="0">
                  <a:pos x="137" y="131"/>
                </a:cxn>
                <a:cxn ang="0">
                  <a:pos x="125" y="119"/>
                </a:cxn>
                <a:cxn ang="0">
                  <a:pos x="123" y="103"/>
                </a:cxn>
                <a:cxn ang="0">
                  <a:pos x="132" y="76"/>
                </a:cxn>
                <a:cxn ang="0">
                  <a:pos x="306" y="38"/>
                </a:cxn>
                <a:cxn ang="0">
                  <a:pos x="323" y="17"/>
                </a:cxn>
                <a:cxn ang="0">
                  <a:pos x="343" y="7"/>
                </a:cxn>
                <a:cxn ang="0">
                  <a:pos x="374" y="5"/>
                </a:cxn>
                <a:cxn ang="0">
                  <a:pos x="408" y="4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5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840413" y="2948807"/>
              <a:ext cx="127000" cy="114300"/>
            </a:xfrm>
            <a:custGeom>
              <a:avLst/>
              <a:gdLst/>
              <a:ahLst/>
              <a:cxnLst>
                <a:cxn ang="0">
                  <a:pos x="259" y="93"/>
                </a:cxn>
                <a:cxn ang="0">
                  <a:pos x="166" y="77"/>
                </a:cxn>
                <a:cxn ang="0">
                  <a:pos x="152" y="79"/>
                </a:cxn>
                <a:cxn ang="0">
                  <a:pos x="139" y="79"/>
                </a:cxn>
                <a:cxn ang="0">
                  <a:pos x="126" y="77"/>
                </a:cxn>
                <a:cxn ang="0">
                  <a:pos x="119" y="93"/>
                </a:cxn>
                <a:cxn ang="0">
                  <a:pos x="144" y="131"/>
                </a:cxn>
                <a:cxn ang="0">
                  <a:pos x="168" y="157"/>
                </a:cxn>
                <a:cxn ang="0">
                  <a:pos x="189" y="185"/>
                </a:cxn>
                <a:cxn ang="0">
                  <a:pos x="197" y="202"/>
                </a:cxn>
                <a:cxn ang="0">
                  <a:pos x="205" y="222"/>
                </a:cxn>
                <a:cxn ang="0">
                  <a:pos x="175" y="223"/>
                </a:cxn>
                <a:cxn ang="0">
                  <a:pos x="161" y="222"/>
                </a:cxn>
                <a:cxn ang="0">
                  <a:pos x="146" y="216"/>
                </a:cxn>
                <a:cxn ang="0">
                  <a:pos x="134" y="209"/>
                </a:cxn>
                <a:cxn ang="0">
                  <a:pos x="127" y="198"/>
                </a:cxn>
                <a:cxn ang="0">
                  <a:pos x="121" y="187"/>
                </a:cxn>
                <a:cxn ang="0">
                  <a:pos x="113" y="180"/>
                </a:cxn>
                <a:cxn ang="0">
                  <a:pos x="91" y="145"/>
                </a:cxn>
                <a:cxn ang="0">
                  <a:pos x="68" y="113"/>
                </a:cxn>
                <a:cxn ang="0">
                  <a:pos x="55" y="99"/>
                </a:cxn>
                <a:cxn ang="0">
                  <a:pos x="42" y="87"/>
                </a:cxn>
                <a:cxn ang="0">
                  <a:pos x="27" y="79"/>
                </a:cxn>
                <a:cxn ang="0">
                  <a:pos x="13" y="75"/>
                </a:cxn>
                <a:cxn ang="0">
                  <a:pos x="4" y="65"/>
                </a:cxn>
                <a:cxn ang="0">
                  <a:pos x="1" y="58"/>
                </a:cxn>
                <a:cxn ang="0">
                  <a:pos x="0" y="49"/>
                </a:cxn>
                <a:cxn ang="0">
                  <a:pos x="40" y="55"/>
                </a:cxn>
                <a:cxn ang="0">
                  <a:pos x="70" y="55"/>
                </a:cxn>
                <a:cxn ang="0">
                  <a:pos x="91" y="50"/>
                </a:cxn>
                <a:cxn ang="0">
                  <a:pos x="106" y="41"/>
                </a:cxn>
                <a:cxn ang="0">
                  <a:pos x="127" y="20"/>
                </a:cxn>
                <a:cxn ang="0">
                  <a:pos x="138" y="9"/>
                </a:cxn>
                <a:cxn ang="0">
                  <a:pos x="152" y="0"/>
                </a:cxn>
                <a:cxn ang="0">
                  <a:pos x="172" y="14"/>
                </a:cxn>
                <a:cxn ang="0">
                  <a:pos x="194" y="26"/>
                </a:cxn>
                <a:cxn ang="0">
                  <a:pos x="218" y="34"/>
                </a:cxn>
                <a:cxn ang="0">
                  <a:pos x="246" y="37"/>
                </a:cxn>
                <a:cxn ang="0">
                  <a:pos x="262" y="34"/>
                </a:cxn>
                <a:cxn ang="0">
                  <a:pos x="279" y="31"/>
                </a:cxn>
                <a:cxn ang="0">
                  <a:pos x="285" y="47"/>
                </a:cxn>
                <a:cxn ang="0">
                  <a:pos x="287" y="49"/>
                </a:cxn>
                <a:cxn ang="0">
                  <a:pos x="292" y="69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6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791201" y="2807519"/>
              <a:ext cx="168275" cy="77788"/>
            </a:xfrm>
            <a:custGeom>
              <a:avLst/>
              <a:gdLst/>
              <a:ahLst/>
              <a:cxnLst>
                <a:cxn ang="0">
                  <a:pos x="375" y="94"/>
                </a:cxn>
                <a:cxn ang="0">
                  <a:pos x="360" y="101"/>
                </a:cxn>
                <a:cxn ang="0">
                  <a:pos x="354" y="108"/>
                </a:cxn>
                <a:cxn ang="0">
                  <a:pos x="347" y="117"/>
                </a:cxn>
                <a:cxn ang="0">
                  <a:pos x="333" y="127"/>
                </a:cxn>
                <a:cxn ang="0">
                  <a:pos x="320" y="131"/>
                </a:cxn>
                <a:cxn ang="0">
                  <a:pos x="311" y="132"/>
                </a:cxn>
                <a:cxn ang="0">
                  <a:pos x="301" y="130"/>
                </a:cxn>
                <a:cxn ang="0">
                  <a:pos x="291" y="126"/>
                </a:cxn>
                <a:cxn ang="0">
                  <a:pos x="281" y="119"/>
                </a:cxn>
                <a:cxn ang="0">
                  <a:pos x="275" y="116"/>
                </a:cxn>
                <a:cxn ang="0">
                  <a:pos x="269" y="118"/>
                </a:cxn>
                <a:cxn ang="0">
                  <a:pos x="267" y="123"/>
                </a:cxn>
                <a:cxn ang="0">
                  <a:pos x="266" y="140"/>
                </a:cxn>
                <a:cxn ang="0">
                  <a:pos x="257" y="145"/>
                </a:cxn>
                <a:cxn ang="0">
                  <a:pos x="244" y="140"/>
                </a:cxn>
                <a:cxn ang="0">
                  <a:pos x="229" y="131"/>
                </a:cxn>
                <a:cxn ang="0">
                  <a:pos x="113" y="141"/>
                </a:cxn>
                <a:cxn ang="0">
                  <a:pos x="80" y="124"/>
                </a:cxn>
                <a:cxn ang="0">
                  <a:pos x="58" y="109"/>
                </a:cxn>
                <a:cxn ang="0">
                  <a:pos x="45" y="94"/>
                </a:cxn>
                <a:cxn ang="0">
                  <a:pos x="37" y="82"/>
                </a:cxn>
                <a:cxn ang="0">
                  <a:pos x="26" y="59"/>
                </a:cxn>
                <a:cxn ang="0">
                  <a:pos x="16" y="48"/>
                </a:cxn>
                <a:cxn ang="0">
                  <a:pos x="0" y="36"/>
                </a:cxn>
                <a:cxn ang="0">
                  <a:pos x="29" y="40"/>
                </a:cxn>
                <a:cxn ang="0">
                  <a:pos x="52" y="38"/>
                </a:cxn>
                <a:cxn ang="0">
                  <a:pos x="72" y="33"/>
                </a:cxn>
                <a:cxn ang="0">
                  <a:pos x="87" y="25"/>
                </a:cxn>
                <a:cxn ang="0">
                  <a:pos x="119" y="8"/>
                </a:cxn>
                <a:cxn ang="0">
                  <a:pos x="138" y="2"/>
                </a:cxn>
                <a:cxn ang="0">
                  <a:pos x="159" y="0"/>
                </a:cxn>
                <a:cxn ang="0">
                  <a:pos x="200" y="23"/>
                </a:cxn>
                <a:cxn ang="0">
                  <a:pos x="244" y="45"/>
                </a:cxn>
                <a:cxn ang="0">
                  <a:pos x="292" y="67"/>
                </a:cxn>
                <a:cxn ang="0">
                  <a:pos x="333" y="80"/>
                </a:cxn>
                <a:cxn ang="0">
                  <a:pos x="354" y="86"/>
                </a:cxn>
                <a:cxn ang="0">
                  <a:pos x="379" y="92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7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754688" y="2663058"/>
              <a:ext cx="30162" cy="603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9"/>
                </a:cxn>
                <a:cxn ang="0">
                  <a:pos x="0" y="18"/>
                </a:cxn>
                <a:cxn ang="0">
                  <a:pos x="1" y="24"/>
                </a:cxn>
                <a:cxn ang="0">
                  <a:pos x="2" y="30"/>
                </a:cxn>
                <a:cxn ang="0">
                  <a:pos x="3" y="36"/>
                </a:cxn>
                <a:cxn ang="0">
                  <a:pos x="6" y="42"/>
                </a:cxn>
                <a:cxn ang="0">
                  <a:pos x="12" y="55"/>
                </a:cxn>
                <a:cxn ang="0">
                  <a:pos x="21" y="67"/>
                </a:cxn>
                <a:cxn ang="0">
                  <a:pos x="28" y="65"/>
                </a:cxn>
                <a:cxn ang="0">
                  <a:pos x="35" y="61"/>
                </a:cxn>
                <a:cxn ang="0">
                  <a:pos x="42" y="58"/>
                </a:cxn>
                <a:cxn ang="0">
                  <a:pos x="48" y="53"/>
                </a:cxn>
                <a:cxn ang="0">
                  <a:pos x="53" y="47"/>
                </a:cxn>
                <a:cxn ang="0">
                  <a:pos x="57" y="40"/>
                </a:cxn>
                <a:cxn ang="0">
                  <a:pos x="59" y="32"/>
                </a:cxn>
                <a:cxn ang="0">
                  <a:pos x="61" y="24"/>
                </a:cxn>
                <a:cxn ang="0">
                  <a:pos x="53" y="14"/>
                </a:cxn>
                <a:cxn ang="0">
                  <a:pos x="41" y="0"/>
                </a:cxn>
                <a:cxn ang="0">
                  <a:pos x="28" y="3"/>
                </a:cxn>
                <a:cxn ang="0">
                  <a:pos x="18" y="4"/>
                </a:cxn>
                <a:cxn ang="0">
                  <a:pos x="13" y="4"/>
                </a:cxn>
                <a:cxn ang="0">
                  <a:pos x="10" y="3"/>
                </a:cxn>
                <a:cxn ang="0">
                  <a:pos x="6" y="2"/>
                </a:cxn>
                <a:cxn ang="0">
                  <a:pos x="0" y="0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8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726113" y="2667819"/>
              <a:ext cx="25400" cy="58738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24"/>
                </a:cxn>
                <a:cxn ang="0">
                  <a:pos x="5" y="32"/>
                </a:cxn>
                <a:cxn ang="0">
                  <a:pos x="10" y="40"/>
                </a:cxn>
                <a:cxn ang="0">
                  <a:pos x="16" y="45"/>
                </a:cxn>
                <a:cxn ang="0">
                  <a:pos x="21" y="49"/>
                </a:cxn>
                <a:cxn ang="0">
                  <a:pos x="27" y="52"/>
                </a:cxn>
                <a:cxn ang="0">
                  <a:pos x="33" y="54"/>
                </a:cxn>
                <a:cxn ang="0">
                  <a:pos x="40" y="55"/>
                </a:cxn>
                <a:cxn ang="0">
                  <a:pos x="46" y="55"/>
                </a:cxn>
                <a:cxn ang="0">
                  <a:pos x="53" y="52"/>
                </a:cxn>
                <a:cxn ang="0">
                  <a:pos x="60" y="49"/>
                </a:cxn>
                <a:cxn ang="0">
                  <a:pos x="50" y="34"/>
                </a:cxn>
                <a:cxn ang="0">
                  <a:pos x="42" y="22"/>
                </a:cxn>
                <a:cxn ang="0">
                  <a:pos x="39" y="17"/>
                </a:cxn>
                <a:cxn ang="0">
                  <a:pos x="35" y="12"/>
                </a:cxn>
                <a:cxn ang="0">
                  <a:pos x="34" y="6"/>
                </a:cxn>
                <a:cxn ang="0">
                  <a:pos x="33" y="0"/>
                </a:cxn>
                <a:cxn ang="0">
                  <a:pos x="23" y="1"/>
                </a:cxn>
                <a:cxn ang="0">
                  <a:pos x="15" y="3"/>
                </a:cxn>
                <a:cxn ang="0">
                  <a:pos x="7" y="5"/>
                </a:cxn>
                <a:cxn ang="0">
                  <a:pos x="0" y="6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9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695950" y="2613844"/>
              <a:ext cx="52388" cy="77788"/>
            </a:xfrm>
            <a:custGeom>
              <a:avLst/>
              <a:gdLst/>
              <a:ahLst/>
              <a:cxnLst>
                <a:cxn ang="0">
                  <a:pos x="74" y="129"/>
                </a:cxn>
                <a:cxn ang="0">
                  <a:pos x="70" y="131"/>
                </a:cxn>
                <a:cxn ang="0">
                  <a:pos x="67" y="132"/>
                </a:cxn>
                <a:cxn ang="0">
                  <a:pos x="64" y="133"/>
                </a:cxn>
                <a:cxn ang="0">
                  <a:pos x="60" y="133"/>
                </a:cxn>
                <a:cxn ang="0">
                  <a:pos x="56" y="133"/>
                </a:cxn>
                <a:cxn ang="0">
                  <a:pos x="53" y="132"/>
                </a:cxn>
                <a:cxn ang="0">
                  <a:pos x="50" y="131"/>
                </a:cxn>
                <a:cxn ang="0">
                  <a:pos x="47" y="129"/>
                </a:cxn>
                <a:cxn ang="0">
                  <a:pos x="41" y="128"/>
                </a:cxn>
                <a:cxn ang="0">
                  <a:pos x="34" y="125"/>
                </a:cxn>
                <a:cxn ang="0">
                  <a:pos x="26" y="120"/>
                </a:cxn>
                <a:cxn ang="0">
                  <a:pos x="19" y="115"/>
                </a:cxn>
                <a:cxn ang="0">
                  <a:pos x="11" y="108"/>
                </a:cxn>
                <a:cxn ang="0">
                  <a:pos x="6" y="101"/>
                </a:cxn>
                <a:cxn ang="0">
                  <a:pos x="3" y="97"/>
                </a:cxn>
                <a:cxn ang="0">
                  <a:pos x="2" y="94"/>
                </a:cxn>
                <a:cxn ang="0">
                  <a:pos x="1" y="90"/>
                </a:cxn>
                <a:cxn ang="0">
                  <a:pos x="0" y="87"/>
                </a:cxn>
                <a:cxn ang="0">
                  <a:pos x="2" y="73"/>
                </a:cxn>
                <a:cxn ang="0">
                  <a:pos x="8" y="55"/>
                </a:cxn>
                <a:cxn ang="0">
                  <a:pos x="14" y="35"/>
                </a:cxn>
                <a:cxn ang="0">
                  <a:pos x="20" y="18"/>
                </a:cxn>
                <a:cxn ang="0">
                  <a:pos x="32" y="17"/>
                </a:cxn>
                <a:cxn ang="0">
                  <a:pos x="42" y="16"/>
                </a:cxn>
                <a:cxn ang="0">
                  <a:pos x="51" y="14"/>
                </a:cxn>
                <a:cxn ang="0">
                  <a:pos x="58" y="11"/>
                </a:cxn>
                <a:cxn ang="0">
                  <a:pos x="70" y="5"/>
                </a:cxn>
                <a:cxn ang="0">
                  <a:pos x="80" y="0"/>
                </a:cxn>
                <a:cxn ang="0">
                  <a:pos x="85" y="2"/>
                </a:cxn>
                <a:cxn ang="0">
                  <a:pos x="93" y="7"/>
                </a:cxn>
                <a:cxn ang="0">
                  <a:pos x="98" y="10"/>
                </a:cxn>
                <a:cxn ang="0">
                  <a:pos x="102" y="13"/>
                </a:cxn>
                <a:cxn ang="0">
                  <a:pos x="106" y="16"/>
                </a:cxn>
                <a:cxn ang="0">
                  <a:pos x="107" y="18"/>
                </a:cxn>
                <a:cxn ang="0">
                  <a:pos x="100" y="28"/>
                </a:cxn>
                <a:cxn ang="0">
                  <a:pos x="93" y="37"/>
                </a:cxn>
                <a:cxn ang="0">
                  <a:pos x="95" y="42"/>
                </a:cxn>
                <a:cxn ang="0">
                  <a:pos x="98" y="49"/>
                </a:cxn>
                <a:cxn ang="0">
                  <a:pos x="102" y="56"/>
                </a:cxn>
                <a:cxn ang="0">
                  <a:pos x="107" y="63"/>
                </a:cxn>
                <a:cxn ang="0">
                  <a:pos x="115" y="75"/>
                </a:cxn>
                <a:cxn ang="0">
                  <a:pos x="120" y="79"/>
                </a:cxn>
                <a:cxn ang="0">
                  <a:pos x="113" y="81"/>
                </a:cxn>
                <a:cxn ang="0">
                  <a:pos x="107" y="84"/>
                </a:cxn>
                <a:cxn ang="0">
                  <a:pos x="100" y="87"/>
                </a:cxn>
                <a:cxn ang="0">
                  <a:pos x="96" y="91"/>
                </a:cxn>
                <a:cxn ang="0">
                  <a:pos x="90" y="95"/>
                </a:cxn>
                <a:cxn ang="0">
                  <a:pos x="87" y="99"/>
                </a:cxn>
                <a:cxn ang="0">
                  <a:pos x="82" y="104"/>
                </a:cxn>
                <a:cxn ang="0">
                  <a:pos x="80" y="109"/>
                </a:cxn>
                <a:cxn ang="0">
                  <a:pos x="78" y="114"/>
                </a:cxn>
                <a:cxn ang="0">
                  <a:pos x="77" y="120"/>
                </a:cxn>
                <a:cxn ang="0">
                  <a:pos x="76" y="125"/>
                </a:cxn>
                <a:cxn ang="0">
                  <a:pos x="75" y="130"/>
                </a:cxn>
                <a:cxn ang="0">
                  <a:pos x="76" y="135"/>
                </a:cxn>
                <a:cxn ang="0">
                  <a:pos x="77" y="140"/>
                </a:cxn>
                <a:cxn ang="0">
                  <a:pos x="78" y="144"/>
                </a:cxn>
                <a:cxn ang="0">
                  <a:pos x="80" y="148"/>
                </a:cxn>
                <a:cxn ang="0">
                  <a:pos x="74" y="12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0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127750" y="3418708"/>
              <a:ext cx="273050" cy="307975"/>
            </a:xfrm>
            <a:custGeom>
              <a:avLst/>
              <a:gdLst/>
              <a:ahLst/>
              <a:cxnLst>
                <a:cxn ang="0">
                  <a:pos x="21" y="2"/>
                </a:cxn>
                <a:cxn ang="0">
                  <a:pos x="32" y="4"/>
                </a:cxn>
                <a:cxn ang="0">
                  <a:pos x="54" y="8"/>
                </a:cxn>
                <a:cxn ang="0">
                  <a:pos x="78" y="11"/>
                </a:cxn>
                <a:cxn ang="0">
                  <a:pos x="104" y="19"/>
                </a:cxn>
                <a:cxn ang="0">
                  <a:pos x="130" y="32"/>
                </a:cxn>
                <a:cxn ang="0">
                  <a:pos x="146" y="40"/>
                </a:cxn>
                <a:cxn ang="0">
                  <a:pos x="159" y="43"/>
                </a:cxn>
                <a:cxn ang="0">
                  <a:pos x="189" y="43"/>
                </a:cxn>
                <a:cxn ang="0">
                  <a:pos x="227" y="37"/>
                </a:cxn>
                <a:cxn ang="0">
                  <a:pos x="277" y="23"/>
                </a:cxn>
                <a:cxn ang="0">
                  <a:pos x="399" y="38"/>
                </a:cxn>
                <a:cxn ang="0">
                  <a:pos x="403" y="69"/>
                </a:cxn>
                <a:cxn ang="0">
                  <a:pos x="410" y="95"/>
                </a:cxn>
                <a:cxn ang="0">
                  <a:pos x="417" y="119"/>
                </a:cxn>
                <a:cxn ang="0">
                  <a:pos x="427" y="140"/>
                </a:cxn>
                <a:cxn ang="0">
                  <a:pos x="450" y="175"/>
                </a:cxn>
                <a:cxn ang="0">
                  <a:pos x="472" y="204"/>
                </a:cxn>
                <a:cxn ang="0">
                  <a:pos x="482" y="222"/>
                </a:cxn>
                <a:cxn ang="0">
                  <a:pos x="485" y="240"/>
                </a:cxn>
                <a:cxn ang="0">
                  <a:pos x="491" y="255"/>
                </a:cxn>
                <a:cxn ang="0">
                  <a:pos x="496" y="261"/>
                </a:cxn>
                <a:cxn ang="0">
                  <a:pos x="505" y="266"/>
                </a:cxn>
                <a:cxn ang="0">
                  <a:pos x="513" y="270"/>
                </a:cxn>
                <a:cxn ang="0">
                  <a:pos x="519" y="278"/>
                </a:cxn>
                <a:cxn ang="0">
                  <a:pos x="533" y="303"/>
                </a:cxn>
                <a:cxn ang="0">
                  <a:pos x="541" y="331"/>
                </a:cxn>
                <a:cxn ang="0">
                  <a:pos x="545" y="358"/>
                </a:cxn>
                <a:cxn ang="0">
                  <a:pos x="548" y="368"/>
                </a:cxn>
                <a:cxn ang="0">
                  <a:pos x="557" y="381"/>
                </a:cxn>
                <a:cxn ang="0">
                  <a:pos x="583" y="415"/>
                </a:cxn>
                <a:cxn ang="0">
                  <a:pos x="612" y="447"/>
                </a:cxn>
                <a:cxn ang="0">
                  <a:pos x="631" y="463"/>
                </a:cxn>
                <a:cxn ang="0">
                  <a:pos x="612" y="481"/>
                </a:cxn>
                <a:cxn ang="0">
                  <a:pos x="624" y="496"/>
                </a:cxn>
                <a:cxn ang="0">
                  <a:pos x="626" y="507"/>
                </a:cxn>
                <a:cxn ang="0">
                  <a:pos x="626" y="516"/>
                </a:cxn>
                <a:cxn ang="0">
                  <a:pos x="631" y="531"/>
                </a:cxn>
                <a:cxn ang="0">
                  <a:pos x="626" y="539"/>
                </a:cxn>
                <a:cxn ang="0">
                  <a:pos x="617" y="548"/>
                </a:cxn>
                <a:cxn ang="0">
                  <a:pos x="592" y="569"/>
                </a:cxn>
                <a:cxn ang="0">
                  <a:pos x="558" y="592"/>
                </a:cxn>
                <a:cxn ang="0">
                  <a:pos x="46" y="174"/>
                </a:cxn>
                <a:cxn ang="0">
                  <a:pos x="25" y="157"/>
                </a:cxn>
                <a:cxn ang="0">
                  <a:pos x="11" y="138"/>
                </a:cxn>
                <a:cxn ang="0">
                  <a:pos x="2" y="117"/>
                </a:cxn>
                <a:cxn ang="0">
                  <a:pos x="0" y="93"/>
                </a:cxn>
                <a:cxn ang="0">
                  <a:pos x="3" y="89"/>
                </a:cxn>
                <a:cxn ang="0">
                  <a:pos x="10" y="83"/>
                </a:cxn>
                <a:cxn ang="0">
                  <a:pos x="17" y="77"/>
                </a:cxn>
                <a:cxn ang="0">
                  <a:pos x="20" y="69"/>
                </a:cxn>
                <a:cxn ang="0">
                  <a:pos x="18" y="53"/>
                </a:cxn>
                <a:cxn ang="0">
                  <a:pos x="13" y="42"/>
                </a:cxn>
                <a:cxn ang="0">
                  <a:pos x="9" y="34"/>
                </a:cxn>
                <a:cxn ang="0">
                  <a:pos x="7" y="26"/>
                </a:cxn>
                <a:cxn ang="0">
                  <a:pos x="13" y="0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1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722938" y="3053582"/>
              <a:ext cx="17462" cy="57150"/>
            </a:xfrm>
            <a:custGeom>
              <a:avLst/>
              <a:gdLst/>
              <a:ahLst/>
              <a:cxnLst>
                <a:cxn ang="0">
                  <a:pos x="7" y="31"/>
                </a:cxn>
                <a:cxn ang="0">
                  <a:pos x="10" y="30"/>
                </a:cxn>
                <a:cxn ang="0">
                  <a:pos x="14" y="26"/>
                </a:cxn>
                <a:cxn ang="0">
                  <a:pos x="20" y="20"/>
                </a:cxn>
                <a:cxn ang="0">
                  <a:pos x="25" y="15"/>
                </a:cxn>
                <a:cxn ang="0">
                  <a:pos x="35" y="4"/>
                </a:cxn>
                <a:cxn ang="0">
                  <a:pos x="40" y="0"/>
                </a:cxn>
                <a:cxn ang="0">
                  <a:pos x="37" y="26"/>
                </a:cxn>
                <a:cxn ang="0">
                  <a:pos x="35" y="53"/>
                </a:cxn>
                <a:cxn ang="0">
                  <a:pos x="34" y="65"/>
                </a:cxn>
                <a:cxn ang="0">
                  <a:pos x="34" y="77"/>
                </a:cxn>
                <a:cxn ang="0">
                  <a:pos x="35" y="82"/>
                </a:cxn>
                <a:cxn ang="0">
                  <a:pos x="36" y="86"/>
                </a:cxn>
                <a:cxn ang="0">
                  <a:pos x="37" y="90"/>
                </a:cxn>
                <a:cxn ang="0">
                  <a:pos x="40" y="93"/>
                </a:cxn>
                <a:cxn ang="0">
                  <a:pos x="26" y="93"/>
                </a:cxn>
                <a:cxn ang="0">
                  <a:pos x="13" y="93"/>
                </a:cxn>
                <a:cxn ang="0">
                  <a:pos x="11" y="92"/>
                </a:cxn>
                <a:cxn ang="0">
                  <a:pos x="8" y="91"/>
                </a:cxn>
                <a:cxn ang="0">
                  <a:pos x="6" y="88"/>
                </a:cxn>
                <a:cxn ang="0">
                  <a:pos x="4" y="86"/>
                </a:cxn>
                <a:cxn ang="0">
                  <a:pos x="1" y="80"/>
                </a:cxn>
                <a:cxn ang="0">
                  <a:pos x="0" y="73"/>
                </a:cxn>
                <a:cxn ang="0">
                  <a:pos x="1" y="64"/>
                </a:cxn>
                <a:cxn ang="0">
                  <a:pos x="3" y="50"/>
                </a:cxn>
                <a:cxn ang="0">
                  <a:pos x="6" y="37"/>
                </a:cxn>
                <a:cxn ang="0">
                  <a:pos x="7" y="31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2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362576" y="2804344"/>
              <a:ext cx="295275" cy="273050"/>
            </a:xfrm>
            <a:custGeom>
              <a:avLst/>
              <a:gdLst/>
              <a:ahLst/>
              <a:cxnLst>
                <a:cxn ang="0">
                  <a:pos x="149" y="445"/>
                </a:cxn>
                <a:cxn ang="0">
                  <a:pos x="151" y="431"/>
                </a:cxn>
                <a:cxn ang="0">
                  <a:pos x="146" y="400"/>
                </a:cxn>
                <a:cxn ang="0">
                  <a:pos x="151" y="353"/>
                </a:cxn>
                <a:cxn ang="0">
                  <a:pos x="146" y="298"/>
                </a:cxn>
                <a:cxn ang="0">
                  <a:pos x="134" y="251"/>
                </a:cxn>
                <a:cxn ang="0">
                  <a:pos x="109" y="241"/>
                </a:cxn>
                <a:cxn ang="0">
                  <a:pos x="20" y="192"/>
                </a:cxn>
                <a:cxn ang="0">
                  <a:pos x="24" y="171"/>
                </a:cxn>
                <a:cxn ang="0">
                  <a:pos x="36" y="159"/>
                </a:cxn>
                <a:cxn ang="0">
                  <a:pos x="48" y="148"/>
                </a:cxn>
                <a:cxn ang="0">
                  <a:pos x="100" y="155"/>
                </a:cxn>
                <a:cxn ang="0">
                  <a:pos x="125" y="152"/>
                </a:cxn>
                <a:cxn ang="0">
                  <a:pos x="147" y="157"/>
                </a:cxn>
                <a:cxn ang="0">
                  <a:pos x="165" y="94"/>
                </a:cxn>
                <a:cxn ang="0">
                  <a:pos x="185" y="109"/>
                </a:cxn>
                <a:cxn ang="0">
                  <a:pos x="207" y="110"/>
                </a:cxn>
                <a:cxn ang="0">
                  <a:pos x="236" y="99"/>
                </a:cxn>
                <a:cxn ang="0">
                  <a:pos x="264" y="80"/>
                </a:cxn>
                <a:cxn ang="0">
                  <a:pos x="289" y="57"/>
                </a:cxn>
                <a:cxn ang="0">
                  <a:pos x="308" y="32"/>
                </a:cxn>
                <a:cxn ang="0">
                  <a:pos x="318" y="12"/>
                </a:cxn>
                <a:cxn ang="0">
                  <a:pos x="370" y="4"/>
                </a:cxn>
                <a:cxn ang="0">
                  <a:pos x="404" y="32"/>
                </a:cxn>
                <a:cxn ang="0">
                  <a:pos x="457" y="61"/>
                </a:cxn>
                <a:cxn ang="0">
                  <a:pos x="511" y="90"/>
                </a:cxn>
                <a:cxn ang="0">
                  <a:pos x="552" y="107"/>
                </a:cxn>
                <a:cxn ang="0">
                  <a:pos x="578" y="116"/>
                </a:cxn>
                <a:cxn ang="0">
                  <a:pos x="623" y="121"/>
                </a:cxn>
                <a:cxn ang="0">
                  <a:pos x="658" y="136"/>
                </a:cxn>
                <a:cxn ang="0">
                  <a:pos x="645" y="166"/>
                </a:cxn>
                <a:cxn ang="0">
                  <a:pos x="620" y="236"/>
                </a:cxn>
                <a:cxn ang="0">
                  <a:pos x="598" y="272"/>
                </a:cxn>
                <a:cxn ang="0">
                  <a:pos x="585" y="286"/>
                </a:cxn>
                <a:cxn ang="0">
                  <a:pos x="599" y="298"/>
                </a:cxn>
                <a:cxn ang="0">
                  <a:pos x="618" y="307"/>
                </a:cxn>
                <a:cxn ang="0">
                  <a:pos x="623" y="334"/>
                </a:cxn>
                <a:cxn ang="0">
                  <a:pos x="620" y="347"/>
                </a:cxn>
                <a:cxn ang="0">
                  <a:pos x="618" y="372"/>
                </a:cxn>
                <a:cxn ang="0">
                  <a:pos x="622" y="399"/>
                </a:cxn>
                <a:cxn ang="0">
                  <a:pos x="632" y="423"/>
                </a:cxn>
                <a:cxn ang="0">
                  <a:pos x="608" y="457"/>
                </a:cxn>
                <a:cxn ang="0">
                  <a:pos x="569" y="484"/>
                </a:cxn>
                <a:cxn ang="0">
                  <a:pos x="542" y="489"/>
                </a:cxn>
                <a:cxn ang="0">
                  <a:pos x="509" y="481"/>
                </a:cxn>
                <a:cxn ang="0">
                  <a:pos x="477" y="460"/>
                </a:cxn>
                <a:cxn ang="0">
                  <a:pos x="463" y="456"/>
                </a:cxn>
                <a:cxn ang="0">
                  <a:pos x="443" y="457"/>
                </a:cxn>
                <a:cxn ang="0">
                  <a:pos x="423" y="465"/>
                </a:cxn>
                <a:cxn ang="0">
                  <a:pos x="406" y="477"/>
                </a:cxn>
                <a:cxn ang="0">
                  <a:pos x="388" y="503"/>
                </a:cxn>
                <a:cxn ang="0">
                  <a:pos x="385" y="517"/>
                </a:cxn>
                <a:cxn ang="0">
                  <a:pos x="333" y="515"/>
                </a:cxn>
                <a:cxn ang="0">
                  <a:pos x="317" y="507"/>
                </a:cxn>
                <a:cxn ang="0">
                  <a:pos x="307" y="500"/>
                </a:cxn>
                <a:cxn ang="0">
                  <a:pos x="296" y="508"/>
                </a:cxn>
                <a:cxn ang="0">
                  <a:pos x="287" y="516"/>
                </a:cxn>
                <a:cxn ang="0">
                  <a:pos x="268" y="516"/>
                </a:cxn>
                <a:cxn ang="0">
                  <a:pos x="227" y="506"/>
                </a:cxn>
                <a:cxn ang="0">
                  <a:pos x="185" y="487"/>
                </a:cxn>
                <a:cxn ang="0">
                  <a:pos x="160" y="469"/>
                </a:cxn>
                <a:cxn ang="0">
                  <a:pos x="146" y="450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3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43663" y="3039294"/>
              <a:ext cx="150812" cy="82550"/>
            </a:xfrm>
            <a:custGeom>
              <a:avLst/>
              <a:gdLst/>
              <a:ahLst/>
              <a:cxnLst>
                <a:cxn ang="0">
                  <a:pos x="332" y="91"/>
                </a:cxn>
                <a:cxn ang="0">
                  <a:pos x="352" y="153"/>
                </a:cxn>
                <a:cxn ang="0">
                  <a:pos x="326" y="141"/>
                </a:cxn>
                <a:cxn ang="0">
                  <a:pos x="299" y="129"/>
                </a:cxn>
                <a:cxn ang="0">
                  <a:pos x="266" y="141"/>
                </a:cxn>
                <a:cxn ang="0">
                  <a:pos x="232" y="141"/>
                </a:cxn>
                <a:cxn ang="0">
                  <a:pos x="227" y="135"/>
                </a:cxn>
                <a:cxn ang="0">
                  <a:pos x="226" y="135"/>
                </a:cxn>
                <a:cxn ang="0">
                  <a:pos x="219" y="129"/>
                </a:cxn>
                <a:cxn ang="0">
                  <a:pos x="213" y="125"/>
                </a:cxn>
                <a:cxn ang="0">
                  <a:pos x="205" y="121"/>
                </a:cxn>
                <a:cxn ang="0">
                  <a:pos x="197" y="118"/>
                </a:cxn>
                <a:cxn ang="0">
                  <a:pos x="181" y="113"/>
                </a:cxn>
                <a:cxn ang="0">
                  <a:pos x="163" y="110"/>
                </a:cxn>
                <a:cxn ang="0">
                  <a:pos x="126" y="107"/>
                </a:cxn>
                <a:cxn ang="0">
                  <a:pos x="86" y="104"/>
                </a:cxn>
                <a:cxn ang="0">
                  <a:pos x="85" y="94"/>
                </a:cxn>
                <a:cxn ang="0">
                  <a:pos x="82" y="84"/>
                </a:cxn>
                <a:cxn ang="0">
                  <a:pos x="80" y="75"/>
                </a:cxn>
                <a:cxn ang="0">
                  <a:pos x="75" y="67"/>
                </a:cxn>
                <a:cxn ang="0">
                  <a:pos x="71" y="59"/>
                </a:cxn>
                <a:cxn ang="0">
                  <a:pos x="67" y="52"/>
                </a:cxn>
                <a:cxn ang="0">
                  <a:pos x="61" y="44"/>
                </a:cxn>
                <a:cxn ang="0">
                  <a:pos x="56" y="37"/>
                </a:cxn>
                <a:cxn ang="0">
                  <a:pos x="44" y="26"/>
                </a:cxn>
                <a:cxn ang="0">
                  <a:pos x="29" y="16"/>
                </a:cxn>
                <a:cxn ang="0">
                  <a:pos x="15" y="7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60" y="18"/>
                </a:cxn>
                <a:cxn ang="0">
                  <a:pos x="106" y="30"/>
                </a:cxn>
                <a:cxn ang="0">
                  <a:pos x="134" y="18"/>
                </a:cxn>
                <a:cxn ang="0">
                  <a:pos x="180" y="36"/>
                </a:cxn>
                <a:cxn ang="0">
                  <a:pos x="206" y="55"/>
                </a:cxn>
                <a:cxn ang="0">
                  <a:pos x="246" y="49"/>
                </a:cxn>
                <a:cxn ang="0">
                  <a:pos x="286" y="61"/>
                </a:cxn>
                <a:cxn ang="0">
                  <a:pos x="313" y="79"/>
                </a:cxn>
                <a:cxn ang="0">
                  <a:pos x="332" y="91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4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992814" y="3099619"/>
              <a:ext cx="147637" cy="173038"/>
            </a:xfrm>
            <a:custGeom>
              <a:avLst/>
              <a:gdLst/>
              <a:ahLst/>
              <a:cxnLst>
                <a:cxn ang="0">
                  <a:pos x="230" y="40"/>
                </a:cxn>
                <a:cxn ang="0">
                  <a:pos x="193" y="56"/>
                </a:cxn>
                <a:cxn ang="0">
                  <a:pos x="182" y="67"/>
                </a:cxn>
                <a:cxn ang="0">
                  <a:pos x="181" y="81"/>
                </a:cxn>
                <a:cxn ang="0">
                  <a:pos x="184" y="94"/>
                </a:cxn>
                <a:cxn ang="0">
                  <a:pos x="177" y="102"/>
                </a:cxn>
                <a:cxn ang="0">
                  <a:pos x="168" y="105"/>
                </a:cxn>
                <a:cxn ang="0">
                  <a:pos x="160" y="98"/>
                </a:cxn>
                <a:cxn ang="0">
                  <a:pos x="149" y="85"/>
                </a:cxn>
                <a:cxn ang="0">
                  <a:pos x="126" y="74"/>
                </a:cxn>
                <a:cxn ang="0">
                  <a:pos x="127" y="96"/>
                </a:cxn>
                <a:cxn ang="0">
                  <a:pos x="139" y="116"/>
                </a:cxn>
                <a:cxn ang="0">
                  <a:pos x="154" y="129"/>
                </a:cxn>
                <a:cxn ang="0">
                  <a:pos x="159" y="130"/>
                </a:cxn>
                <a:cxn ang="0">
                  <a:pos x="159" y="177"/>
                </a:cxn>
                <a:cxn ang="0">
                  <a:pos x="159" y="237"/>
                </a:cxn>
                <a:cxn ang="0">
                  <a:pos x="156" y="251"/>
                </a:cxn>
                <a:cxn ang="0">
                  <a:pos x="147" y="259"/>
                </a:cxn>
                <a:cxn ang="0">
                  <a:pos x="145" y="264"/>
                </a:cxn>
                <a:cxn ang="0">
                  <a:pos x="162" y="276"/>
                </a:cxn>
                <a:cxn ang="0">
                  <a:pos x="167" y="286"/>
                </a:cxn>
                <a:cxn ang="0">
                  <a:pos x="155" y="295"/>
                </a:cxn>
                <a:cxn ang="0">
                  <a:pos x="140" y="297"/>
                </a:cxn>
                <a:cxn ang="0">
                  <a:pos x="130" y="307"/>
                </a:cxn>
                <a:cxn ang="0">
                  <a:pos x="126" y="321"/>
                </a:cxn>
                <a:cxn ang="0">
                  <a:pos x="121" y="300"/>
                </a:cxn>
                <a:cxn ang="0">
                  <a:pos x="124" y="288"/>
                </a:cxn>
                <a:cxn ang="0">
                  <a:pos x="109" y="286"/>
                </a:cxn>
                <a:cxn ang="0">
                  <a:pos x="93" y="292"/>
                </a:cxn>
                <a:cxn ang="0">
                  <a:pos x="79" y="296"/>
                </a:cxn>
                <a:cxn ang="0">
                  <a:pos x="73" y="242"/>
                </a:cxn>
                <a:cxn ang="0">
                  <a:pos x="79" y="216"/>
                </a:cxn>
                <a:cxn ang="0">
                  <a:pos x="48" y="211"/>
                </a:cxn>
                <a:cxn ang="0">
                  <a:pos x="28" y="198"/>
                </a:cxn>
                <a:cxn ang="0">
                  <a:pos x="13" y="173"/>
                </a:cxn>
                <a:cxn ang="0">
                  <a:pos x="0" y="130"/>
                </a:cxn>
                <a:cxn ang="0">
                  <a:pos x="28" y="111"/>
                </a:cxn>
                <a:cxn ang="0">
                  <a:pos x="50" y="81"/>
                </a:cxn>
                <a:cxn ang="0">
                  <a:pos x="73" y="55"/>
                </a:cxn>
                <a:cxn ang="0">
                  <a:pos x="115" y="41"/>
                </a:cxn>
                <a:cxn ang="0">
                  <a:pos x="180" y="14"/>
                </a:cxn>
                <a:cxn ang="0">
                  <a:pos x="218" y="7"/>
                </a:cxn>
                <a:cxn ang="0">
                  <a:pos x="249" y="14"/>
                </a:cxn>
                <a:cxn ang="0">
                  <a:pos x="271" y="27"/>
                </a:cxn>
                <a:cxn ang="0">
                  <a:pos x="292" y="30"/>
                </a:cxn>
                <a:cxn ang="0">
                  <a:pos x="307" y="20"/>
                </a:cxn>
                <a:cxn ang="0">
                  <a:pos x="327" y="6"/>
                </a:cxn>
                <a:cxn ang="0">
                  <a:pos x="330" y="32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5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076950" y="3291707"/>
              <a:ext cx="69850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4" y="2"/>
                </a:cxn>
                <a:cxn ang="0">
                  <a:pos x="83" y="6"/>
                </a:cxn>
                <a:cxn ang="0">
                  <a:pos x="103" y="8"/>
                </a:cxn>
                <a:cxn ang="0">
                  <a:pos x="121" y="7"/>
                </a:cxn>
                <a:cxn ang="0">
                  <a:pos x="130" y="6"/>
                </a:cxn>
                <a:cxn ang="0">
                  <a:pos x="137" y="5"/>
                </a:cxn>
                <a:cxn ang="0">
                  <a:pos x="145" y="3"/>
                </a:cxn>
                <a:cxn ang="0">
                  <a:pos x="153" y="0"/>
                </a:cxn>
                <a:cxn ang="0">
                  <a:pos x="153" y="9"/>
                </a:cxn>
                <a:cxn ang="0">
                  <a:pos x="153" y="25"/>
                </a:cxn>
                <a:cxn ang="0">
                  <a:pos x="143" y="31"/>
                </a:cxn>
                <a:cxn ang="0">
                  <a:pos x="133" y="36"/>
                </a:cxn>
                <a:cxn ang="0">
                  <a:pos x="124" y="40"/>
                </a:cxn>
                <a:cxn ang="0">
                  <a:pos x="114" y="44"/>
                </a:cxn>
                <a:cxn ang="0">
                  <a:pos x="106" y="46"/>
                </a:cxn>
                <a:cxn ang="0">
                  <a:pos x="99" y="48"/>
                </a:cxn>
                <a:cxn ang="0">
                  <a:pos x="92" y="49"/>
                </a:cxn>
                <a:cxn ang="0">
                  <a:pos x="87" y="49"/>
                </a:cxn>
                <a:cxn ang="0">
                  <a:pos x="72" y="48"/>
                </a:cxn>
                <a:cxn ang="0">
                  <a:pos x="60" y="46"/>
                </a:cxn>
                <a:cxn ang="0">
                  <a:pos x="50" y="43"/>
                </a:cxn>
                <a:cxn ang="0">
                  <a:pos x="41" y="38"/>
                </a:cxn>
                <a:cxn ang="0">
                  <a:pos x="22" y="29"/>
                </a:cxn>
                <a:cxn ang="0">
                  <a:pos x="0" y="19"/>
                </a:cxn>
                <a:cxn ang="0">
                  <a:pos x="0" y="0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6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156201" y="4023544"/>
              <a:ext cx="187325" cy="158750"/>
            </a:xfrm>
            <a:custGeom>
              <a:avLst/>
              <a:gdLst/>
              <a:ahLst/>
              <a:cxnLst>
                <a:cxn ang="0">
                  <a:pos x="194" y="16"/>
                </a:cxn>
                <a:cxn ang="0">
                  <a:pos x="216" y="22"/>
                </a:cxn>
                <a:cxn ang="0">
                  <a:pos x="230" y="29"/>
                </a:cxn>
                <a:cxn ang="0">
                  <a:pos x="253" y="35"/>
                </a:cxn>
                <a:cxn ang="0">
                  <a:pos x="279" y="37"/>
                </a:cxn>
                <a:cxn ang="0">
                  <a:pos x="300" y="37"/>
                </a:cxn>
                <a:cxn ang="0">
                  <a:pos x="319" y="34"/>
                </a:cxn>
                <a:cxn ang="0">
                  <a:pos x="329" y="29"/>
                </a:cxn>
                <a:cxn ang="0">
                  <a:pos x="365" y="25"/>
                </a:cxn>
                <a:cxn ang="0">
                  <a:pos x="372" y="49"/>
                </a:cxn>
                <a:cxn ang="0">
                  <a:pos x="383" y="74"/>
                </a:cxn>
                <a:cxn ang="0">
                  <a:pos x="391" y="84"/>
                </a:cxn>
                <a:cxn ang="0">
                  <a:pos x="400" y="92"/>
                </a:cxn>
                <a:cxn ang="0">
                  <a:pos x="412" y="97"/>
                </a:cxn>
                <a:cxn ang="0">
                  <a:pos x="425" y="99"/>
                </a:cxn>
                <a:cxn ang="0">
                  <a:pos x="425" y="120"/>
                </a:cxn>
                <a:cxn ang="0">
                  <a:pos x="425" y="142"/>
                </a:cxn>
                <a:cxn ang="0">
                  <a:pos x="416" y="158"/>
                </a:cxn>
                <a:cxn ang="0">
                  <a:pos x="412" y="170"/>
                </a:cxn>
                <a:cxn ang="0">
                  <a:pos x="412" y="181"/>
                </a:cxn>
                <a:cxn ang="0">
                  <a:pos x="415" y="190"/>
                </a:cxn>
                <a:cxn ang="0">
                  <a:pos x="423" y="211"/>
                </a:cxn>
                <a:cxn ang="0">
                  <a:pos x="426" y="226"/>
                </a:cxn>
                <a:cxn ang="0">
                  <a:pos x="425" y="247"/>
                </a:cxn>
                <a:cxn ang="0">
                  <a:pos x="426" y="274"/>
                </a:cxn>
                <a:cxn ang="0">
                  <a:pos x="423" y="285"/>
                </a:cxn>
                <a:cxn ang="0">
                  <a:pos x="412" y="296"/>
                </a:cxn>
                <a:cxn ang="0">
                  <a:pos x="380" y="298"/>
                </a:cxn>
                <a:cxn ang="0">
                  <a:pos x="370" y="299"/>
                </a:cxn>
                <a:cxn ang="0">
                  <a:pos x="360" y="296"/>
                </a:cxn>
                <a:cxn ang="0">
                  <a:pos x="351" y="290"/>
                </a:cxn>
                <a:cxn ang="0">
                  <a:pos x="338" y="278"/>
                </a:cxn>
                <a:cxn ang="0">
                  <a:pos x="324" y="261"/>
                </a:cxn>
                <a:cxn ang="0">
                  <a:pos x="311" y="253"/>
                </a:cxn>
                <a:cxn ang="0">
                  <a:pos x="294" y="251"/>
                </a:cxn>
                <a:cxn ang="0">
                  <a:pos x="278" y="232"/>
                </a:cxn>
                <a:cxn ang="0">
                  <a:pos x="274" y="210"/>
                </a:cxn>
                <a:cxn ang="0">
                  <a:pos x="269" y="197"/>
                </a:cxn>
                <a:cxn ang="0">
                  <a:pos x="261" y="184"/>
                </a:cxn>
                <a:cxn ang="0">
                  <a:pos x="251" y="173"/>
                </a:cxn>
                <a:cxn ang="0">
                  <a:pos x="238" y="165"/>
                </a:cxn>
                <a:cxn ang="0">
                  <a:pos x="222" y="161"/>
                </a:cxn>
                <a:cxn ang="0">
                  <a:pos x="204" y="161"/>
                </a:cxn>
                <a:cxn ang="0">
                  <a:pos x="188" y="163"/>
                </a:cxn>
                <a:cxn ang="0">
                  <a:pos x="173" y="168"/>
                </a:cxn>
                <a:cxn ang="0">
                  <a:pos x="160" y="176"/>
                </a:cxn>
                <a:cxn ang="0">
                  <a:pos x="141" y="191"/>
                </a:cxn>
                <a:cxn ang="0">
                  <a:pos x="118" y="215"/>
                </a:cxn>
                <a:cxn ang="0">
                  <a:pos x="105" y="218"/>
                </a:cxn>
                <a:cxn ang="0">
                  <a:pos x="100" y="201"/>
                </a:cxn>
                <a:cxn ang="0">
                  <a:pos x="90" y="186"/>
                </a:cxn>
                <a:cxn ang="0">
                  <a:pos x="76" y="171"/>
                </a:cxn>
                <a:cxn ang="0">
                  <a:pos x="50" y="153"/>
                </a:cxn>
                <a:cxn ang="0">
                  <a:pos x="24" y="134"/>
                </a:cxn>
                <a:cxn ang="0">
                  <a:pos x="8" y="119"/>
                </a:cxn>
                <a:cxn ang="0">
                  <a:pos x="15" y="101"/>
                </a:cxn>
                <a:cxn ang="0">
                  <a:pos x="46" y="77"/>
                </a:cxn>
                <a:cxn ang="0">
                  <a:pos x="75" y="48"/>
                </a:cxn>
                <a:cxn ang="0">
                  <a:pos x="98" y="17"/>
                </a:cxn>
                <a:cxn ang="0">
                  <a:pos x="179" y="13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7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200900" y="3286945"/>
              <a:ext cx="692150" cy="874713"/>
            </a:xfrm>
            <a:custGeom>
              <a:avLst/>
              <a:gdLst/>
              <a:ahLst/>
              <a:cxnLst>
                <a:cxn ang="0">
                  <a:pos x="477" y="107"/>
                </a:cxn>
                <a:cxn ang="0">
                  <a:pos x="485" y="185"/>
                </a:cxn>
                <a:cxn ang="0">
                  <a:pos x="578" y="287"/>
                </a:cxn>
                <a:cxn ang="0">
                  <a:pos x="701" y="459"/>
                </a:cxn>
                <a:cxn ang="0">
                  <a:pos x="795" y="499"/>
                </a:cxn>
                <a:cxn ang="0">
                  <a:pos x="877" y="493"/>
                </a:cxn>
                <a:cxn ang="0">
                  <a:pos x="930" y="537"/>
                </a:cxn>
                <a:cxn ang="0">
                  <a:pos x="1102" y="567"/>
                </a:cxn>
                <a:cxn ang="0">
                  <a:pos x="1121" y="461"/>
                </a:cxn>
                <a:cxn ang="0">
                  <a:pos x="1179" y="539"/>
                </a:cxn>
                <a:cxn ang="0">
                  <a:pos x="1243" y="561"/>
                </a:cxn>
                <a:cxn ang="0">
                  <a:pos x="1299" y="498"/>
                </a:cxn>
                <a:cxn ang="0">
                  <a:pos x="1404" y="409"/>
                </a:cxn>
                <a:cxn ang="0">
                  <a:pos x="1549" y="428"/>
                </a:cxn>
                <a:cxn ang="0">
                  <a:pos x="1579" y="498"/>
                </a:cxn>
                <a:cxn ang="0">
                  <a:pos x="1504" y="542"/>
                </a:cxn>
                <a:cxn ang="0">
                  <a:pos x="1485" y="679"/>
                </a:cxn>
                <a:cxn ang="0">
                  <a:pos x="1429" y="704"/>
                </a:cxn>
                <a:cxn ang="0">
                  <a:pos x="1408" y="814"/>
                </a:cxn>
                <a:cxn ang="0">
                  <a:pos x="1321" y="754"/>
                </a:cxn>
                <a:cxn ang="0">
                  <a:pos x="1323" y="698"/>
                </a:cxn>
                <a:cxn ang="0">
                  <a:pos x="1225" y="638"/>
                </a:cxn>
                <a:cxn ang="0">
                  <a:pos x="1187" y="588"/>
                </a:cxn>
                <a:cxn ang="0">
                  <a:pos x="1131" y="575"/>
                </a:cxn>
                <a:cxn ang="0">
                  <a:pos x="1127" y="625"/>
                </a:cxn>
                <a:cxn ang="0">
                  <a:pos x="1117" y="683"/>
                </a:cxn>
                <a:cxn ang="0">
                  <a:pos x="1160" y="735"/>
                </a:cxn>
                <a:cxn ang="0">
                  <a:pos x="1149" y="843"/>
                </a:cxn>
                <a:cxn ang="0">
                  <a:pos x="1075" y="864"/>
                </a:cxn>
                <a:cxn ang="0">
                  <a:pos x="1049" y="937"/>
                </a:cxn>
                <a:cxn ang="0">
                  <a:pos x="954" y="1001"/>
                </a:cxn>
                <a:cxn ang="0">
                  <a:pos x="912" y="1050"/>
                </a:cxn>
                <a:cxn ang="0">
                  <a:pos x="780" y="1188"/>
                </a:cxn>
                <a:cxn ang="0">
                  <a:pos x="723" y="1233"/>
                </a:cxn>
                <a:cxn ang="0">
                  <a:pos x="744" y="1344"/>
                </a:cxn>
                <a:cxn ang="0">
                  <a:pos x="712" y="1445"/>
                </a:cxn>
                <a:cxn ang="0">
                  <a:pos x="722" y="1524"/>
                </a:cxn>
                <a:cxn ang="0">
                  <a:pos x="693" y="1576"/>
                </a:cxn>
                <a:cxn ang="0">
                  <a:pos x="595" y="1663"/>
                </a:cxn>
                <a:cxn ang="0">
                  <a:pos x="516" y="1529"/>
                </a:cxn>
                <a:cxn ang="0">
                  <a:pos x="419" y="1334"/>
                </a:cxn>
                <a:cxn ang="0">
                  <a:pos x="301" y="1114"/>
                </a:cxn>
                <a:cxn ang="0">
                  <a:pos x="259" y="861"/>
                </a:cxn>
                <a:cxn ang="0">
                  <a:pos x="230" y="814"/>
                </a:cxn>
                <a:cxn ang="0">
                  <a:pos x="164" y="900"/>
                </a:cxn>
                <a:cxn ang="0">
                  <a:pos x="90" y="876"/>
                </a:cxn>
                <a:cxn ang="0">
                  <a:pos x="51" y="798"/>
                </a:cxn>
                <a:cxn ang="0">
                  <a:pos x="30" y="771"/>
                </a:cxn>
                <a:cxn ang="0">
                  <a:pos x="32" y="708"/>
                </a:cxn>
                <a:cxn ang="0">
                  <a:pos x="159" y="659"/>
                </a:cxn>
                <a:cxn ang="0">
                  <a:pos x="92" y="569"/>
                </a:cxn>
                <a:cxn ang="0">
                  <a:pos x="59" y="500"/>
                </a:cxn>
                <a:cxn ang="0">
                  <a:pos x="162" y="459"/>
                </a:cxn>
                <a:cxn ang="0">
                  <a:pos x="270" y="294"/>
                </a:cxn>
                <a:cxn ang="0">
                  <a:pos x="274" y="230"/>
                </a:cxn>
                <a:cxn ang="0">
                  <a:pos x="227" y="142"/>
                </a:cxn>
                <a:cxn ang="0">
                  <a:pos x="322" y="54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8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322888" y="4082283"/>
              <a:ext cx="158750" cy="206375"/>
            </a:xfrm>
            <a:custGeom>
              <a:avLst/>
              <a:gdLst/>
              <a:ahLst/>
              <a:cxnLst>
                <a:cxn ang="0">
                  <a:pos x="53" y="382"/>
                </a:cxn>
                <a:cxn ang="0">
                  <a:pos x="53" y="358"/>
                </a:cxn>
                <a:cxn ang="0">
                  <a:pos x="53" y="333"/>
                </a:cxn>
                <a:cxn ang="0">
                  <a:pos x="50" y="312"/>
                </a:cxn>
                <a:cxn ang="0">
                  <a:pos x="43" y="293"/>
                </a:cxn>
                <a:cxn ang="0">
                  <a:pos x="35" y="277"/>
                </a:cxn>
                <a:cxn ang="0">
                  <a:pos x="13" y="245"/>
                </a:cxn>
                <a:cxn ang="0">
                  <a:pos x="0" y="185"/>
                </a:cxn>
                <a:cxn ang="0">
                  <a:pos x="33" y="181"/>
                </a:cxn>
                <a:cxn ang="0">
                  <a:pos x="40" y="169"/>
                </a:cxn>
                <a:cxn ang="0">
                  <a:pos x="41" y="150"/>
                </a:cxn>
                <a:cxn ang="0">
                  <a:pos x="38" y="107"/>
                </a:cxn>
                <a:cxn ang="0">
                  <a:pos x="31" y="65"/>
                </a:cxn>
                <a:cxn ang="0">
                  <a:pos x="32" y="47"/>
                </a:cxn>
                <a:cxn ang="0">
                  <a:pos x="36" y="36"/>
                </a:cxn>
                <a:cxn ang="0">
                  <a:pos x="120" y="31"/>
                </a:cxn>
                <a:cxn ang="0">
                  <a:pos x="122" y="22"/>
                </a:cxn>
                <a:cxn ang="0">
                  <a:pos x="128" y="14"/>
                </a:cxn>
                <a:cxn ang="0">
                  <a:pos x="140" y="0"/>
                </a:cxn>
                <a:cxn ang="0">
                  <a:pos x="142" y="18"/>
                </a:cxn>
                <a:cxn ang="0">
                  <a:pos x="142" y="26"/>
                </a:cxn>
                <a:cxn ang="0">
                  <a:pos x="140" y="31"/>
                </a:cxn>
                <a:cxn ang="0">
                  <a:pos x="168" y="31"/>
                </a:cxn>
                <a:cxn ang="0">
                  <a:pos x="186" y="31"/>
                </a:cxn>
                <a:cxn ang="0">
                  <a:pos x="214" y="38"/>
                </a:cxn>
                <a:cxn ang="0">
                  <a:pos x="233" y="49"/>
                </a:cxn>
                <a:cxn ang="0">
                  <a:pos x="246" y="58"/>
                </a:cxn>
                <a:cxn ang="0">
                  <a:pos x="259" y="61"/>
                </a:cxn>
                <a:cxn ang="0">
                  <a:pos x="268" y="59"/>
                </a:cxn>
                <a:cxn ang="0">
                  <a:pos x="275" y="54"/>
                </a:cxn>
                <a:cxn ang="0">
                  <a:pos x="286" y="37"/>
                </a:cxn>
                <a:cxn ang="0">
                  <a:pos x="312" y="52"/>
                </a:cxn>
                <a:cxn ang="0">
                  <a:pos x="325" y="59"/>
                </a:cxn>
                <a:cxn ang="0">
                  <a:pos x="338" y="61"/>
                </a:cxn>
                <a:cxn ang="0">
                  <a:pos x="353" y="161"/>
                </a:cxn>
                <a:cxn ang="0">
                  <a:pos x="338" y="185"/>
                </a:cxn>
                <a:cxn ang="0">
                  <a:pos x="323" y="206"/>
                </a:cxn>
                <a:cxn ang="0">
                  <a:pos x="315" y="224"/>
                </a:cxn>
                <a:cxn ang="0">
                  <a:pos x="313" y="239"/>
                </a:cxn>
                <a:cxn ang="0">
                  <a:pos x="313" y="255"/>
                </a:cxn>
                <a:cxn ang="0">
                  <a:pos x="321" y="273"/>
                </a:cxn>
                <a:cxn ang="0">
                  <a:pos x="331" y="293"/>
                </a:cxn>
                <a:cxn ang="0">
                  <a:pos x="337" y="309"/>
                </a:cxn>
                <a:cxn ang="0">
                  <a:pos x="337" y="321"/>
                </a:cxn>
                <a:cxn ang="0">
                  <a:pos x="330" y="337"/>
                </a:cxn>
                <a:cxn ang="0">
                  <a:pos x="326" y="351"/>
                </a:cxn>
                <a:cxn ang="0">
                  <a:pos x="319" y="358"/>
                </a:cxn>
                <a:cxn ang="0">
                  <a:pos x="308" y="356"/>
                </a:cxn>
                <a:cxn ang="0">
                  <a:pos x="298" y="350"/>
                </a:cxn>
                <a:cxn ang="0">
                  <a:pos x="287" y="340"/>
                </a:cxn>
                <a:cxn ang="0">
                  <a:pos x="277" y="335"/>
                </a:cxn>
                <a:cxn ang="0">
                  <a:pos x="266" y="333"/>
                </a:cxn>
                <a:cxn ang="0">
                  <a:pos x="246" y="333"/>
                </a:cxn>
                <a:cxn ang="0">
                  <a:pos x="221" y="336"/>
                </a:cxn>
                <a:cxn ang="0">
                  <a:pos x="181" y="343"/>
                </a:cxn>
                <a:cxn ang="0">
                  <a:pos x="131" y="359"/>
                </a:cxn>
                <a:cxn ang="0">
                  <a:pos x="86" y="375"/>
                </a:cxn>
                <a:cxn ang="0">
                  <a:pos x="53" y="394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9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391275" y="4277545"/>
              <a:ext cx="192088" cy="271463"/>
            </a:xfrm>
            <a:custGeom>
              <a:avLst/>
              <a:gdLst/>
              <a:ahLst/>
              <a:cxnLst>
                <a:cxn ang="0">
                  <a:pos x="410" y="105"/>
                </a:cxn>
                <a:cxn ang="0">
                  <a:pos x="405" y="98"/>
                </a:cxn>
                <a:cxn ang="0">
                  <a:pos x="408" y="92"/>
                </a:cxn>
                <a:cxn ang="0">
                  <a:pos x="422" y="77"/>
                </a:cxn>
                <a:cxn ang="0">
                  <a:pos x="441" y="60"/>
                </a:cxn>
                <a:cxn ang="0">
                  <a:pos x="447" y="50"/>
                </a:cxn>
                <a:cxn ang="0">
                  <a:pos x="449" y="37"/>
                </a:cxn>
                <a:cxn ang="0">
                  <a:pos x="432" y="34"/>
                </a:cxn>
                <a:cxn ang="0">
                  <a:pos x="422" y="27"/>
                </a:cxn>
                <a:cxn ang="0">
                  <a:pos x="411" y="21"/>
                </a:cxn>
                <a:cxn ang="0">
                  <a:pos x="390" y="18"/>
                </a:cxn>
                <a:cxn ang="0">
                  <a:pos x="377" y="20"/>
                </a:cxn>
                <a:cxn ang="0">
                  <a:pos x="368" y="24"/>
                </a:cxn>
                <a:cxn ang="0">
                  <a:pos x="355" y="37"/>
                </a:cxn>
                <a:cxn ang="0">
                  <a:pos x="340" y="50"/>
                </a:cxn>
                <a:cxn ang="0">
                  <a:pos x="326" y="54"/>
                </a:cxn>
                <a:cxn ang="0">
                  <a:pos x="310" y="55"/>
                </a:cxn>
                <a:cxn ang="0">
                  <a:pos x="287" y="54"/>
                </a:cxn>
                <a:cxn ang="0">
                  <a:pos x="267" y="50"/>
                </a:cxn>
                <a:cxn ang="0">
                  <a:pos x="235" y="36"/>
                </a:cxn>
                <a:cxn ang="0">
                  <a:pos x="206" y="19"/>
                </a:cxn>
                <a:cxn ang="0">
                  <a:pos x="189" y="12"/>
                </a:cxn>
                <a:cxn ang="0">
                  <a:pos x="170" y="6"/>
                </a:cxn>
                <a:cxn ang="0">
                  <a:pos x="134" y="8"/>
                </a:cxn>
                <a:cxn ang="0">
                  <a:pos x="119" y="6"/>
                </a:cxn>
                <a:cxn ang="0">
                  <a:pos x="103" y="0"/>
                </a:cxn>
                <a:cxn ang="0">
                  <a:pos x="52" y="0"/>
                </a:cxn>
                <a:cxn ang="0">
                  <a:pos x="5" y="0"/>
                </a:cxn>
                <a:cxn ang="0">
                  <a:pos x="5" y="18"/>
                </a:cxn>
                <a:cxn ang="0">
                  <a:pos x="5" y="37"/>
                </a:cxn>
                <a:cxn ang="0">
                  <a:pos x="15" y="60"/>
                </a:cxn>
                <a:cxn ang="0">
                  <a:pos x="23" y="91"/>
                </a:cxn>
                <a:cxn ang="0">
                  <a:pos x="31" y="128"/>
                </a:cxn>
                <a:cxn ang="0">
                  <a:pos x="38" y="172"/>
                </a:cxn>
                <a:cxn ang="0">
                  <a:pos x="37" y="206"/>
                </a:cxn>
                <a:cxn ang="0">
                  <a:pos x="29" y="230"/>
                </a:cxn>
                <a:cxn ang="0">
                  <a:pos x="7" y="269"/>
                </a:cxn>
                <a:cxn ang="0">
                  <a:pos x="10" y="321"/>
                </a:cxn>
                <a:cxn ang="0">
                  <a:pos x="28" y="339"/>
                </a:cxn>
                <a:cxn ang="0">
                  <a:pos x="84" y="367"/>
                </a:cxn>
                <a:cxn ang="0">
                  <a:pos x="136" y="396"/>
                </a:cxn>
                <a:cxn ang="0">
                  <a:pos x="170" y="420"/>
                </a:cxn>
                <a:cxn ang="0">
                  <a:pos x="189" y="436"/>
                </a:cxn>
                <a:cxn ang="0">
                  <a:pos x="198" y="451"/>
                </a:cxn>
                <a:cxn ang="0">
                  <a:pos x="201" y="464"/>
                </a:cxn>
                <a:cxn ang="0">
                  <a:pos x="209" y="479"/>
                </a:cxn>
                <a:cxn ang="0">
                  <a:pos x="220" y="492"/>
                </a:cxn>
                <a:cxn ang="0">
                  <a:pos x="233" y="503"/>
                </a:cxn>
                <a:cxn ang="0">
                  <a:pos x="247" y="512"/>
                </a:cxn>
                <a:cxn ang="0">
                  <a:pos x="264" y="519"/>
                </a:cxn>
                <a:cxn ang="0">
                  <a:pos x="281" y="523"/>
                </a:cxn>
                <a:cxn ang="0">
                  <a:pos x="304" y="502"/>
                </a:cxn>
                <a:cxn ang="0">
                  <a:pos x="335" y="462"/>
                </a:cxn>
                <a:cxn ang="0">
                  <a:pos x="365" y="427"/>
                </a:cxn>
                <a:cxn ang="0">
                  <a:pos x="394" y="390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0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373813" y="3363145"/>
              <a:ext cx="101600" cy="130175"/>
            </a:xfrm>
            <a:custGeom>
              <a:avLst/>
              <a:gdLst/>
              <a:ahLst/>
              <a:cxnLst>
                <a:cxn ang="0">
                  <a:pos x="12" y="228"/>
                </a:cxn>
                <a:cxn ang="0">
                  <a:pos x="36" y="240"/>
                </a:cxn>
                <a:cxn ang="0">
                  <a:pos x="53" y="245"/>
                </a:cxn>
                <a:cxn ang="0">
                  <a:pos x="68" y="245"/>
                </a:cxn>
                <a:cxn ang="0">
                  <a:pos x="85" y="241"/>
                </a:cxn>
                <a:cxn ang="0">
                  <a:pos x="110" y="228"/>
                </a:cxn>
                <a:cxn ang="0">
                  <a:pos x="141" y="205"/>
                </a:cxn>
                <a:cxn ang="0">
                  <a:pos x="161" y="184"/>
                </a:cxn>
                <a:cxn ang="0">
                  <a:pos x="159" y="173"/>
                </a:cxn>
                <a:cxn ang="0">
                  <a:pos x="149" y="160"/>
                </a:cxn>
                <a:cxn ang="0">
                  <a:pos x="143" y="145"/>
                </a:cxn>
                <a:cxn ang="0">
                  <a:pos x="141" y="130"/>
                </a:cxn>
                <a:cxn ang="0">
                  <a:pos x="141" y="116"/>
                </a:cxn>
                <a:cxn ang="0">
                  <a:pos x="146" y="105"/>
                </a:cxn>
                <a:cxn ang="0">
                  <a:pos x="156" y="94"/>
                </a:cxn>
                <a:cxn ang="0">
                  <a:pos x="168" y="86"/>
                </a:cxn>
                <a:cxn ang="0">
                  <a:pos x="204" y="71"/>
                </a:cxn>
                <a:cxn ang="0">
                  <a:pos x="225" y="49"/>
                </a:cxn>
                <a:cxn ang="0">
                  <a:pos x="221" y="30"/>
                </a:cxn>
                <a:cxn ang="0">
                  <a:pos x="214" y="17"/>
                </a:cxn>
                <a:cxn ang="0">
                  <a:pos x="212" y="6"/>
                </a:cxn>
                <a:cxn ang="0">
                  <a:pos x="202" y="1"/>
                </a:cxn>
                <a:cxn ang="0">
                  <a:pos x="181" y="7"/>
                </a:cxn>
                <a:cxn ang="0">
                  <a:pos x="154" y="20"/>
                </a:cxn>
                <a:cxn ang="0">
                  <a:pos x="121" y="38"/>
                </a:cxn>
                <a:cxn ang="0">
                  <a:pos x="100" y="51"/>
                </a:cxn>
                <a:cxn ang="0">
                  <a:pos x="87" y="55"/>
                </a:cxn>
                <a:cxn ang="0">
                  <a:pos x="75" y="54"/>
                </a:cxn>
                <a:cxn ang="0">
                  <a:pos x="59" y="47"/>
                </a:cxn>
                <a:cxn ang="0">
                  <a:pos x="36" y="31"/>
                </a:cxn>
                <a:cxn ang="0">
                  <a:pos x="24" y="39"/>
                </a:cxn>
                <a:cxn ang="0">
                  <a:pos x="18" y="95"/>
                </a:cxn>
                <a:cxn ang="0">
                  <a:pos x="10" y="163"/>
                </a:cxn>
                <a:cxn ang="0">
                  <a:pos x="3" y="212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1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672264" y="3466332"/>
              <a:ext cx="22225" cy="55562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29" y="2"/>
                </a:cxn>
                <a:cxn ang="0">
                  <a:pos x="32" y="3"/>
                </a:cxn>
                <a:cxn ang="0">
                  <a:pos x="36" y="3"/>
                </a:cxn>
                <a:cxn ang="0">
                  <a:pos x="40" y="2"/>
                </a:cxn>
                <a:cxn ang="0">
                  <a:pos x="47" y="1"/>
                </a:cxn>
                <a:cxn ang="0">
                  <a:pos x="53" y="0"/>
                </a:cxn>
                <a:cxn ang="0">
                  <a:pos x="53" y="26"/>
                </a:cxn>
                <a:cxn ang="0">
                  <a:pos x="54" y="47"/>
                </a:cxn>
                <a:cxn ang="0">
                  <a:pos x="54" y="57"/>
                </a:cxn>
                <a:cxn ang="0">
                  <a:pos x="56" y="65"/>
                </a:cxn>
                <a:cxn ang="0">
                  <a:pos x="58" y="73"/>
                </a:cxn>
                <a:cxn ang="0">
                  <a:pos x="60" y="81"/>
                </a:cxn>
                <a:cxn ang="0">
                  <a:pos x="20" y="81"/>
                </a:cxn>
                <a:cxn ang="0">
                  <a:pos x="14" y="80"/>
                </a:cxn>
                <a:cxn ang="0">
                  <a:pos x="7" y="77"/>
                </a:cxn>
                <a:cxn ang="0">
                  <a:pos x="5" y="74"/>
                </a:cxn>
                <a:cxn ang="0">
                  <a:pos x="2" y="72"/>
                </a:cxn>
                <a:cxn ang="0">
                  <a:pos x="1" y="70"/>
                </a:cxn>
                <a:cxn ang="0">
                  <a:pos x="0" y="68"/>
                </a:cxn>
                <a:cxn ang="0">
                  <a:pos x="7" y="12"/>
                </a:cxn>
                <a:cxn ang="0">
                  <a:pos x="20" y="6"/>
                </a:cxn>
                <a:cxn ang="0">
                  <a:pos x="34" y="0"/>
                </a:cxn>
                <a:cxn ang="0">
                  <a:pos x="27" y="0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2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959476" y="2601145"/>
              <a:ext cx="161925" cy="66675"/>
            </a:xfrm>
            <a:custGeom>
              <a:avLst/>
              <a:gdLst/>
              <a:ahLst/>
              <a:cxnLst>
                <a:cxn ang="0">
                  <a:pos x="250" y="117"/>
                </a:cxn>
                <a:cxn ang="0">
                  <a:pos x="258" y="119"/>
                </a:cxn>
                <a:cxn ang="0">
                  <a:pos x="277" y="123"/>
                </a:cxn>
                <a:cxn ang="0">
                  <a:pos x="295" y="127"/>
                </a:cxn>
                <a:cxn ang="0">
                  <a:pos x="303" y="129"/>
                </a:cxn>
                <a:cxn ang="0">
                  <a:pos x="370" y="97"/>
                </a:cxn>
                <a:cxn ang="0">
                  <a:pos x="358" y="75"/>
                </a:cxn>
                <a:cxn ang="0">
                  <a:pos x="345" y="48"/>
                </a:cxn>
                <a:cxn ang="0">
                  <a:pos x="335" y="27"/>
                </a:cxn>
                <a:cxn ang="0">
                  <a:pos x="330" y="18"/>
                </a:cxn>
                <a:cxn ang="0">
                  <a:pos x="300" y="15"/>
                </a:cxn>
                <a:cxn ang="0">
                  <a:pos x="257" y="9"/>
                </a:cxn>
                <a:cxn ang="0">
                  <a:pos x="214" y="2"/>
                </a:cxn>
                <a:cxn ang="0">
                  <a:pos x="183" y="0"/>
                </a:cxn>
                <a:cxn ang="0">
                  <a:pos x="179" y="0"/>
                </a:cxn>
                <a:cxn ang="0">
                  <a:pos x="176" y="1"/>
                </a:cxn>
                <a:cxn ang="0">
                  <a:pos x="172" y="2"/>
                </a:cxn>
                <a:cxn ang="0">
                  <a:pos x="170" y="3"/>
                </a:cxn>
                <a:cxn ang="0">
                  <a:pos x="162" y="7"/>
                </a:cxn>
                <a:cxn ang="0">
                  <a:pos x="150" y="12"/>
                </a:cxn>
                <a:cxn ang="0">
                  <a:pos x="147" y="21"/>
                </a:cxn>
                <a:cxn ang="0">
                  <a:pos x="140" y="35"/>
                </a:cxn>
                <a:cxn ang="0">
                  <a:pos x="134" y="48"/>
                </a:cxn>
                <a:cxn ang="0">
                  <a:pos x="131" y="55"/>
                </a:cxn>
                <a:cxn ang="0">
                  <a:pos x="122" y="54"/>
                </a:cxn>
                <a:cxn ang="0">
                  <a:pos x="111" y="49"/>
                </a:cxn>
                <a:cxn ang="0">
                  <a:pos x="98" y="44"/>
                </a:cxn>
                <a:cxn ang="0">
                  <a:pos x="84" y="38"/>
                </a:cxn>
                <a:cxn ang="0">
                  <a:pos x="60" y="26"/>
                </a:cxn>
                <a:cxn ang="0">
                  <a:pos x="44" y="18"/>
                </a:cxn>
                <a:cxn ang="0">
                  <a:pos x="32" y="25"/>
                </a:cxn>
                <a:cxn ang="0">
                  <a:pos x="21" y="33"/>
                </a:cxn>
                <a:cxn ang="0">
                  <a:pos x="16" y="37"/>
                </a:cxn>
                <a:cxn ang="0">
                  <a:pos x="12" y="41"/>
                </a:cxn>
                <a:cxn ang="0">
                  <a:pos x="9" y="46"/>
                </a:cxn>
                <a:cxn ang="0">
                  <a:pos x="5" y="52"/>
                </a:cxn>
                <a:cxn ang="0">
                  <a:pos x="3" y="57"/>
                </a:cxn>
                <a:cxn ang="0">
                  <a:pos x="1" y="63"/>
                </a:cxn>
                <a:cxn ang="0">
                  <a:pos x="0" y="69"/>
                </a:cxn>
                <a:cxn ang="0">
                  <a:pos x="0" y="75"/>
                </a:cxn>
                <a:cxn ang="0">
                  <a:pos x="1" y="82"/>
                </a:cxn>
                <a:cxn ang="0">
                  <a:pos x="3" y="88"/>
                </a:cxn>
                <a:cxn ang="0">
                  <a:pos x="6" y="96"/>
                </a:cxn>
                <a:cxn ang="0">
                  <a:pos x="11" y="103"/>
                </a:cxn>
                <a:cxn ang="0">
                  <a:pos x="20" y="101"/>
                </a:cxn>
                <a:cxn ang="0">
                  <a:pos x="33" y="99"/>
                </a:cxn>
                <a:cxn ang="0">
                  <a:pos x="50" y="97"/>
                </a:cxn>
                <a:cxn ang="0">
                  <a:pos x="69" y="95"/>
                </a:cxn>
                <a:cxn ang="0">
                  <a:pos x="102" y="92"/>
                </a:cxn>
                <a:cxn ang="0">
                  <a:pos x="117" y="91"/>
                </a:cxn>
                <a:cxn ang="0">
                  <a:pos x="137" y="92"/>
                </a:cxn>
                <a:cxn ang="0">
                  <a:pos x="152" y="94"/>
                </a:cxn>
                <a:cxn ang="0">
                  <a:pos x="166" y="97"/>
                </a:cxn>
                <a:cxn ang="0">
                  <a:pos x="177" y="100"/>
                </a:cxn>
                <a:cxn ang="0">
                  <a:pos x="189" y="104"/>
                </a:cxn>
                <a:cxn ang="0">
                  <a:pos x="201" y="108"/>
                </a:cxn>
                <a:cxn ang="0">
                  <a:pos x="217" y="110"/>
                </a:cxn>
                <a:cxn ang="0">
                  <a:pos x="237" y="111"/>
                </a:cxn>
                <a:cxn ang="0">
                  <a:pos x="237" y="117"/>
                </a:cxn>
                <a:cxn ang="0">
                  <a:pos x="250" y="117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3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370638" y="3321869"/>
              <a:ext cx="30162" cy="57150"/>
            </a:xfrm>
            <a:custGeom>
              <a:avLst/>
              <a:gdLst/>
              <a:ahLst/>
              <a:cxnLst>
                <a:cxn ang="0">
                  <a:pos x="27" y="1"/>
                </a:cxn>
                <a:cxn ang="0">
                  <a:pos x="34" y="0"/>
                </a:cxn>
                <a:cxn ang="0">
                  <a:pos x="41" y="0"/>
                </a:cxn>
                <a:cxn ang="0">
                  <a:pos x="47" y="2"/>
                </a:cxn>
                <a:cxn ang="0">
                  <a:pos x="54" y="4"/>
                </a:cxn>
                <a:cxn ang="0">
                  <a:pos x="60" y="6"/>
                </a:cxn>
                <a:cxn ang="0">
                  <a:pos x="66" y="8"/>
                </a:cxn>
                <a:cxn ang="0">
                  <a:pos x="73" y="8"/>
                </a:cxn>
                <a:cxn ang="0">
                  <a:pos x="80" y="7"/>
                </a:cxn>
                <a:cxn ang="0">
                  <a:pos x="80" y="38"/>
                </a:cxn>
                <a:cxn ang="0">
                  <a:pos x="75" y="44"/>
                </a:cxn>
                <a:cxn ang="0">
                  <a:pos x="69" y="51"/>
                </a:cxn>
                <a:cxn ang="0">
                  <a:pos x="64" y="59"/>
                </a:cxn>
                <a:cxn ang="0">
                  <a:pos x="58" y="68"/>
                </a:cxn>
                <a:cxn ang="0">
                  <a:pos x="51" y="84"/>
                </a:cxn>
                <a:cxn ang="0">
                  <a:pos x="47" y="94"/>
                </a:cxn>
                <a:cxn ang="0">
                  <a:pos x="43" y="93"/>
                </a:cxn>
                <a:cxn ang="0">
                  <a:pos x="40" y="92"/>
                </a:cxn>
                <a:cxn ang="0">
                  <a:pos x="37" y="91"/>
                </a:cxn>
                <a:cxn ang="0">
                  <a:pos x="34" y="89"/>
                </a:cxn>
                <a:cxn ang="0">
                  <a:pos x="29" y="84"/>
                </a:cxn>
                <a:cxn ang="0">
                  <a:pos x="23" y="78"/>
                </a:cxn>
                <a:cxn ang="0">
                  <a:pos x="19" y="72"/>
                </a:cxn>
                <a:cxn ang="0">
                  <a:pos x="13" y="65"/>
                </a:cxn>
                <a:cxn ang="0">
                  <a:pos x="7" y="60"/>
                </a:cxn>
                <a:cxn ang="0">
                  <a:pos x="0" y="56"/>
                </a:cxn>
                <a:cxn ang="0">
                  <a:pos x="8" y="41"/>
                </a:cxn>
                <a:cxn ang="0">
                  <a:pos x="13" y="29"/>
                </a:cxn>
                <a:cxn ang="0">
                  <a:pos x="19" y="17"/>
                </a:cxn>
                <a:cxn ang="0">
                  <a:pos x="27" y="1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4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186488" y="5333232"/>
              <a:ext cx="61912" cy="57150"/>
            </a:xfrm>
            <a:custGeom>
              <a:avLst/>
              <a:gdLst/>
              <a:ahLst/>
              <a:cxnLst>
                <a:cxn ang="0">
                  <a:pos x="3" y="55"/>
                </a:cxn>
                <a:cxn ang="0">
                  <a:pos x="11" y="54"/>
                </a:cxn>
                <a:cxn ang="0">
                  <a:pos x="18" y="53"/>
                </a:cxn>
                <a:cxn ang="0">
                  <a:pos x="24" y="50"/>
                </a:cxn>
                <a:cxn ang="0">
                  <a:pos x="31" y="47"/>
                </a:cxn>
                <a:cxn ang="0">
                  <a:pos x="42" y="38"/>
                </a:cxn>
                <a:cxn ang="0">
                  <a:pos x="52" y="28"/>
                </a:cxn>
                <a:cxn ang="0">
                  <a:pos x="61" y="18"/>
                </a:cxn>
                <a:cxn ang="0">
                  <a:pos x="71" y="8"/>
                </a:cxn>
                <a:cxn ang="0">
                  <a:pos x="76" y="5"/>
                </a:cxn>
                <a:cxn ang="0">
                  <a:pos x="82" y="2"/>
                </a:cxn>
                <a:cxn ang="0">
                  <a:pos x="88" y="0"/>
                </a:cxn>
                <a:cxn ang="0">
                  <a:pos x="96" y="0"/>
                </a:cxn>
                <a:cxn ang="0">
                  <a:pos x="102" y="0"/>
                </a:cxn>
                <a:cxn ang="0">
                  <a:pos x="110" y="3"/>
                </a:cxn>
                <a:cxn ang="0">
                  <a:pos x="117" y="6"/>
                </a:cxn>
                <a:cxn ang="0">
                  <a:pos x="123" y="11"/>
                </a:cxn>
                <a:cxn ang="0">
                  <a:pos x="128" y="16"/>
                </a:cxn>
                <a:cxn ang="0">
                  <a:pos x="132" y="24"/>
                </a:cxn>
                <a:cxn ang="0">
                  <a:pos x="134" y="30"/>
                </a:cxn>
                <a:cxn ang="0">
                  <a:pos x="135" y="37"/>
                </a:cxn>
                <a:cxn ang="0">
                  <a:pos x="134" y="40"/>
                </a:cxn>
                <a:cxn ang="0">
                  <a:pos x="132" y="43"/>
                </a:cxn>
                <a:cxn ang="0">
                  <a:pos x="129" y="47"/>
                </a:cxn>
                <a:cxn ang="0">
                  <a:pos x="124" y="51"/>
                </a:cxn>
                <a:cxn ang="0">
                  <a:pos x="113" y="61"/>
                </a:cxn>
                <a:cxn ang="0">
                  <a:pos x="100" y="72"/>
                </a:cxn>
                <a:cxn ang="0">
                  <a:pos x="87" y="82"/>
                </a:cxn>
                <a:cxn ang="0">
                  <a:pos x="74" y="91"/>
                </a:cxn>
                <a:cxn ang="0">
                  <a:pos x="63" y="96"/>
                </a:cxn>
                <a:cxn ang="0">
                  <a:pos x="55" y="98"/>
                </a:cxn>
                <a:cxn ang="0">
                  <a:pos x="51" y="97"/>
                </a:cxn>
                <a:cxn ang="0">
                  <a:pos x="43" y="92"/>
                </a:cxn>
                <a:cxn ang="0">
                  <a:pos x="32" y="85"/>
                </a:cxn>
                <a:cxn ang="0">
                  <a:pos x="21" y="77"/>
                </a:cxn>
                <a:cxn ang="0">
                  <a:pos x="11" y="68"/>
                </a:cxn>
                <a:cxn ang="0">
                  <a:pos x="5" y="62"/>
                </a:cxn>
                <a:cxn ang="0">
                  <a:pos x="1" y="59"/>
                </a:cxn>
                <a:cxn ang="0">
                  <a:pos x="0" y="57"/>
                </a:cxn>
                <a:cxn ang="0">
                  <a:pos x="0" y="56"/>
                </a:cxn>
                <a:cxn ang="0">
                  <a:pos x="3" y="55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5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957888" y="2648769"/>
              <a:ext cx="131762" cy="84138"/>
            </a:xfrm>
            <a:custGeom>
              <a:avLst/>
              <a:gdLst/>
              <a:ahLst/>
              <a:cxnLst>
                <a:cxn ang="0">
                  <a:pos x="192" y="155"/>
                </a:cxn>
                <a:cxn ang="0">
                  <a:pos x="194" y="151"/>
                </a:cxn>
                <a:cxn ang="0">
                  <a:pos x="197" y="148"/>
                </a:cxn>
                <a:cxn ang="0">
                  <a:pos x="200" y="145"/>
                </a:cxn>
                <a:cxn ang="0">
                  <a:pos x="203" y="142"/>
                </a:cxn>
                <a:cxn ang="0">
                  <a:pos x="211" y="137"/>
                </a:cxn>
                <a:cxn ang="0">
                  <a:pos x="220" y="132"/>
                </a:cxn>
                <a:cxn ang="0">
                  <a:pos x="238" y="123"/>
                </a:cxn>
                <a:cxn ang="0">
                  <a:pos x="253" y="117"/>
                </a:cxn>
                <a:cxn ang="0">
                  <a:pos x="255" y="109"/>
                </a:cxn>
                <a:cxn ang="0">
                  <a:pos x="260" y="97"/>
                </a:cxn>
                <a:cxn ang="0">
                  <a:pos x="264" y="91"/>
                </a:cxn>
                <a:cxn ang="0">
                  <a:pos x="267" y="86"/>
                </a:cxn>
                <a:cxn ang="0">
                  <a:pos x="269" y="82"/>
                </a:cxn>
                <a:cxn ang="0">
                  <a:pos x="272" y="81"/>
                </a:cxn>
                <a:cxn ang="0">
                  <a:pos x="312" y="44"/>
                </a:cxn>
                <a:cxn ang="0">
                  <a:pos x="312" y="39"/>
                </a:cxn>
                <a:cxn ang="0">
                  <a:pos x="310" y="35"/>
                </a:cxn>
                <a:cxn ang="0">
                  <a:pos x="306" y="32"/>
                </a:cxn>
                <a:cxn ang="0">
                  <a:pos x="302" y="30"/>
                </a:cxn>
                <a:cxn ang="0">
                  <a:pos x="291" y="28"/>
                </a:cxn>
                <a:cxn ang="0">
                  <a:pos x="280" y="27"/>
                </a:cxn>
                <a:cxn ang="0">
                  <a:pos x="268" y="27"/>
                </a:cxn>
                <a:cxn ang="0">
                  <a:pos x="259" y="27"/>
                </a:cxn>
                <a:cxn ang="0">
                  <a:pos x="256" y="26"/>
                </a:cxn>
                <a:cxn ang="0">
                  <a:pos x="253" y="25"/>
                </a:cxn>
                <a:cxn ang="0">
                  <a:pos x="252" y="23"/>
                </a:cxn>
                <a:cxn ang="0">
                  <a:pos x="253" y="20"/>
                </a:cxn>
                <a:cxn ang="0">
                  <a:pos x="232" y="19"/>
                </a:cxn>
                <a:cxn ang="0">
                  <a:pos x="216" y="17"/>
                </a:cxn>
                <a:cxn ang="0">
                  <a:pos x="202" y="13"/>
                </a:cxn>
                <a:cxn ang="0">
                  <a:pos x="189" y="9"/>
                </a:cxn>
                <a:cxn ang="0">
                  <a:pos x="177" y="6"/>
                </a:cxn>
                <a:cxn ang="0">
                  <a:pos x="163" y="3"/>
                </a:cxn>
                <a:cxn ang="0">
                  <a:pos x="146" y="1"/>
                </a:cxn>
                <a:cxn ang="0">
                  <a:pos x="126" y="0"/>
                </a:cxn>
                <a:cxn ang="0">
                  <a:pos x="110" y="1"/>
                </a:cxn>
                <a:cxn ang="0">
                  <a:pos x="74" y="4"/>
                </a:cxn>
                <a:cxn ang="0">
                  <a:pos x="53" y="6"/>
                </a:cxn>
                <a:cxn ang="0">
                  <a:pos x="34" y="8"/>
                </a:cxn>
                <a:cxn ang="0">
                  <a:pos x="18" y="10"/>
                </a:cxn>
                <a:cxn ang="0">
                  <a:pos x="7" y="12"/>
                </a:cxn>
                <a:cxn ang="0">
                  <a:pos x="9" y="17"/>
                </a:cxn>
                <a:cxn ang="0">
                  <a:pos x="11" y="19"/>
                </a:cxn>
                <a:cxn ang="0">
                  <a:pos x="13" y="19"/>
                </a:cxn>
                <a:cxn ang="0">
                  <a:pos x="15" y="20"/>
                </a:cxn>
                <a:cxn ang="0">
                  <a:pos x="18" y="20"/>
                </a:cxn>
                <a:cxn ang="0">
                  <a:pos x="19" y="20"/>
                </a:cxn>
                <a:cxn ang="0">
                  <a:pos x="20" y="22"/>
                </a:cxn>
                <a:cxn ang="0">
                  <a:pos x="20" y="26"/>
                </a:cxn>
                <a:cxn ang="0">
                  <a:pos x="20" y="30"/>
                </a:cxn>
                <a:cxn ang="0">
                  <a:pos x="19" y="35"/>
                </a:cxn>
                <a:cxn ang="0">
                  <a:pos x="18" y="39"/>
                </a:cxn>
                <a:cxn ang="0">
                  <a:pos x="15" y="42"/>
                </a:cxn>
                <a:cxn ang="0">
                  <a:pos x="12" y="45"/>
                </a:cxn>
                <a:cxn ang="0">
                  <a:pos x="9" y="48"/>
                </a:cxn>
                <a:cxn ang="0">
                  <a:pos x="4" y="49"/>
                </a:cxn>
                <a:cxn ang="0">
                  <a:pos x="0" y="50"/>
                </a:cxn>
                <a:cxn ang="0">
                  <a:pos x="74" y="68"/>
                </a:cxn>
                <a:cxn ang="0">
                  <a:pos x="87" y="111"/>
                </a:cxn>
                <a:cxn ang="0">
                  <a:pos x="166" y="123"/>
                </a:cxn>
                <a:cxn ang="0">
                  <a:pos x="192" y="155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6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664200" y="2834508"/>
              <a:ext cx="19050" cy="60325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2" y="18"/>
                </a:cxn>
                <a:cxn ang="0">
                  <a:pos x="1" y="14"/>
                </a:cxn>
                <a:cxn ang="0">
                  <a:pos x="2" y="13"/>
                </a:cxn>
                <a:cxn ang="0">
                  <a:pos x="3" y="13"/>
                </a:cxn>
                <a:cxn ang="0">
                  <a:pos x="6" y="12"/>
                </a:cxn>
                <a:cxn ang="0">
                  <a:pos x="13" y="12"/>
                </a:cxn>
                <a:cxn ang="0">
                  <a:pos x="46" y="0"/>
                </a:cxn>
                <a:cxn ang="0">
                  <a:pos x="46" y="50"/>
                </a:cxn>
                <a:cxn ang="0">
                  <a:pos x="40" y="49"/>
                </a:cxn>
                <a:cxn ang="0">
                  <a:pos x="33" y="45"/>
                </a:cxn>
                <a:cxn ang="0">
                  <a:pos x="25" y="41"/>
                </a:cxn>
                <a:cxn ang="0">
                  <a:pos x="17" y="37"/>
                </a:cxn>
                <a:cxn ang="0">
                  <a:pos x="5" y="28"/>
                </a:cxn>
                <a:cxn ang="0">
                  <a:pos x="0" y="25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7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361113" y="4718869"/>
              <a:ext cx="69850" cy="241300"/>
            </a:xfrm>
            <a:custGeom>
              <a:avLst/>
              <a:gdLst/>
              <a:ahLst/>
              <a:cxnLst>
                <a:cxn ang="0">
                  <a:pos x="10" y="282"/>
                </a:cxn>
                <a:cxn ang="0">
                  <a:pos x="19" y="290"/>
                </a:cxn>
                <a:cxn ang="0">
                  <a:pos x="37" y="300"/>
                </a:cxn>
                <a:cxn ang="0">
                  <a:pos x="58" y="306"/>
                </a:cxn>
                <a:cxn ang="0">
                  <a:pos x="70" y="312"/>
                </a:cxn>
                <a:cxn ang="0">
                  <a:pos x="80" y="320"/>
                </a:cxn>
                <a:cxn ang="0">
                  <a:pos x="86" y="331"/>
                </a:cxn>
                <a:cxn ang="0">
                  <a:pos x="86" y="347"/>
                </a:cxn>
                <a:cxn ang="0">
                  <a:pos x="78" y="363"/>
                </a:cxn>
                <a:cxn ang="0">
                  <a:pos x="68" y="375"/>
                </a:cxn>
                <a:cxn ang="0">
                  <a:pos x="62" y="388"/>
                </a:cxn>
                <a:cxn ang="0">
                  <a:pos x="60" y="400"/>
                </a:cxn>
                <a:cxn ang="0">
                  <a:pos x="64" y="411"/>
                </a:cxn>
                <a:cxn ang="0">
                  <a:pos x="76" y="424"/>
                </a:cxn>
                <a:cxn ang="0">
                  <a:pos x="104" y="445"/>
                </a:cxn>
                <a:cxn ang="0">
                  <a:pos x="120" y="443"/>
                </a:cxn>
                <a:cxn ang="0">
                  <a:pos x="120" y="423"/>
                </a:cxn>
                <a:cxn ang="0">
                  <a:pos x="131" y="413"/>
                </a:cxn>
                <a:cxn ang="0">
                  <a:pos x="145" y="407"/>
                </a:cxn>
                <a:cxn ang="0">
                  <a:pos x="153" y="402"/>
                </a:cxn>
                <a:cxn ang="0">
                  <a:pos x="160" y="393"/>
                </a:cxn>
                <a:cxn ang="0">
                  <a:pos x="166" y="375"/>
                </a:cxn>
                <a:cxn ang="0">
                  <a:pos x="165" y="350"/>
                </a:cxn>
                <a:cxn ang="0">
                  <a:pos x="158" y="328"/>
                </a:cxn>
                <a:cxn ang="0">
                  <a:pos x="148" y="307"/>
                </a:cxn>
                <a:cxn ang="0">
                  <a:pos x="141" y="284"/>
                </a:cxn>
                <a:cxn ang="0">
                  <a:pos x="135" y="269"/>
                </a:cxn>
                <a:cxn ang="0">
                  <a:pos x="118" y="251"/>
                </a:cxn>
                <a:cxn ang="0">
                  <a:pos x="97" y="224"/>
                </a:cxn>
                <a:cxn ang="0">
                  <a:pos x="85" y="206"/>
                </a:cxn>
                <a:cxn ang="0">
                  <a:pos x="80" y="195"/>
                </a:cxn>
                <a:cxn ang="0">
                  <a:pos x="81" y="177"/>
                </a:cxn>
                <a:cxn ang="0">
                  <a:pos x="88" y="147"/>
                </a:cxn>
                <a:cxn ang="0">
                  <a:pos x="96" y="129"/>
                </a:cxn>
                <a:cxn ang="0">
                  <a:pos x="98" y="113"/>
                </a:cxn>
                <a:cxn ang="0">
                  <a:pos x="95" y="82"/>
                </a:cxn>
                <a:cxn ang="0">
                  <a:pos x="92" y="45"/>
                </a:cxn>
                <a:cxn ang="0">
                  <a:pos x="89" y="18"/>
                </a:cxn>
                <a:cxn ang="0">
                  <a:pos x="71" y="8"/>
                </a:cxn>
                <a:cxn ang="0">
                  <a:pos x="33" y="4"/>
                </a:cxn>
                <a:cxn ang="0">
                  <a:pos x="12" y="10"/>
                </a:cxn>
                <a:cxn ang="0">
                  <a:pos x="22" y="25"/>
                </a:cxn>
                <a:cxn ang="0">
                  <a:pos x="33" y="30"/>
                </a:cxn>
                <a:cxn ang="0">
                  <a:pos x="40" y="44"/>
                </a:cxn>
                <a:cxn ang="0">
                  <a:pos x="40" y="64"/>
                </a:cxn>
                <a:cxn ang="0">
                  <a:pos x="40" y="78"/>
                </a:cxn>
                <a:cxn ang="0">
                  <a:pos x="36" y="85"/>
                </a:cxn>
                <a:cxn ang="0">
                  <a:pos x="29" y="95"/>
                </a:cxn>
                <a:cxn ang="0">
                  <a:pos x="15" y="109"/>
                </a:cxn>
                <a:cxn ang="0">
                  <a:pos x="3" y="122"/>
                </a:cxn>
                <a:cxn ang="0">
                  <a:pos x="7" y="277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8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853114" y="3290119"/>
              <a:ext cx="14287" cy="57150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27" y="12"/>
                </a:cxn>
                <a:cxn ang="0">
                  <a:pos x="27" y="19"/>
                </a:cxn>
                <a:cxn ang="0">
                  <a:pos x="9" y="19"/>
                </a:cxn>
                <a:cxn ang="0">
                  <a:pos x="0" y="19"/>
                </a:cxn>
                <a:cxn ang="0">
                  <a:pos x="9" y="12"/>
                </a:cxn>
                <a:cxn ang="0">
                  <a:pos x="27" y="0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9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172201" y="4910958"/>
              <a:ext cx="188913" cy="217487"/>
            </a:xfrm>
            <a:custGeom>
              <a:avLst/>
              <a:gdLst/>
              <a:ahLst/>
              <a:cxnLst>
                <a:cxn ang="0">
                  <a:pos x="284" y="8"/>
                </a:cxn>
                <a:cxn ang="0">
                  <a:pos x="320" y="27"/>
                </a:cxn>
                <a:cxn ang="0">
                  <a:pos x="363" y="47"/>
                </a:cxn>
                <a:cxn ang="0">
                  <a:pos x="395" y="58"/>
                </a:cxn>
                <a:cxn ang="0">
                  <a:pos x="416" y="61"/>
                </a:cxn>
                <a:cxn ang="0">
                  <a:pos x="425" y="81"/>
                </a:cxn>
                <a:cxn ang="0">
                  <a:pos x="429" y="120"/>
                </a:cxn>
                <a:cxn ang="0">
                  <a:pos x="434" y="157"/>
                </a:cxn>
                <a:cxn ang="0">
                  <a:pos x="438" y="195"/>
                </a:cxn>
                <a:cxn ang="0">
                  <a:pos x="438" y="223"/>
                </a:cxn>
                <a:cxn ang="0">
                  <a:pos x="435" y="237"/>
                </a:cxn>
                <a:cxn ang="0">
                  <a:pos x="425" y="259"/>
                </a:cxn>
                <a:cxn ang="0">
                  <a:pos x="407" y="287"/>
                </a:cxn>
                <a:cxn ang="0">
                  <a:pos x="391" y="307"/>
                </a:cxn>
                <a:cxn ang="0">
                  <a:pos x="381" y="320"/>
                </a:cxn>
                <a:cxn ang="0">
                  <a:pos x="374" y="332"/>
                </a:cxn>
                <a:cxn ang="0">
                  <a:pos x="372" y="352"/>
                </a:cxn>
                <a:cxn ang="0">
                  <a:pos x="359" y="372"/>
                </a:cxn>
                <a:cxn ang="0">
                  <a:pos x="321" y="401"/>
                </a:cxn>
                <a:cxn ang="0">
                  <a:pos x="205" y="388"/>
                </a:cxn>
                <a:cxn ang="0">
                  <a:pos x="182" y="379"/>
                </a:cxn>
                <a:cxn ang="0">
                  <a:pos x="165" y="370"/>
                </a:cxn>
                <a:cxn ang="0">
                  <a:pos x="150" y="359"/>
                </a:cxn>
                <a:cxn ang="0">
                  <a:pos x="139" y="346"/>
                </a:cxn>
                <a:cxn ang="0">
                  <a:pos x="124" y="322"/>
                </a:cxn>
                <a:cxn ang="0">
                  <a:pos x="108" y="296"/>
                </a:cxn>
                <a:cxn ang="0">
                  <a:pos x="94" y="279"/>
                </a:cxn>
                <a:cxn ang="0">
                  <a:pos x="72" y="259"/>
                </a:cxn>
                <a:cxn ang="0">
                  <a:pos x="44" y="234"/>
                </a:cxn>
                <a:cxn ang="0">
                  <a:pos x="24" y="213"/>
                </a:cxn>
                <a:cxn ang="0">
                  <a:pos x="13" y="195"/>
                </a:cxn>
                <a:cxn ang="0">
                  <a:pos x="4" y="176"/>
                </a:cxn>
                <a:cxn ang="0">
                  <a:pos x="0" y="154"/>
                </a:cxn>
                <a:cxn ang="0">
                  <a:pos x="18" y="141"/>
                </a:cxn>
                <a:cxn ang="0">
                  <a:pos x="40" y="141"/>
                </a:cxn>
                <a:cxn ang="0">
                  <a:pos x="53" y="141"/>
                </a:cxn>
                <a:cxn ang="0">
                  <a:pos x="63" y="138"/>
                </a:cxn>
                <a:cxn ang="0">
                  <a:pos x="77" y="131"/>
                </a:cxn>
                <a:cxn ang="0">
                  <a:pos x="99" y="108"/>
                </a:cxn>
                <a:cxn ang="0">
                  <a:pos x="117" y="87"/>
                </a:cxn>
                <a:cxn ang="0">
                  <a:pos x="130" y="80"/>
                </a:cxn>
                <a:cxn ang="0">
                  <a:pos x="150" y="71"/>
                </a:cxn>
                <a:cxn ang="0">
                  <a:pos x="179" y="60"/>
                </a:cxn>
                <a:cxn ang="0">
                  <a:pos x="203" y="50"/>
                </a:cxn>
                <a:cxn ang="0">
                  <a:pos x="211" y="43"/>
                </a:cxn>
                <a:cxn ang="0">
                  <a:pos x="210" y="38"/>
                </a:cxn>
                <a:cxn ang="0">
                  <a:pos x="211" y="30"/>
                </a:cxn>
                <a:cxn ang="0">
                  <a:pos x="213" y="17"/>
                </a:cxn>
                <a:cxn ang="0">
                  <a:pos x="217" y="12"/>
                </a:cxn>
                <a:cxn ang="0">
                  <a:pos x="225" y="12"/>
                </a:cxn>
                <a:cxn ang="0">
                  <a:pos x="232" y="9"/>
                </a:cxn>
                <a:cxn ang="0">
                  <a:pos x="236" y="4"/>
                </a:cxn>
                <a:cxn ang="0">
                  <a:pos x="244" y="2"/>
                </a:cxn>
                <a:cxn ang="0">
                  <a:pos x="251" y="3"/>
                </a:cxn>
                <a:cxn ang="0">
                  <a:pos x="264" y="1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0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084889" y="4687119"/>
              <a:ext cx="293687" cy="300038"/>
            </a:xfrm>
            <a:custGeom>
              <a:avLst/>
              <a:gdLst/>
              <a:ahLst/>
              <a:cxnLst>
                <a:cxn ang="0">
                  <a:pos x="513" y="8"/>
                </a:cxn>
                <a:cxn ang="0">
                  <a:pos x="552" y="26"/>
                </a:cxn>
                <a:cxn ang="0">
                  <a:pos x="645" y="63"/>
                </a:cxn>
                <a:cxn ang="0">
                  <a:pos x="660" y="88"/>
                </a:cxn>
                <a:cxn ang="0">
                  <a:pos x="678" y="94"/>
                </a:cxn>
                <a:cxn ang="0">
                  <a:pos x="678" y="127"/>
                </a:cxn>
                <a:cxn ang="0">
                  <a:pos x="677" y="144"/>
                </a:cxn>
                <a:cxn ang="0">
                  <a:pos x="667" y="158"/>
                </a:cxn>
                <a:cxn ang="0">
                  <a:pos x="647" y="178"/>
                </a:cxn>
                <a:cxn ang="0">
                  <a:pos x="638" y="346"/>
                </a:cxn>
                <a:cxn ang="0">
                  <a:pos x="461" y="388"/>
                </a:cxn>
                <a:cxn ang="0">
                  <a:pos x="461" y="415"/>
                </a:cxn>
                <a:cxn ang="0">
                  <a:pos x="455" y="435"/>
                </a:cxn>
                <a:cxn ang="0">
                  <a:pos x="444" y="435"/>
                </a:cxn>
                <a:cxn ang="0">
                  <a:pos x="434" y="440"/>
                </a:cxn>
                <a:cxn ang="0">
                  <a:pos x="425" y="445"/>
                </a:cxn>
                <a:cxn ang="0">
                  <a:pos x="414" y="447"/>
                </a:cxn>
                <a:cxn ang="0">
                  <a:pos x="411" y="463"/>
                </a:cxn>
                <a:cxn ang="0">
                  <a:pos x="410" y="474"/>
                </a:cxn>
                <a:cxn ang="0">
                  <a:pos x="403" y="483"/>
                </a:cxn>
                <a:cxn ang="0">
                  <a:pos x="365" y="498"/>
                </a:cxn>
                <a:cxn ang="0">
                  <a:pos x="330" y="513"/>
                </a:cxn>
                <a:cxn ang="0">
                  <a:pos x="313" y="525"/>
                </a:cxn>
                <a:cxn ang="0">
                  <a:pos x="277" y="564"/>
                </a:cxn>
                <a:cxn ang="0">
                  <a:pos x="258" y="573"/>
                </a:cxn>
                <a:cxn ang="0">
                  <a:pos x="238" y="574"/>
                </a:cxn>
                <a:cxn ang="0">
                  <a:pos x="193" y="574"/>
                </a:cxn>
                <a:cxn ang="0">
                  <a:pos x="186" y="559"/>
                </a:cxn>
                <a:cxn ang="0">
                  <a:pos x="165" y="547"/>
                </a:cxn>
                <a:cxn ang="0">
                  <a:pos x="133" y="545"/>
                </a:cxn>
                <a:cxn ang="0">
                  <a:pos x="93" y="556"/>
                </a:cxn>
                <a:cxn ang="0">
                  <a:pos x="33" y="527"/>
                </a:cxn>
                <a:cxn ang="0">
                  <a:pos x="0" y="285"/>
                </a:cxn>
                <a:cxn ang="0">
                  <a:pos x="73" y="286"/>
                </a:cxn>
                <a:cxn ang="0">
                  <a:pos x="103" y="282"/>
                </a:cxn>
                <a:cxn ang="0">
                  <a:pos x="119" y="275"/>
                </a:cxn>
                <a:cxn ang="0">
                  <a:pos x="129" y="256"/>
                </a:cxn>
                <a:cxn ang="0">
                  <a:pos x="131" y="229"/>
                </a:cxn>
                <a:cxn ang="0">
                  <a:pos x="126" y="185"/>
                </a:cxn>
                <a:cxn ang="0">
                  <a:pos x="130" y="165"/>
                </a:cxn>
                <a:cxn ang="0">
                  <a:pos x="140" y="171"/>
                </a:cxn>
                <a:cxn ang="0">
                  <a:pos x="174" y="175"/>
                </a:cxn>
                <a:cxn ang="0">
                  <a:pos x="188" y="186"/>
                </a:cxn>
                <a:cxn ang="0">
                  <a:pos x="195" y="201"/>
                </a:cxn>
                <a:cxn ang="0">
                  <a:pos x="208" y="210"/>
                </a:cxn>
                <a:cxn ang="0">
                  <a:pos x="241" y="217"/>
                </a:cxn>
                <a:cxn ang="0">
                  <a:pos x="269" y="214"/>
                </a:cxn>
                <a:cxn ang="0">
                  <a:pos x="301" y="199"/>
                </a:cxn>
                <a:cxn ang="0">
                  <a:pos x="319" y="196"/>
                </a:cxn>
                <a:cxn ang="0">
                  <a:pos x="331" y="193"/>
                </a:cxn>
                <a:cxn ang="0">
                  <a:pos x="343" y="190"/>
                </a:cxn>
                <a:cxn ang="0">
                  <a:pos x="357" y="182"/>
                </a:cxn>
                <a:cxn ang="0">
                  <a:pos x="368" y="168"/>
                </a:cxn>
                <a:cxn ang="0">
                  <a:pos x="383" y="126"/>
                </a:cxn>
                <a:cxn ang="0">
                  <a:pos x="403" y="47"/>
                </a:cxn>
                <a:cxn ang="0">
                  <a:pos x="414" y="10"/>
                </a:cxn>
                <a:cxn ang="0">
                  <a:pos x="431" y="6"/>
                </a:cxn>
                <a:cxn ang="0">
                  <a:pos x="453" y="8"/>
                </a:cxn>
                <a:cxn ang="0">
                  <a:pos x="482" y="1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1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821364" y="4960169"/>
              <a:ext cx="350837" cy="381000"/>
            </a:xfrm>
            <a:custGeom>
              <a:avLst/>
              <a:gdLst/>
              <a:ahLst/>
              <a:cxnLst>
                <a:cxn ang="0">
                  <a:pos x="797" y="42"/>
                </a:cxn>
                <a:cxn ang="0">
                  <a:pos x="766" y="26"/>
                </a:cxn>
                <a:cxn ang="0">
                  <a:pos x="718" y="33"/>
                </a:cxn>
                <a:cxn ang="0">
                  <a:pos x="634" y="44"/>
                </a:cxn>
                <a:cxn ang="0">
                  <a:pos x="604" y="55"/>
                </a:cxn>
                <a:cxn ang="0">
                  <a:pos x="280" y="40"/>
                </a:cxn>
                <a:cxn ang="0">
                  <a:pos x="232" y="37"/>
                </a:cxn>
                <a:cxn ang="0">
                  <a:pos x="172" y="17"/>
                </a:cxn>
                <a:cxn ang="0">
                  <a:pos x="116" y="0"/>
                </a:cxn>
                <a:cxn ang="0">
                  <a:pos x="83" y="5"/>
                </a:cxn>
                <a:cxn ang="0">
                  <a:pos x="53" y="24"/>
                </a:cxn>
                <a:cxn ang="0">
                  <a:pos x="0" y="55"/>
                </a:cxn>
                <a:cxn ang="0">
                  <a:pos x="7" y="68"/>
                </a:cxn>
                <a:cxn ang="0">
                  <a:pos x="26" y="74"/>
                </a:cxn>
                <a:cxn ang="0">
                  <a:pos x="36" y="129"/>
                </a:cxn>
                <a:cxn ang="0">
                  <a:pos x="60" y="192"/>
                </a:cxn>
                <a:cxn ang="0">
                  <a:pos x="109" y="276"/>
                </a:cxn>
                <a:cxn ang="0">
                  <a:pos x="133" y="300"/>
                </a:cxn>
                <a:cxn ang="0">
                  <a:pos x="159" y="302"/>
                </a:cxn>
                <a:cxn ang="0">
                  <a:pos x="159" y="332"/>
                </a:cxn>
                <a:cxn ang="0">
                  <a:pos x="152" y="359"/>
                </a:cxn>
                <a:cxn ang="0">
                  <a:pos x="146" y="394"/>
                </a:cxn>
                <a:cxn ang="0">
                  <a:pos x="150" y="425"/>
                </a:cxn>
                <a:cxn ang="0">
                  <a:pos x="173" y="484"/>
                </a:cxn>
                <a:cxn ang="0">
                  <a:pos x="179" y="518"/>
                </a:cxn>
                <a:cxn ang="0">
                  <a:pos x="187" y="606"/>
                </a:cxn>
                <a:cxn ang="0">
                  <a:pos x="204" y="647"/>
                </a:cxn>
                <a:cxn ang="0">
                  <a:pos x="231" y="690"/>
                </a:cxn>
                <a:cxn ang="0">
                  <a:pos x="245" y="700"/>
                </a:cxn>
                <a:cxn ang="0">
                  <a:pos x="259" y="715"/>
                </a:cxn>
                <a:cxn ang="0">
                  <a:pos x="265" y="678"/>
                </a:cxn>
                <a:cxn ang="0">
                  <a:pos x="308" y="696"/>
                </a:cxn>
                <a:cxn ang="0">
                  <a:pos x="328" y="713"/>
                </a:cxn>
                <a:cxn ang="0">
                  <a:pos x="372" y="726"/>
                </a:cxn>
                <a:cxn ang="0">
                  <a:pos x="407" y="723"/>
                </a:cxn>
                <a:cxn ang="0">
                  <a:pos x="429" y="710"/>
                </a:cxn>
                <a:cxn ang="0">
                  <a:pos x="452" y="675"/>
                </a:cxn>
                <a:cxn ang="0">
                  <a:pos x="463" y="529"/>
                </a:cxn>
                <a:cxn ang="0">
                  <a:pos x="465" y="480"/>
                </a:cxn>
                <a:cxn ang="0">
                  <a:pos x="471" y="469"/>
                </a:cxn>
                <a:cxn ang="0">
                  <a:pos x="463" y="426"/>
                </a:cxn>
                <a:cxn ang="0">
                  <a:pos x="469" y="368"/>
                </a:cxn>
                <a:cxn ang="0">
                  <a:pos x="500" y="330"/>
                </a:cxn>
                <a:cxn ang="0">
                  <a:pos x="525" y="320"/>
                </a:cxn>
                <a:cxn ang="0">
                  <a:pos x="538" y="232"/>
                </a:cxn>
                <a:cxn ang="0">
                  <a:pos x="551" y="148"/>
                </a:cxn>
                <a:cxn ang="0">
                  <a:pos x="541" y="124"/>
                </a:cxn>
                <a:cxn ang="0">
                  <a:pos x="531" y="99"/>
                </a:cxn>
                <a:cxn ang="0">
                  <a:pos x="539" y="86"/>
                </a:cxn>
                <a:cxn ang="0">
                  <a:pos x="617" y="80"/>
                </a:cxn>
                <a:cxn ang="0">
                  <a:pos x="708" y="63"/>
                </a:cxn>
                <a:cxn ang="0">
                  <a:pos x="803" y="61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2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100639" y="3890194"/>
              <a:ext cx="161925" cy="141288"/>
            </a:xfrm>
            <a:custGeom>
              <a:avLst/>
              <a:gdLst/>
              <a:ahLst/>
              <a:cxnLst>
                <a:cxn ang="0">
                  <a:pos x="203" y="250"/>
                </a:cxn>
                <a:cxn ang="0">
                  <a:pos x="163" y="246"/>
                </a:cxn>
                <a:cxn ang="0">
                  <a:pos x="121" y="247"/>
                </a:cxn>
                <a:cxn ang="0">
                  <a:pos x="92" y="250"/>
                </a:cxn>
                <a:cxn ang="0">
                  <a:pos x="74" y="255"/>
                </a:cxn>
                <a:cxn ang="0">
                  <a:pos x="26" y="271"/>
                </a:cxn>
                <a:cxn ang="0">
                  <a:pos x="20" y="270"/>
                </a:cxn>
                <a:cxn ang="0">
                  <a:pos x="17" y="266"/>
                </a:cxn>
                <a:cxn ang="0">
                  <a:pos x="18" y="254"/>
                </a:cxn>
                <a:cxn ang="0">
                  <a:pos x="26" y="228"/>
                </a:cxn>
                <a:cxn ang="0">
                  <a:pos x="61" y="226"/>
                </a:cxn>
                <a:cxn ang="0">
                  <a:pos x="89" y="222"/>
                </a:cxn>
                <a:cxn ang="0">
                  <a:pos x="115" y="218"/>
                </a:cxn>
                <a:cxn ang="0">
                  <a:pos x="146" y="216"/>
                </a:cxn>
                <a:cxn ang="0">
                  <a:pos x="182" y="218"/>
                </a:cxn>
                <a:cxn ang="0">
                  <a:pos x="199" y="218"/>
                </a:cxn>
                <a:cxn ang="0">
                  <a:pos x="219" y="216"/>
                </a:cxn>
                <a:cxn ang="0">
                  <a:pos x="215" y="208"/>
                </a:cxn>
                <a:cxn ang="0">
                  <a:pos x="210" y="201"/>
                </a:cxn>
                <a:cxn ang="0">
                  <a:pos x="195" y="194"/>
                </a:cxn>
                <a:cxn ang="0">
                  <a:pos x="175" y="191"/>
                </a:cxn>
                <a:cxn ang="0">
                  <a:pos x="152" y="190"/>
                </a:cxn>
                <a:cxn ang="0">
                  <a:pos x="93" y="192"/>
                </a:cxn>
                <a:cxn ang="0">
                  <a:pos x="64" y="196"/>
                </a:cxn>
                <a:cxn ang="0">
                  <a:pos x="33" y="203"/>
                </a:cxn>
                <a:cxn ang="0">
                  <a:pos x="38" y="183"/>
                </a:cxn>
                <a:cxn ang="0">
                  <a:pos x="39" y="172"/>
                </a:cxn>
                <a:cxn ang="0">
                  <a:pos x="26" y="164"/>
                </a:cxn>
                <a:cxn ang="0">
                  <a:pos x="13" y="160"/>
                </a:cxn>
                <a:cxn ang="0">
                  <a:pos x="11" y="147"/>
                </a:cxn>
                <a:cxn ang="0">
                  <a:pos x="6" y="143"/>
                </a:cxn>
                <a:cxn ang="0">
                  <a:pos x="2" y="141"/>
                </a:cxn>
                <a:cxn ang="0">
                  <a:pos x="0" y="135"/>
                </a:cxn>
                <a:cxn ang="0">
                  <a:pos x="5" y="115"/>
                </a:cxn>
                <a:cxn ang="0">
                  <a:pos x="17" y="92"/>
                </a:cxn>
                <a:cxn ang="0">
                  <a:pos x="30" y="69"/>
                </a:cxn>
                <a:cxn ang="0">
                  <a:pos x="39" y="49"/>
                </a:cxn>
                <a:cxn ang="0">
                  <a:pos x="48" y="42"/>
                </a:cxn>
                <a:cxn ang="0">
                  <a:pos x="49" y="48"/>
                </a:cxn>
                <a:cxn ang="0">
                  <a:pos x="52" y="36"/>
                </a:cxn>
                <a:cxn ang="0">
                  <a:pos x="75" y="31"/>
                </a:cxn>
                <a:cxn ang="0">
                  <a:pos x="114" y="18"/>
                </a:cxn>
                <a:cxn ang="0">
                  <a:pos x="165" y="0"/>
                </a:cxn>
                <a:cxn ang="0">
                  <a:pos x="184" y="15"/>
                </a:cxn>
                <a:cxn ang="0">
                  <a:pos x="202" y="24"/>
                </a:cxn>
                <a:cxn ang="0">
                  <a:pos x="220" y="29"/>
                </a:cxn>
                <a:cxn ang="0">
                  <a:pos x="239" y="30"/>
                </a:cxn>
                <a:cxn ang="0">
                  <a:pos x="241" y="52"/>
                </a:cxn>
                <a:cxn ang="0">
                  <a:pos x="247" y="69"/>
                </a:cxn>
                <a:cxn ang="0">
                  <a:pos x="254" y="84"/>
                </a:cxn>
                <a:cxn ang="0">
                  <a:pos x="264" y="95"/>
                </a:cxn>
                <a:cxn ang="0">
                  <a:pos x="305" y="129"/>
                </a:cxn>
                <a:cxn ang="0">
                  <a:pos x="352" y="234"/>
                </a:cxn>
                <a:cxn ang="0">
                  <a:pos x="359" y="257"/>
                </a:cxn>
                <a:cxn ang="0">
                  <a:pos x="365" y="271"/>
                </a:cxn>
                <a:cxn ang="0">
                  <a:pos x="321" y="259"/>
                </a:cxn>
                <a:cxn ang="0">
                  <a:pos x="275" y="252"/>
                </a:cxn>
                <a:cxn ang="0">
                  <a:pos x="248" y="251"/>
                </a:cxn>
                <a:cxn ang="0">
                  <a:pos x="219" y="252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3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273801" y="4452170"/>
              <a:ext cx="269875" cy="334963"/>
            </a:xfrm>
            <a:custGeom>
              <a:avLst/>
              <a:gdLst/>
              <a:ahLst/>
              <a:cxnLst>
                <a:cxn ang="0">
                  <a:pos x="146" y="12"/>
                </a:cxn>
                <a:cxn ang="0">
                  <a:pos x="239" y="12"/>
                </a:cxn>
                <a:cxn ang="0">
                  <a:pos x="287" y="5"/>
                </a:cxn>
                <a:cxn ang="0">
                  <a:pos x="326" y="22"/>
                </a:cxn>
                <a:cxn ang="0">
                  <a:pos x="396" y="66"/>
                </a:cxn>
                <a:cxn ang="0">
                  <a:pos x="465" y="111"/>
                </a:cxn>
                <a:cxn ang="0">
                  <a:pos x="469" y="131"/>
                </a:cxn>
                <a:cxn ang="0">
                  <a:pos x="480" y="153"/>
                </a:cxn>
                <a:cxn ang="0">
                  <a:pos x="497" y="170"/>
                </a:cxn>
                <a:cxn ang="0">
                  <a:pos x="519" y="183"/>
                </a:cxn>
                <a:cxn ang="0">
                  <a:pos x="543" y="190"/>
                </a:cxn>
                <a:cxn ang="0">
                  <a:pos x="554" y="195"/>
                </a:cxn>
                <a:cxn ang="0">
                  <a:pos x="565" y="205"/>
                </a:cxn>
                <a:cxn ang="0">
                  <a:pos x="561" y="227"/>
                </a:cxn>
                <a:cxn ang="0">
                  <a:pos x="537" y="252"/>
                </a:cxn>
                <a:cxn ang="0">
                  <a:pos x="525" y="271"/>
                </a:cxn>
                <a:cxn ang="0">
                  <a:pos x="533" y="287"/>
                </a:cxn>
                <a:cxn ang="0">
                  <a:pos x="547" y="299"/>
                </a:cxn>
                <a:cxn ang="0">
                  <a:pos x="552" y="425"/>
                </a:cxn>
                <a:cxn ang="0">
                  <a:pos x="550" y="439"/>
                </a:cxn>
                <a:cxn ang="0">
                  <a:pos x="558" y="462"/>
                </a:cxn>
                <a:cxn ang="0">
                  <a:pos x="558" y="489"/>
                </a:cxn>
                <a:cxn ang="0">
                  <a:pos x="561" y="515"/>
                </a:cxn>
                <a:cxn ang="0">
                  <a:pos x="594" y="549"/>
                </a:cxn>
                <a:cxn ang="0">
                  <a:pos x="616" y="579"/>
                </a:cxn>
                <a:cxn ang="0">
                  <a:pos x="575" y="600"/>
                </a:cxn>
                <a:cxn ang="0">
                  <a:pos x="491" y="631"/>
                </a:cxn>
                <a:cxn ang="0">
                  <a:pos x="443" y="638"/>
                </a:cxn>
                <a:cxn ang="0">
                  <a:pos x="392" y="628"/>
                </a:cxn>
                <a:cxn ang="0">
                  <a:pos x="339" y="633"/>
                </a:cxn>
                <a:cxn ang="0">
                  <a:pos x="306" y="628"/>
                </a:cxn>
                <a:cxn ang="0">
                  <a:pos x="299" y="614"/>
                </a:cxn>
                <a:cxn ang="0">
                  <a:pos x="294" y="573"/>
                </a:cxn>
                <a:cxn ang="0">
                  <a:pos x="288" y="529"/>
                </a:cxn>
                <a:cxn ang="0">
                  <a:pos x="253" y="517"/>
                </a:cxn>
                <a:cxn ang="0">
                  <a:pos x="185" y="502"/>
                </a:cxn>
                <a:cxn ang="0">
                  <a:pos x="90" y="459"/>
                </a:cxn>
                <a:cxn ang="0">
                  <a:pos x="68" y="446"/>
                </a:cxn>
                <a:cxn ang="0">
                  <a:pos x="66" y="428"/>
                </a:cxn>
                <a:cxn ang="0">
                  <a:pos x="65" y="402"/>
                </a:cxn>
                <a:cxn ang="0">
                  <a:pos x="53" y="377"/>
                </a:cxn>
                <a:cxn ang="0">
                  <a:pos x="41" y="357"/>
                </a:cxn>
                <a:cxn ang="0">
                  <a:pos x="27" y="347"/>
                </a:cxn>
                <a:cxn ang="0">
                  <a:pos x="12" y="332"/>
                </a:cxn>
                <a:cxn ang="0">
                  <a:pos x="5" y="308"/>
                </a:cxn>
                <a:cxn ang="0">
                  <a:pos x="0" y="262"/>
                </a:cxn>
                <a:cxn ang="0">
                  <a:pos x="0" y="234"/>
                </a:cxn>
                <a:cxn ang="0">
                  <a:pos x="10" y="212"/>
                </a:cxn>
                <a:cxn ang="0">
                  <a:pos x="38" y="195"/>
                </a:cxn>
                <a:cxn ang="0">
                  <a:pos x="61" y="173"/>
                </a:cxn>
                <a:cxn ang="0">
                  <a:pos x="77" y="77"/>
                </a:cxn>
                <a:cxn ang="0">
                  <a:pos x="84" y="43"/>
                </a:cxn>
                <a:cxn ang="0">
                  <a:pos x="82" y="8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4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837613" y="2966269"/>
              <a:ext cx="19050" cy="57150"/>
            </a:xfrm>
            <a:custGeom>
              <a:avLst/>
              <a:gdLst/>
              <a:ahLst/>
              <a:cxnLst>
                <a:cxn ang="0">
                  <a:pos x="13" y="50"/>
                </a:cxn>
                <a:cxn ang="0">
                  <a:pos x="0" y="32"/>
                </a:cxn>
                <a:cxn ang="0">
                  <a:pos x="2" y="25"/>
                </a:cxn>
                <a:cxn ang="0">
                  <a:pos x="6" y="18"/>
                </a:cxn>
                <a:cxn ang="0">
                  <a:pos x="12" y="13"/>
                </a:cxn>
                <a:cxn ang="0">
                  <a:pos x="18" y="9"/>
                </a:cxn>
                <a:cxn ang="0">
                  <a:pos x="26" y="5"/>
                </a:cxn>
                <a:cxn ang="0">
                  <a:pos x="34" y="3"/>
                </a:cxn>
                <a:cxn ang="0">
                  <a:pos x="43" y="1"/>
                </a:cxn>
                <a:cxn ang="0">
                  <a:pos x="52" y="0"/>
                </a:cxn>
                <a:cxn ang="0">
                  <a:pos x="40" y="11"/>
                </a:cxn>
                <a:cxn ang="0">
                  <a:pos x="27" y="22"/>
                </a:cxn>
                <a:cxn ang="0">
                  <a:pos x="22" y="30"/>
                </a:cxn>
                <a:cxn ang="0">
                  <a:pos x="17" y="36"/>
                </a:cxn>
                <a:cxn ang="0">
                  <a:pos x="14" y="43"/>
                </a:cxn>
                <a:cxn ang="0">
                  <a:pos x="13" y="50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5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8696325" y="2967857"/>
              <a:ext cx="141288" cy="125412"/>
            </a:xfrm>
            <a:custGeom>
              <a:avLst/>
              <a:gdLst/>
              <a:ahLst/>
              <a:cxnLst>
                <a:cxn ang="0">
                  <a:pos x="76" y="231"/>
                </a:cxn>
                <a:cxn ang="0">
                  <a:pos x="61" y="226"/>
                </a:cxn>
                <a:cxn ang="0">
                  <a:pos x="66" y="222"/>
                </a:cxn>
                <a:cxn ang="0">
                  <a:pos x="77" y="217"/>
                </a:cxn>
                <a:cxn ang="0">
                  <a:pos x="64" y="204"/>
                </a:cxn>
                <a:cxn ang="0">
                  <a:pos x="43" y="189"/>
                </a:cxn>
                <a:cxn ang="0">
                  <a:pos x="36" y="179"/>
                </a:cxn>
                <a:cxn ang="0">
                  <a:pos x="34" y="171"/>
                </a:cxn>
                <a:cxn ang="0">
                  <a:pos x="34" y="164"/>
                </a:cxn>
                <a:cxn ang="0">
                  <a:pos x="36" y="157"/>
                </a:cxn>
                <a:cxn ang="0">
                  <a:pos x="43" y="149"/>
                </a:cxn>
                <a:cxn ang="0">
                  <a:pos x="56" y="141"/>
                </a:cxn>
                <a:cxn ang="0">
                  <a:pos x="73" y="137"/>
                </a:cxn>
                <a:cxn ang="0">
                  <a:pos x="80" y="126"/>
                </a:cxn>
                <a:cxn ang="0">
                  <a:pos x="67" y="111"/>
                </a:cxn>
                <a:cxn ang="0">
                  <a:pos x="61" y="102"/>
                </a:cxn>
                <a:cxn ang="0">
                  <a:pos x="60" y="86"/>
                </a:cxn>
                <a:cxn ang="0">
                  <a:pos x="55" y="70"/>
                </a:cxn>
                <a:cxn ang="0">
                  <a:pos x="46" y="46"/>
                </a:cxn>
                <a:cxn ang="0">
                  <a:pos x="33" y="31"/>
                </a:cxn>
                <a:cxn ang="0">
                  <a:pos x="20" y="25"/>
                </a:cxn>
                <a:cxn ang="0">
                  <a:pos x="7" y="10"/>
                </a:cxn>
                <a:cxn ang="0">
                  <a:pos x="9" y="0"/>
                </a:cxn>
                <a:cxn ang="0">
                  <a:pos x="24" y="0"/>
                </a:cxn>
                <a:cxn ang="0">
                  <a:pos x="38" y="3"/>
                </a:cxn>
                <a:cxn ang="0">
                  <a:pos x="56" y="16"/>
                </a:cxn>
                <a:cxn ang="0">
                  <a:pos x="78" y="35"/>
                </a:cxn>
                <a:cxn ang="0">
                  <a:pos x="96" y="48"/>
                </a:cxn>
                <a:cxn ang="0">
                  <a:pos x="119" y="58"/>
                </a:cxn>
                <a:cxn ang="0">
                  <a:pos x="152" y="70"/>
                </a:cxn>
                <a:cxn ang="0">
                  <a:pos x="181" y="79"/>
                </a:cxn>
                <a:cxn ang="0">
                  <a:pos x="214" y="85"/>
                </a:cxn>
                <a:cxn ang="0">
                  <a:pos x="236" y="77"/>
                </a:cxn>
                <a:cxn ang="0">
                  <a:pos x="257" y="83"/>
                </a:cxn>
                <a:cxn ang="0">
                  <a:pos x="284" y="107"/>
                </a:cxn>
                <a:cxn ang="0">
                  <a:pos x="305" y="119"/>
                </a:cxn>
                <a:cxn ang="0">
                  <a:pos x="297" y="133"/>
                </a:cxn>
                <a:cxn ang="0">
                  <a:pos x="268" y="144"/>
                </a:cxn>
                <a:cxn ang="0">
                  <a:pos x="249" y="148"/>
                </a:cxn>
                <a:cxn ang="0">
                  <a:pos x="237" y="159"/>
                </a:cxn>
                <a:cxn ang="0">
                  <a:pos x="232" y="176"/>
                </a:cxn>
                <a:cxn ang="0">
                  <a:pos x="231" y="187"/>
                </a:cxn>
                <a:cxn ang="0">
                  <a:pos x="222" y="192"/>
                </a:cxn>
                <a:cxn ang="0">
                  <a:pos x="204" y="189"/>
                </a:cxn>
                <a:cxn ang="0">
                  <a:pos x="186" y="181"/>
                </a:cxn>
                <a:cxn ang="0">
                  <a:pos x="168" y="170"/>
                </a:cxn>
                <a:cxn ang="0">
                  <a:pos x="155" y="164"/>
                </a:cxn>
                <a:cxn ang="0">
                  <a:pos x="145" y="161"/>
                </a:cxn>
                <a:cxn ang="0">
                  <a:pos x="131" y="162"/>
                </a:cxn>
                <a:cxn ang="0">
                  <a:pos x="114" y="167"/>
                </a:cxn>
                <a:cxn ang="0">
                  <a:pos x="100" y="173"/>
                </a:cxn>
                <a:cxn ang="0">
                  <a:pos x="87" y="178"/>
                </a:cxn>
                <a:cxn ang="0">
                  <a:pos x="85" y="183"/>
                </a:cxn>
                <a:cxn ang="0">
                  <a:pos x="96" y="191"/>
                </a:cxn>
                <a:cxn ang="0">
                  <a:pos x="116" y="200"/>
                </a:cxn>
                <a:cxn ang="0">
                  <a:pos x="126" y="212"/>
                </a:cxn>
                <a:cxn ang="0">
                  <a:pos x="113" y="224"/>
                </a:cxn>
                <a:cxn ang="0">
                  <a:pos x="102" y="231"/>
                </a:cxn>
                <a:cxn ang="0">
                  <a:pos x="91" y="234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827399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6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8666164" y="3321869"/>
              <a:ext cx="52387" cy="57150"/>
            </a:xfrm>
            <a:custGeom>
              <a:avLst/>
              <a:gdLst/>
              <a:ahLst/>
              <a:cxnLst>
                <a:cxn ang="0">
                  <a:pos x="33" y="19"/>
                </a:cxn>
                <a:cxn ang="0">
                  <a:pos x="43" y="19"/>
                </a:cxn>
                <a:cxn ang="0">
                  <a:pos x="52" y="19"/>
                </a:cxn>
                <a:cxn ang="0">
                  <a:pos x="55" y="19"/>
                </a:cxn>
                <a:cxn ang="0">
                  <a:pos x="58" y="17"/>
                </a:cxn>
                <a:cxn ang="0">
                  <a:pos x="61" y="15"/>
                </a:cxn>
                <a:cxn ang="0">
                  <a:pos x="65" y="11"/>
                </a:cxn>
                <a:cxn ang="0">
                  <a:pos x="68" y="8"/>
                </a:cxn>
                <a:cxn ang="0">
                  <a:pos x="70" y="5"/>
                </a:cxn>
                <a:cxn ang="0">
                  <a:pos x="72" y="3"/>
                </a:cxn>
                <a:cxn ang="0">
                  <a:pos x="72" y="0"/>
                </a:cxn>
                <a:cxn ang="0">
                  <a:pos x="118" y="0"/>
                </a:cxn>
                <a:cxn ang="0">
                  <a:pos x="122" y="15"/>
                </a:cxn>
                <a:cxn ang="0">
                  <a:pos x="125" y="25"/>
                </a:cxn>
                <a:cxn ang="0">
                  <a:pos x="124" y="29"/>
                </a:cxn>
                <a:cxn ang="0">
                  <a:pos x="122" y="33"/>
                </a:cxn>
                <a:cxn ang="0">
                  <a:pos x="119" y="35"/>
                </a:cxn>
                <a:cxn ang="0">
                  <a:pos x="117" y="37"/>
                </a:cxn>
                <a:cxn ang="0">
                  <a:pos x="111" y="40"/>
                </a:cxn>
                <a:cxn ang="0">
                  <a:pos x="104" y="41"/>
                </a:cxn>
                <a:cxn ang="0">
                  <a:pos x="88" y="41"/>
                </a:cxn>
                <a:cxn ang="0">
                  <a:pos x="72" y="43"/>
                </a:cxn>
                <a:cxn ang="0">
                  <a:pos x="70" y="47"/>
                </a:cxn>
                <a:cxn ang="0">
                  <a:pos x="69" y="53"/>
                </a:cxn>
                <a:cxn ang="0">
                  <a:pos x="67" y="61"/>
                </a:cxn>
                <a:cxn ang="0">
                  <a:pos x="67" y="71"/>
                </a:cxn>
                <a:cxn ang="0">
                  <a:pos x="66" y="86"/>
                </a:cxn>
                <a:cxn ang="0">
                  <a:pos x="66" y="93"/>
                </a:cxn>
                <a:cxn ang="0">
                  <a:pos x="49" y="85"/>
                </a:cxn>
                <a:cxn ang="0">
                  <a:pos x="27" y="73"/>
                </a:cxn>
                <a:cxn ang="0">
                  <a:pos x="16" y="65"/>
                </a:cxn>
                <a:cxn ang="0">
                  <a:pos x="7" y="58"/>
                </a:cxn>
                <a:cxn ang="0">
                  <a:pos x="4" y="54"/>
                </a:cxn>
                <a:cxn ang="0">
                  <a:pos x="2" y="50"/>
                </a:cxn>
                <a:cxn ang="0">
                  <a:pos x="0" y="47"/>
                </a:cxn>
                <a:cxn ang="0">
                  <a:pos x="0" y="43"/>
                </a:cxn>
                <a:cxn ang="0">
                  <a:pos x="7" y="43"/>
                </a:cxn>
                <a:cxn ang="0">
                  <a:pos x="15" y="41"/>
                </a:cxn>
                <a:cxn ang="0">
                  <a:pos x="20" y="39"/>
                </a:cxn>
                <a:cxn ang="0">
                  <a:pos x="23" y="36"/>
                </a:cxn>
                <a:cxn ang="0">
                  <a:pos x="28" y="28"/>
                </a:cxn>
                <a:cxn ang="0">
                  <a:pos x="33" y="19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7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8612189" y="3336158"/>
              <a:ext cx="60325" cy="84137"/>
            </a:xfrm>
            <a:custGeom>
              <a:avLst/>
              <a:gdLst/>
              <a:ahLst/>
              <a:cxnLst>
                <a:cxn ang="0">
                  <a:pos x="20" y="12"/>
                </a:cxn>
                <a:cxn ang="0">
                  <a:pos x="24" y="10"/>
                </a:cxn>
                <a:cxn ang="0">
                  <a:pos x="31" y="6"/>
                </a:cxn>
                <a:cxn ang="0">
                  <a:pos x="34" y="4"/>
                </a:cxn>
                <a:cxn ang="0">
                  <a:pos x="37" y="2"/>
                </a:cxn>
                <a:cxn ang="0">
                  <a:pos x="42" y="1"/>
                </a:cxn>
                <a:cxn ang="0">
                  <a:pos x="46" y="0"/>
                </a:cxn>
                <a:cxn ang="0">
                  <a:pos x="59" y="1"/>
                </a:cxn>
                <a:cxn ang="0">
                  <a:pos x="70" y="4"/>
                </a:cxn>
                <a:cxn ang="0">
                  <a:pos x="81" y="8"/>
                </a:cxn>
                <a:cxn ang="0">
                  <a:pos x="90" y="14"/>
                </a:cxn>
                <a:cxn ang="0">
                  <a:pos x="99" y="21"/>
                </a:cxn>
                <a:cxn ang="0">
                  <a:pos x="105" y="30"/>
                </a:cxn>
                <a:cxn ang="0">
                  <a:pos x="112" y="40"/>
                </a:cxn>
                <a:cxn ang="0">
                  <a:pos x="116" y="50"/>
                </a:cxn>
                <a:cxn ang="0">
                  <a:pos x="121" y="60"/>
                </a:cxn>
                <a:cxn ang="0">
                  <a:pos x="124" y="71"/>
                </a:cxn>
                <a:cxn ang="0">
                  <a:pos x="127" y="82"/>
                </a:cxn>
                <a:cxn ang="0">
                  <a:pos x="130" y="94"/>
                </a:cxn>
                <a:cxn ang="0">
                  <a:pos x="132" y="116"/>
                </a:cxn>
                <a:cxn ang="0">
                  <a:pos x="133" y="135"/>
                </a:cxn>
                <a:cxn ang="0">
                  <a:pos x="132" y="138"/>
                </a:cxn>
                <a:cxn ang="0">
                  <a:pos x="130" y="141"/>
                </a:cxn>
                <a:cxn ang="0">
                  <a:pos x="125" y="144"/>
                </a:cxn>
                <a:cxn ang="0">
                  <a:pos x="121" y="147"/>
                </a:cxn>
                <a:cxn ang="0">
                  <a:pos x="115" y="150"/>
                </a:cxn>
                <a:cxn ang="0">
                  <a:pos x="110" y="153"/>
                </a:cxn>
                <a:cxn ang="0">
                  <a:pos x="104" y="154"/>
                </a:cxn>
                <a:cxn ang="0">
                  <a:pos x="99" y="154"/>
                </a:cxn>
                <a:cxn ang="0">
                  <a:pos x="93" y="153"/>
                </a:cxn>
                <a:cxn ang="0">
                  <a:pos x="87" y="149"/>
                </a:cxn>
                <a:cxn ang="0">
                  <a:pos x="79" y="141"/>
                </a:cxn>
                <a:cxn ang="0">
                  <a:pos x="71" y="134"/>
                </a:cxn>
                <a:cxn ang="0">
                  <a:pos x="64" y="126"/>
                </a:cxn>
                <a:cxn ang="0">
                  <a:pos x="58" y="118"/>
                </a:cxn>
                <a:cxn ang="0">
                  <a:pos x="54" y="111"/>
                </a:cxn>
                <a:cxn ang="0">
                  <a:pos x="53" y="105"/>
                </a:cxn>
                <a:cxn ang="0">
                  <a:pos x="54" y="98"/>
                </a:cxn>
                <a:cxn ang="0">
                  <a:pos x="56" y="83"/>
                </a:cxn>
                <a:cxn ang="0">
                  <a:pos x="58" y="68"/>
                </a:cxn>
                <a:cxn ang="0">
                  <a:pos x="59" y="62"/>
                </a:cxn>
                <a:cxn ang="0">
                  <a:pos x="47" y="61"/>
                </a:cxn>
                <a:cxn ang="0">
                  <a:pos x="36" y="59"/>
                </a:cxn>
                <a:cxn ang="0">
                  <a:pos x="25" y="56"/>
                </a:cxn>
                <a:cxn ang="0">
                  <a:pos x="17" y="52"/>
                </a:cxn>
                <a:cxn ang="0">
                  <a:pos x="13" y="49"/>
                </a:cxn>
                <a:cxn ang="0">
                  <a:pos x="10" y="46"/>
                </a:cxn>
                <a:cxn ang="0">
                  <a:pos x="7" y="43"/>
                </a:cxn>
                <a:cxn ang="0">
                  <a:pos x="4" y="39"/>
                </a:cxn>
                <a:cxn ang="0">
                  <a:pos x="2" y="34"/>
                </a:cxn>
                <a:cxn ang="0">
                  <a:pos x="1" y="29"/>
                </a:cxn>
                <a:cxn ang="0">
                  <a:pos x="0" y="24"/>
                </a:cxn>
                <a:cxn ang="0">
                  <a:pos x="0" y="18"/>
                </a:cxn>
                <a:cxn ang="0">
                  <a:pos x="7" y="15"/>
                </a:cxn>
                <a:cxn ang="0">
                  <a:pos x="20" y="12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8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8628063" y="3098033"/>
              <a:ext cx="209550" cy="244475"/>
            </a:xfrm>
            <a:custGeom>
              <a:avLst/>
              <a:gdLst/>
              <a:ahLst/>
              <a:cxnLst>
                <a:cxn ang="0">
                  <a:pos x="134" y="351"/>
                </a:cxn>
                <a:cxn ang="0">
                  <a:pos x="167" y="339"/>
                </a:cxn>
                <a:cxn ang="0">
                  <a:pos x="200" y="339"/>
                </a:cxn>
                <a:cxn ang="0">
                  <a:pos x="226" y="348"/>
                </a:cxn>
                <a:cxn ang="0">
                  <a:pos x="224" y="327"/>
                </a:cxn>
                <a:cxn ang="0">
                  <a:pos x="220" y="316"/>
                </a:cxn>
                <a:cxn ang="0">
                  <a:pos x="233" y="303"/>
                </a:cxn>
                <a:cxn ang="0">
                  <a:pos x="239" y="276"/>
                </a:cxn>
                <a:cxn ang="0">
                  <a:pos x="242" y="246"/>
                </a:cxn>
                <a:cxn ang="0">
                  <a:pos x="268" y="255"/>
                </a:cxn>
                <a:cxn ang="0">
                  <a:pos x="300" y="238"/>
                </a:cxn>
                <a:cxn ang="0">
                  <a:pos x="316" y="217"/>
                </a:cxn>
                <a:cxn ang="0">
                  <a:pos x="293" y="194"/>
                </a:cxn>
                <a:cxn ang="0">
                  <a:pos x="318" y="199"/>
                </a:cxn>
                <a:cxn ang="0">
                  <a:pos x="343" y="202"/>
                </a:cxn>
                <a:cxn ang="0">
                  <a:pos x="346" y="185"/>
                </a:cxn>
                <a:cxn ang="0">
                  <a:pos x="295" y="96"/>
                </a:cxn>
                <a:cxn ang="0">
                  <a:pos x="285" y="53"/>
                </a:cxn>
                <a:cxn ang="0">
                  <a:pos x="291" y="19"/>
                </a:cxn>
                <a:cxn ang="0">
                  <a:pos x="316" y="1"/>
                </a:cxn>
                <a:cxn ang="0">
                  <a:pos x="336" y="18"/>
                </a:cxn>
                <a:cxn ang="0">
                  <a:pos x="377" y="45"/>
                </a:cxn>
                <a:cxn ang="0">
                  <a:pos x="415" y="72"/>
                </a:cxn>
                <a:cxn ang="0">
                  <a:pos x="426" y="98"/>
                </a:cxn>
                <a:cxn ang="0">
                  <a:pos x="436" y="137"/>
                </a:cxn>
                <a:cxn ang="0">
                  <a:pos x="445" y="173"/>
                </a:cxn>
                <a:cxn ang="0">
                  <a:pos x="428" y="179"/>
                </a:cxn>
                <a:cxn ang="0">
                  <a:pos x="412" y="185"/>
                </a:cxn>
                <a:cxn ang="0">
                  <a:pos x="426" y="199"/>
                </a:cxn>
                <a:cxn ang="0">
                  <a:pos x="445" y="203"/>
                </a:cxn>
                <a:cxn ang="0">
                  <a:pos x="455" y="262"/>
                </a:cxn>
                <a:cxn ang="0">
                  <a:pos x="475" y="312"/>
                </a:cxn>
                <a:cxn ang="0">
                  <a:pos x="480" y="381"/>
                </a:cxn>
                <a:cxn ang="0">
                  <a:pos x="463" y="364"/>
                </a:cxn>
                <a:cxn ang="0">
                  <a:pos x="453" y="356"/>
                </a:cxn>
                <a:cxn ang="0">
                  <a:pos x="436" y="363"/>
                </a:cxn>
                <a:cxn ang="0">
                  <a:pos x="429" y="399"/>
                </a:cxn>
                <a:cxn ang="0">
                  <a:pos x="408" y="389"/>
                </a:cxn>
                <a:cxn ang="0">
                  <a:pos x="389" y="382"/>
                </a:cxn>
                <a:cxn ang="0">
                  <a:pos x="376" y="402"/>
                </a:cxn>
                <a:cxn ang="0">
                  <a:pos x="345" y="413"/>
                </a:cxn>
                <a:cxn ang="0">
                  <a:pos x="334" y="400"/>
                </a:cxn>
                <a:cxn ang="0">
                  <a:pos x="312" y="395"/>
                </a:cxn>
                <a:cxn ang="0">
                  <a:pos x="303" y="426"/>
                </a:cxn>
                <a:cxn ang="0">
                  <a:pos x="299" y="450"/>
                </a:cxn>
                <a:cxn ang="0">
                  <a:pos x="307" y="466"/>
                </a:cxn>
                <a:cxn ang="0">
                  <a:pos x="272" y="468"/>
                </a:cxn>
                <a:cxn ang="0">
                  <a:pos x="258" y="465"/>
                </a:cxn>
                <a:cxn ang="0">
                  <a:pos x="244" y="440"/>
                </a:cxn>
                <a:cxn ang="0">
                  <a:pos x="229" y="418"/>
                </a:cxn>
                <a:cxn ang="0">
                  <a:pos x="204" y="406"/>
                </a:cxn>
                <a:cxn ang="0">
                  <a:pos x="190" y="394"/>
                </a:cxn>
                <a:cxn ang="0">
                  <a:pos x="136" y="417"/>
                </a:cxn>
                <a:cxn ang="0">
                  <a:pos x="90" y="435"/>
                </a:cxn>
                <a:cxn ang="0">
                  <a:pos x="65" y="459"/>
                </a:cxn>
                <a:cxn ang="0">
                  <a:pos x="27" y="461"/>
                </a:cxn>
                <a:cxn ang="0">
                  <a:pos x="7" y="438"/>
                </a:cxn>
                <a:cxn ang="0">
                  <a:pos x="0" y="417"/>
                </a:cxn>
                <a:cxn ang="0">
                  <a:pos x="7" y="413"/>
                </a:cxn>
                <a:cxn ang="0">
                  <a:pos x="27" y="414"/>
                </a:cxn>
                <a:cxn ang="0">
                  <a:pos x="48" y="405"/>
                </a:cxn>
                <a:cxn ang="0">
                  <a:pos x="72" y="369"/>
                </a:cxn>
                <a:cxn ang="0">
                  <a:pos x="93" y="352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827399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9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211888" y="1988370"/>
              <a:ext cx="107950" cy="60325"/>
            </a:xfrm>
            <a:custGeom>
              <a:avLst/>
              <a:gdLst/>
              <a:ahLst/>
              <a:cxnLst>
                <a:cxn ang="0">
                  <a:pos x="27" y="36"/>
                </a:cxn>
                <a:cxn ang="0">
                  <a:pos x="36" y="36"/>
                </a:cxn>
                <a:cxn ang="0">
                  <a:pos x="45" y="35"/>
                </a:cxn>
                <a:cxn ang="0">
                  <a:pos x="53" y="33"/>
                </a:cxn>
                <a:cxn ang="0">
                  <a:pos x="59" y="31"/>
                </a:cxn>
                <a:cxn ang="0">
                  <a:pos x="66" y="30"/>
                </a:cxn>
                <a:cxn ang="0">
                  <a:pos x="72" y="29"/>
                </a:cxn>
                <a:cxn ang="0">
                  <a:pos x="80" y="29"/>
                </a:cxn>
                <a:cxn ang="0">
                  <a:pos x="87" y="30"/>
                </a:cxn>
                <a:cxn ang="0">
                  <a:pos x="87" y="42"/>
                </a:cxn>
                <a:cxn ang="0">
                  <a:pos x="154" y="42"/>
                </a:cxn>
                <a:cxn ang="0">
                  <a:pos x="154" y="39"/>
                </a:cxn>
                <a:cxn ang="0">
                  <a:pos x="156" y="36"/>
                </a:cxn>
                <a:cxn ang="0">
                  <a:pos x="159" y="33"/>
                </a:cxn>
                <a:cxn ang="0">
                  <a:pos x="163" y="31"/>
                </a:cxn>
                <a:cxn ang="0">
                  <a:pos x="175" y="26"/>
                </a:cxn>
                <a:cxn ang="0">
                  <a:pos x="190" y="23"/>
                </a:cxn>
                <a:cxn ang="0">
                  <a:pos x="221" y="17"/>
                </a:cxn>
                <a:cxn ang="0">
                  <a:pos x="246" y="12"/>
                </a:cxn>
                <a:cxn ang="0">
                  <a:pos x="212" y="13"/>
                </a:cxn>
                <a:cxn ang="0">
                  <a:pos x="186" y="14"/>
                </a:cxn>
                <a:cxn ang="0">
                  <a:pos x="178" y="15"/>
                </a:cxn>
                <a:cxn ang="0">
                  <a:pos x="171" y="15"/>
                </a:cxn>
                <a:cxn ang="0">
                  <a:pos x="168" y="14"/>
                </a:cxn>
                <a:cxn ang="0">
                  <a:pos x="167" y="12"/>
                </a:cxn>
                <a:cxn ang="0">
                  <a:pos x="159" y="16"/>
                </a:cxn>
                <a:cxn ang="0">
                  <a:pos x="152" y="17"/>
                </a:cxn>
                <a:cxn ang="0">
                  <a:pos x="147" y="17"/>
                </a:cxn>
                <a:cxn ang="0">
                  <a:pos x="141" y="15"/>
                </a:cxn>
                <a:cxn ang="0">
                  <a:pos x="137" y="12"/>
                </a:cxn>
                <a:cxn ang="0">
                  <a:pos x="133" y="9"/>
                </a:cxn>
                <a:cxn ang="0">
                  <a:pos x="129" y="5"/>
                </a:cxn>
                <a:cxn ang="0">
                  <a:pos x="126" y="0"/>
                </a:cxn>
                <a:cxn ang="0">
                  <a:pos x="121" y="2"/>
                </a:cxn>
                <a:cxn ang="0">
                  <a:pos x="113" y="4"/>
                </a:cxn>
                <a:cxn ang="0">
                  <a:pos x="103" y="5"/>
                </a:cxn>
                <a:cxn ang="0">
                  <a:pos x="93" y="5"/>
                </a:cxn>
                <a:cxn ang="0">
                  <a:pos x="74" y="6"/>
                </a:cxn>
                <a:cxn ang="0">
                  <a:pos x="60" y="6"/>
                </a:cxn>
                <a:cxn ang="0">
                  <a:pos x="58" y="9"/>
                </a:cxn>
                <a:cxn ang="0">
                  <a:pos x="56" y="12"/>
                </a:cxn>
                <a:cxn ang="0">
                  <a:pos x="54" y="15"/>
                </a:cxn>
                <a:cxn ang="0">
                  <a:pos x="50" y="17"/>
                </a:cxn>
                <a:cxn ang="0">
                  <a:pos x="42" y="20"/>
                </a:cxn>
                <a:cxn ang="0">
                  <a:pos x="33" y="22"/>
                </a:cxn>
                <a:cxn ang="0">
                  <a:pos x="14" y="24"/>
                </a:cxn>
                <a:cxn ang="0">
                  <a:pos x="0" y="24"/>
                </a:cxn>
                <a:cxn ang="0">
                  <a:pos x="1" y="27"/>
                </a:cxn>
                <a:cxn ang="0">
                  <a:pos x="3" y="29"/>
                </a:cxn>
                <a:cxn ang="0">
                  <a:pos x="5" y="31"/>
                </a:cxn>
                <a:cxn ang="0">
                  <a:pos x="9" y="33"/>
                </a:cxn>
                <a:cxn ang="0">
                  <a:pos x="17" y="35"/>
                </a:cxn>
                <a:cxn ang="0">
                  <a:pos x="27" y="36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0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354763" y="1970907"/>
              <a:ext cx="63500" cy="57150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118" y="1"/>
                </a:cxn>
                <a:cxn ang="0">
                  <a:pos x="134" y="3"/>
                </a:cxn>
                <a:cxn ang="0">
                  <a:pos x="145" y="5"/>
                </a:cxn>
                <a:cxn ang="0">
                  <a:pos x="149" y="6"/>
                </a:cxn>
                <a:cxn ang="0">
                  <a:pos x="149" y="8"/>
                </a:cxn>
                <a:cxn ang="0">
                  <a:pos x="147" y="10"/>
                </a:cxn>
                <a:cxn ang="0">
                  <a:pos x="145" y="12"/>
                </a:cxn>
                <a:cxn ang="0">
                  <a:pos x="141" y="13"/>
                </a:cxn>
                <a:cxn ang="0">
                  <a:pos x="137" y="14"/>
                </a:cxn>
                <a:cxn ang="0">
                  <a:pos x="132" y="14"/>
                </a:cxn>
                <a:cxn ang="0">
                  <a:pos x="127" y="14"/>
                </a:cxn>
                <a:cxn ang="0">
                  <a:pos x="123" y="12"/>
                </a:cxn>
                <a:cxn ang="0">
                  <a:pos x="123" y="23"/>
                </a:cxn>
                <a:cxn ang="0">
                  <a:pos x="123" y="33"/>
                </a:cxn>
                <a:cxn ang="0">
                  <a:pos x="123" y="41"/>
                </a:cxn>
                <a:cxn ang="0">
                  <a:pos x="123" y="49"/>
                </a:cxn>
                <a:cxn ang="0">
                  <a:pos x="116" y="50"/>
                </a:cxn>
                <a:cxn ang="0">
                  <a:pos x="109" y="51"/>
                </a:cxn>
                <a:cxn ang="0">
                  <a:pos x="104" y="53"/>
                </a:cxn>
                <a:cxn ang="0">
                  <a:pos x="100" y="55"/>
                </a:cxn>
                <a:cxn ang="0">
                  <a:pos x="94" y="57"/>
                </a:cxn>
                <a:cxn ang="0">
                  <a:pos x="89" y="59"/>
                </a:cxn>
                <a:cxn ang="0">
                  <a:pos x="83" y="61"/>
                </a:cxn>
                <a:cxn ang="0">
                  <a:pos x="76" y="61"/>
                </a:cxn>
                <a:cxn ang="0">
                  <a:pos x="67" y="60"/>
                </a:cxn>
                <a:cxn ang="0">
                  <a:pos x="53" y="57"/>
                </a:cxn>
                <a:cxn ang="0">
                  <a:pos x="39" y="54"/>
                </a:cxn>
                <a:cxn ang="0">
                  <a:pos x="25" y="49"/>
                </a:cxn>
                <a:cxn ang="0">
                  <a:pos x="12" y="45"/>
                </a:cxn>
                <a:cxn ang="0">
                  <a:pos x="3" y="41"/>
                </a:cxn>
                <a:cxn ang="0">
                  <a:pos x="1" y="39"/>
                </a:cxn>
                <a:cxn ang="0">
                  <a:pos x="0" y="38"/>
                </a:cxn>
                <a:cxn ang="0">
                  <a:pos x="0" y="37"/>
                </a:cxn>
                <a:cxn ang="0">
                  <a:pos x="3" y="37"/>
                </a:cxn>
                <a:cxn ang="0">
                  <a:pos x="19" y="36"/>
                </a:cxn>
                <a:cxn ang="0">
                  <a:pos x="35" y="35"/>
                </a:cxn>
                <a:cxn ang="0">
                  <a:pos x="48" y="32"/>
                </a:cxn>
                <a:cxn ang="0">
                  <a:pos x="60" y="27"/>
                </a:cxn>
                <a:cxn ang="0">
                  <a:pos x="72" y="22"/>
                </a:cxn>
                <a:cxn ang="0">
                  <a:pos x="82" y="16"/>
                </a:cxn>
                <a:cxn ang="0">
                  <a:pos x="93" y="8"/>
                </a:cxn>
                <a:cxn ang="0">
                  <a:pos x="103" y="0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1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391276" y="1978844"/>
              <a:ext cx="130175" cy="57150"/>
            </a:xfrm>
            <a:custGeom>
              <a:avLst/>
              <a:gdLst/>
              <a:ahLst/>
              <a:cxnLst>
                <a:cxn ang="0">
                  <a:pos x="133" y="72"/>
                </a:cxn>
                <a:cxn ang="0">
                  <a:pos x="154" y="65"/>
                </a:cxn>
                <a:cxn ang="0">
                  <a:pos x="178" y="54"/>
                </a:cxn>
                <a:cxn ang="0">
                  <a:pos x="199" y="42"/>
                </a:cxn>
                <a:cxn ang="0">
                  <a:pos x="207" y="40"/>
                </a:cxn>
                <a:cxn ang="0">
                  <a:pos x="211" y="46"/>
                </a:cxn>
                <a:cxn ang="0">
                  <a:pos x="220" y="51"/>
                </a:cxn>
                <a:cxn ang="0">
                  <a:pos x="243" y="55"/>
                </a:cxn>
                <a:cxn ang="0">
                  <a:pos x="269" y="55"/>
                </a:cxn>
                <a:cxn ang="0">
                  <a:pos x="286" y="55"/>
                </a:cxn>
                <a:cxn ang="0">
                  <a:pos x="293" y="46"/>
                </a:cxn>
                <a:cxn ang="0">
                  <a:pos x="298" y="31"/>
                </a:cxn>
                <a:cxn ang="0">
                  <a:pos x="279" y="25"/>
                </a:cxn>
                <a:cxn ang="0">
                  <a:pos x="244" y="25"/>
                </a:cxn>
                <a:cxn ang="0">
                  <a:pos x="225" y="25"/>
                </a:cxn>
                <a:cxn ang="0">
                  <a:pos x="214" y="27"/>
                </a:cxn>
                <a:cxn ang="0">
                  <a:pos x="204" y="33"/>
                </a:cxn>
                <a:cxn ang="0">
                  <a:pos x="172" y="37"/>
                </a:cxn>
                <a:cxn ang="0">
                  <a:pos x="176" y="28"/>
                </a:cxn>
                <a:cxn ang="0">
                  <a:pos x="180" y="21"/>
                </a:cxn>
                <a:cxn ang="0">
                  <a:pos x="194" y="13"/>
                </a:cxn>
                <a:cxn ang="0">
                  <a:pos x="210" y="9"/>
                </a:cxn>
                <a:cxn ang="0">
                  <a:pos x="225" y="0"/>
                </a:cxn>
                <a:cxn ang="0">
                  <a:pos x="185" y="3"/>
                </a:cxn>
                <a:cxn ang="0">
                  <a:pos x="157" y="11"/>
                </a:cxn>
                <a:cxn ang="0">
                  <a:pos x="134" y="25"/>
                </a:cxn>
                <a:cxn ang="0">
                  <a:pos x="114" y="40"/>
                </a:cxn>
                <a:cxn ang="0">
                  <a:pos x="100" y="53"/>
                </a:cxn>
                <a:cxn ang="0">
                  <a:pos x="87" y="59"/>
                </a:cxn>
                <a:cxn ang="0">
                  <a:pos x="64" y="63"/>
                </a:cxn>
                <a:cxn ang="0">
                  <a:pos x="32" y="64"/>
                </a:cxn>
                <a:cxn ang="0">
                  <a:pos x="12" y="67"/>
                </a:cxn>
                <a:cxn ang="0">
                  <a:pos x="2" y="70"/>
                </a:cxn>
                <a:cxn ang="0">
                  <a:pos x="39" y="74"/>
                </a:cxn>
                <a:cxn ang="0">
                  <a:pos x="102" y="74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2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924676" y="2164582"/>
              <a:ext cx="41275" cy="57150"/>
            </a:xfrm>
            <a:custGeom>
              <a:avLst/>
              <a:gdLst/>
              <a:ahLst/>
              <a:cxnLst>
                <a:cxn ang="0">
                  <a:pos x="93" y="0"/>
                </a:cxn>
                <a:cxn ang="0">
                  <a:pos x="97" y="7"/>
                </a:cxn>
                <a:cxn ang="0">
                  <a:pos x="100" y="18"/>
                </a:cxn>
                <a:cxn ang="0">
                  <a:pos x="92" y="24"/>
                </a:cxn>
                <a:cxn ang="0">
                  <a:pos x="86" y="29"/>
                </a:cxn>
                <a:cxn ang="0">
                  <a:pos x="79" y="34"/>
                </a:cxn>
                <a:cxn ang="0">
                  <a:pos x="72" y="37"/>
                </a:cxn>
                <a:cxn ang="0">
                  <a:pos x="65" y="39"/>
                </a:cxn>
                <a:cxn ang="0">
                  <a:pos x="57" y="41"/>
                </a:cxn>
                <a:cxn ang="0">
                  <a:pos x="49" y="42"/>
                </a:cxn>
                <a:cxn ang="0">
                  <a:pos x="40" y="42"/>
                </a:cxn>
                <a:cxn ang="0">
                  <a:pos x="27" y="41"/>
                </a:cxn>
                <a:cxn ang="0">
                  <a:pos x="12" y="39"/>
                </a:cxn>
                <a:cxn ang="0">
                  <a:pos x="1" y="37"/>
                </a:cxn>
                <a:cxn ang="0">
                  <a:pos x="0" y="36"/>
                </a:cxn>
                <a:cxn ang="0">
                  <a:pos x="6" y="36"/>
                </a:cxn>
                <a:cxn ang="0">
                  <a:pos x="12" y="35"/>
                </a:cxn>
                <a:cxn ang="0">
                  <a:pos x="18" y="33"/>
                </a:cxn>
                <a:cxn ang="0">
                  <a:pos x="23" y="30"/>
                </a:cxn>
                <a:cxn ang="0">
                  <a:pos x="33" y="25"/>
                </a:cxn>
                <a:cxn ang="0">
                  <a:pos x="44" y="18"/>
                </a:cxn>
                <a:cxn ang="0">
                  <a:pos x="55" y="11"/>
                </a:cxn>
                <a:cxn ang="0">
                  <a:pos x="66" y="5"/>
                </a:cxn>
                <a:cxn ang="0">
                  <a:pos x="72" y="3"/>
                </a:cxn>
                <a:cxn ang="0">
                  <a:pos x="79" y="1"/>
                </a:cxn>
                <a:cxn ang="0">
                  <a:pos x="86" y="0"/>
                </a:cxn>
                <a:cxn ang="0">
                  <a:pos x="93" y="0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3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834189" y="2023294"/>
              <a:ext cx="15875" cy="58738"/>
            </a:xfrm>
            <a:custGeom>
              <a:avLst/>
              <a:gdLst/>
              <a:ahLst/>
              <a:cxnLst>
                <a:cxn ang="0">
                  <a:pos x="40" y="5"/>
                </a:cxn>
                <a:cxn ang="0">
                  <a:pos x="0" y="5"/>
                </a:cxn>
                <a:cxn ang="0">
                  <a:pos x="5" y="3"/>
                </a:cxn>
                <a:cxn ang="0">
                  <a:pos x="9" y="1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25" y="0"/>
                </a:cxn>
                <a:cxn ang="0">
                  <a:pos x="30" y="1"/>
                </a:cxn>
                <a:cxn ang="0">
                  <a:pos x="35" y="3"/>
                </a:cxn>
                <a:cxn ang="0">
                  <a:pos x="40" y="5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4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856414" y="1982020"/>
              <a:ext cx="14287" cy="60325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2" y="10"/>
                </a:cxn>
                <a:cxn ang="0">
                  <a:pos x="25" y="14"/>
                </a:cxn>
                <a:cxn ang="0">
                  <a:pos x="27" y="18"/>
                </a:cxn>
                <a:cxn ang="0">
                  <a:pos x="31" y="26"/>
                </a:cxn>
                <a:cxn ang="0">
                  <a:pos x="33" y="31"/>
                </a:cxn>
                <a:cxn ang="0">
                  <a:pos x="0" y="31"/>
                </a:cxn>
                <a:cxn ang="0">
                  <a:pos x="0" y="25"/>
                </a:cxn>
                <a:cxn ang="0">
                  <a:pos x="0" y="19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5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000876" y="2097907"/>
              <a:ext cx="17463" cy="57150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41" y="43"/>
                </a:cxn>
                <a:cxn ang="0">
                  <a:pos x="31" y="42"/>
                </a:cxn>
                <a:cxn ang="0">
                  <a:pos x="24" y="40"/>
                </a:cxn>
                <a:cxn ang="0">
                  <a:pos x="18" y="37"/>
                </a:cxn>
                <a:cxn ang="0">
                  <a:pos x="13" y="33"/>
                </a:cxn>
                <a:cxn ang="0">
                  <a:pos x="5" y="25"/>
                </a:cxn>
                <a:cxn ang="0">
                  <a:pos x="0" y="19"/>
                </a:cxn>
                <a:cxn ang="0">
                  <a:pos x="12" y="13"/>
                </a:cxn>
                <a:cxn ang="0">
                  <a:pos x="25" y="7"/>
                </a:cxn>
                <a:cxn ang="0">
                  <a:pos x="36" y="2"/>
                </a:cxn>
                <a:cxn ang="0">
                  <a:pos x="41" y="0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6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054851" y="1982020"/>
              <a:ext cx="93663" cy="60325"/>
            </a:xfrm>
            <a:custGeom>
              <a:avLst/>
              <a:gdLst/>
              <a:ahLst/>
              <a:cxnLst>
                <a:cxn ang="0">
                  <a:pos x="61" y="0"/>
                </a:cxn>
                <a:cxn ang="0">
                  <a:pos x="83" y="0"/>
                </a:cxn>
                <a:cxn ang="0">
                  <a:pos x="105" y="1"/>
                </a:cxn>
                <a:cxn ang="0">
                  <a:pos x="127" y="3"/>
                </a:cxn>
                <a:cxn ang="0">
                  <a:pos x="146" y="7"/>
                </a:cxn>
                <a:cxn ang="0">
                  <a:pos x="166" y="11"/>
                </a:cxn>
                <a:cxn ang="0">
                  <a:pos x="184" y="16"/>
                </a:cxn>
                <a:cxn ang="0">
                  <a:pos x="191" y="19"/>
                </a:cxn>
                <a:cxn ang="0">
                  <a:pos x="199" y="23"/>
                </a:cxn>
                <a:cxn ang="0">
                  <a:pos x="207" y="27"/>
                </a:cxn>
                <a:cxn ang="0">
                  <a:pos x="213" y="31"/>
                </a:cxn>
                <a:cxn ang="0">
                  <a:pos x="211" y="35"/>
                </a:cxn>
                <a:cxn ang="0">
                  <a:pos x="207" y="38"/>
                </a:cxn>
                <a:cxn ang="0">
                  <a:pos x="201" y="41"/>
                </a:cxn>
                <a:cxn ang="0">
                  <a:pos x="195" y="44"/>
                </a:cxn>
                <a:cxn ang="0">
                  <a:pos x="177" y="49"/>
                </a:cxn>
                <a:cxn ang="0">
                  <a:pos x="156" y="53"/>
                </a:cxn>
                <a:cxn ang="0">
                  <a:pos x="135" y="57"/>
                </a:cxn>
                <a:cxn ang="0">
                  <a:pos x="114" y="59"/>
                </a:cxn>
                <a:cxn ang="0">
                  <a:pos x="95" y="62"/>
                </a:cxn>
                <a:cxn ang="0">
                  <a:pos x="80" y="62"/>
                </a:cxn>
                <a:cxn ang="0">
                  <a:pos x="62" y="62"/>
                </a:cxn>
                <a:cxn ang="0">
                  <a:pos x="43" y="59"/>
                </a:cxn>
                <a:cxn ang="0">
                  <a:pos x="33" y="59"/>
                </a:cxn>
                <a:cxn ang="0">
                  <a:pos x="23" y="59"/>
                </a:cxn>
                <a:cxn ang="0">
                  <a:pos x="12" y="60"/>
                </a:cxn>
                <a:cxn ang="0">
                  <a:pos x="0" y="62"/>
                </a:cxn>
                <a:cxn ang="0">
                  <a:pos x="6" y="50"/>
                </a:cxn>
                <a:cxn ang="0">
                  <a:pos x="11" y="39"/>
                </a:cxn>
                <a:cxn ang="0">
                  <a:pos x="17" y="29"/>
                </a:cxn>
                <a:cxn ang="0">
                  <a:pos x="23" y="20"/>
                </a:cxn>
                <a:cxn ang="0">
                  <a:pos x="27" y="16"/>
                </a:cxn>
                <a:cxn ang="0">
                  <a:pos x="30" y="12"/>
                </a:cxn>
                <a:cxn ang="0">
                  <a:pos x="34" y="9"/>
                </a:cxn>
                <a:cxn ang="0">
                  <a:pos x="39" y="6"/>
                </a:cxn>
                <a:cxn ang="0">
                  <a:pos x="43" y="3"/>
                </a:cxn>
                <a:cxn ang="0">
                  <a:pos x="49" y="1"/>
                </a:cxn>
                <a:cxn ang="0">
                  <a:pos x="54" y="0"/>
                </a:cxn>
                <a:cxn ang="0">
                  <a:pos x="61" y="0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7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115175" y="2007420"/>
              <a:ext cx="103188" cy="60325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30" y="3"/>
                </a:cxn>
                <a:cxn ang="0">
                  <a:pos x="23" y="5"/>
                </a:cxn>
                <a:cxn ang="0">
                  <a:pos x="19" y="7"/>
                </a:cxn>
                <a:cxn ang="0">
                  <a:pos x="15" y="9"/>
                </a:cxn>
                <a:cxn ang="0">
                  <a:pos x="13" y="13"/>
                </a:cxn>
                <a:cxn ang="0">
                  <a:pos x="10" y="15"/>
                </a:cxn>
                <a:cxn ang="0">
                  <a:pos x="7" y="17"/>
                </a:cxn>
                <a:cxn ang="0">
                  <a:pos x="0" y="19"/>
                </a:cxn>
                <a:cxn ang="0">
                  <a:pos x="2" y="24"/>
                </a:cxn>
                <a:cxn ang="0">
                  <a:pos x="5" y="27"/>
                </a:cxn>
                <a:cxn ang="0">
                  <a:pos x="7" y="30"/>
                </a:cxn>
                <a:cxn ang="0">
                  <a:pos x="10" y="33"/>
                </a:cxn>
                <a:cxn ang="0">
                  <a:pos x="17" y="36"/>
                </a:cxn>
                <a:cxn ang="0">
                  <a:pos x="24" y="38"/>
                </a:cxn>
                <a:cxn ang="0">
                  <a:pos x="41" y="38"/>
                </a:cxn>
                <a:cxn ang="0">
                  <a:pos x="54" y="38"/>
                </a:cxn>
                <a:cxn ang="0">
                  <a:pos x="153" y="38"/>
                </a:cxn>
                <a:cxn ang="0">
                  <a:pos x="155" y="41"/>
                </a:cxn>
                <a:cxn ang="0">
                  <a:pos x="156" y="44"/>
                </a:cxn>
                <a:cxn ang="0">
                  <a:pos x="159" y="46"/>
                </a:cxn>
                <a:cxn ang="0">
                  <a:pos x="162" y="48"/>
                </a:cxn>
                <a:cxn ang="0">
                  <a:pos x="167" y="51"/>
                </a:cxn>
                <a:cxn ang="0">
                  <a:pos x="174" y="54"/>
                </a:cxn>
                <a:cxn ang="0">
                  <a:pos x="188" y="56"/>
                </a:cxn>
                <a:cxn ang="0">
                  <a:pos x="200" y="56"/>
                </a:cxn>
                <a:cxn ang="0">
                  <a:pos x="204" y="55"/>
                </a:cxn>
                <a:cxn ang="0">
                  <a:pos x="210" y="54"/>
                </a:cxn>
                <a:cxn ang="0">
                  <a:pos x="214" y="52"/>
                </a:cxn>
                <a:cxn ang="0">
                  <a:pos x="220" y="49"/>
                </a:cxn>
                <a:cxn ang="0">
                  <a:pos x="230" y="43"/>
                </a:cxn>
                <a:cxn ang="0">
                  <a:pos x="239" y="38"/>
                </a:cxn>
                <a:cxn ang="0">
                  <a:pos x="232" y="37"/>
                </a:cxn>
                <a:cxn ang="0">
                  <a:pos x="225" y="36"/>
                </a:cxn>
                <a:cxn ang="0">
                  <a:pos x="219" y="34"/>
                </a:cxn>
                <a:cxn ang="0">
                  <a:pos x="213" y="32"/>
                </a:cxn>
                <a:cxn ang="0">
                  <a:pos x="201" y="26"/>
                </a:cxn>
                <a:cxn ang="0">
                  <a:pos x="190" y="19"/>
                </a:cxn>
                <a:cxn ang="0">
                  <a:pos x="178" y="13"/>
                </a:cxn>
                <a:cxn ang="0">
                  <a:pos x="167" y="6"/>
                </a:cxn>
                <a:cxn ang="0">
                  <a:pos x="160" y="4"/>
                </a:cxn>
                <a:cxn ang="0">
                  <a:pos x="154" y="2"/>
                </a:cxn>
                <a:cxn ang="0">
                  <a:pos x="147" y="1"/>
                </a:cxn>
                <a:cxn ang="0">
                  <a:pos x="140" y="0"/>
                </a:cxn>
                <a:cxn ang="0">
                  <a:pos x="134" y="1"/>
                </a:cxn>
                <a:cxn ang="0">
                  <a:pos x="127" y="4"/>
                </a:cxn>
                <a:cxn ang="0">
                  <a:pos x="124" y="6"/>
                </a:cxn>
                <a:cxn ang="0">
                  <a:pos x="122" y="8"/>
                </a:cxn>
                <a:cxn ang="0">
                  <a:pos x="121" y="10"/>
                </a:cxn>
                <a:cxn ang="0">
                  <a:pos x="120" y="13"/>
                </a:cxn>
                <a:cxn ang="0">
                  <a:pos x="100" y="8"/>
                </a:cxn>
                <a:cxn ang="0">
                  <a:pos x="80" y="4"/>
                </a:cxn>
                <a:cxn ang="0">
                  <a:pos x="61" y="1"/>
                </a:cxn>
                <a:cxn ang="0">
                  <a:pos x="41" y="0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8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232650" y="2021707"/>
              <a:ext cx="82550" cy="57150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41" y="0"/>
                </a:cxn>
                <a:cxn ang="0">
                  <a:pos x="44" y="3"/>
                </a:cxn>
                <a:cxn ang="0">
                  <a:pos x="50" y="6"/>
                </a:cxn>
                <a:cxn ang="0">
                  <a:pos x="58" y="9"/>
                </a:cxn>
                <a:cxn ang="0">
                  <a:pos x="67" y="12"/>
                </a:cxn>
                <a:cxn ang="0">
                  <a:pos x="89" y="19"/>
                </a:cxn>
                <a:cxn ang="0">
                  <a:pos x="114" y="26"/>
                </a:cxn>
                <a:cxn ang="0">
                  <a:pos x="139" y="33"/>
                </a:cxn>
                <a:cxn ang="0">
                  <a:pos x="161" y="38"/>
                </a:cxn>
                <a:cxn ang="0">
                  <a:pos x="177" y="42"/>
                </a:cxn>
                <a:cxn ang="0">
                  <a:pos x="187" y="43"/>
                </a:cxn>
                <a:cxn ang="0">
                  <a:pos x="187" y="56"/>
                </a:cxn>
                <a:cxn ang="0">
                  <a:pos x="187" y="68"/>
                </a:cxn>
                <a:cxn ang="0">
                  <a:pos x="170" y="70"/>
                </a:cxn>
                <a:cxn ang="0">
                  <a:pos x="151" y="71"/>
                </a:cxn>
                <a:cxn ang="0">
                  <a:pos x="133" y="71"/>
                </a:cxn>
                <a:cxn ang="0">
                  <a:pos x="116" y="70"/>
                </a:cxn>
                <a:cxn ang="0">
                  <a:pos x="85" y="69"/>
                </a:cxn>
                <a:cxn ang="0">
                  <a:pos x="61" y="68"/>
                </a:cxn>
                <a:cxn ang="0">
                  <a:pos x="55" y="69"/>
                </a:cxn>
                <a:cxn ang="0">
                  <a:pos x="51" y="70"/>
                </a:cxn>
                <a:cxn ang="0">
                  <a:pos x="45" y="72"/>
                </a:cxn>
                <a:cxn ang="0">
                  <a:pos x="41" y="74"/>
                </a:cxn>
                <a:cxn ang="0">
                  <a:pos x="33" y="78"/>
                </a:cxn>
                <a:cxn ang="0">
                  <a:pos x="28" y="80"/>
                </a:cxn>
                <a:cxn ang="0">
                  <a:pos x="22" y="79"/>
                </a:cxn>
                <a:cxn ang="0">
                  <a:pos x="18" y="76"/>
                </a:cxn>
                <a:cxn ang="0">
                  <a:pos x="14" y="72"/>
                </a:cxn>
                <a:cxn ang="0">
                  <a:pos x="9" y="67"/>
                </a:cxn>
                <a:cxn ang="0">
                  <a:pos x="6" y="62"/>
                </a:cxn>
                <a:cxn ang="0">
                  <a:pos x="3" y="57"/>
                </a:cxn>
                <a:cxn ang="0">
                  <a:pos x="2" y="53"/>
                </a:cxn>
                <a:cxn ang="0">
                  <a:pos x="0" y="50"/>
                </a:cxn>
                <a:cxn ang="0">
                  <a:pos x="2" y="44"/>
                </a:cxn>
                <a:cxn ang="0">
                  <a:pos x="3" y="40"/>
                </a:cxn>
                <a:cxn ang="0">
                  <a:pos x="5" y="36"/>
                </a:cxn>
                <a:cxn ang="0">
                  <a:pos x="7" y="31"/>
                </a:cxn>
                <a:cxn ang="0">
                  <a:pos x="13" y="24"/>
                </a:cxn>
                <a:cxn ang="0">
                  <a:pos x="14" y="1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9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759701" y="2147119"/>
              <a:ext cx="79375" cy="58738"/>
            </a:xfrm>
            <a:custGeom>
              <a:avLst/>
              <a:gdLst/>
              <a:ahLst/>
              <a:cxnLst>
                <a:cxn ang="0">
                  <a:pos x="50" y="0"/>
                </a:cxn>
                <a:cxn ang="0">
                  <a:pos x="63" y="0"/>
                </a:cxn>
                <a:cxn ang="0">
                  <a:pos x="75" y="1"/>
                </a:cxn>
                <a:cxn ang="0">
                  <a:pos x="86" y="4"/>
                </a:cxn>
                <a:cxn ang="0">
                  <a:pos x="97" y="7"/>
                </a:cxn>
                <a:cxn ang="0">
                  <a:pos x="106" y="10"/>
                </a:cxn>
                <a:cxn ang="0">
                  <a:pos x="116" y="15"/>
                </a:cxn>
                <a:cxn ang="0">
                  <a:pos x="124" y="19"/>
                </a:cxn>
                <a:cxn ang="0">
                  <a:pos x="131" y="25"/>
                </a:cxn>
                <a:cxn ang="0">
                  <a:pos x="159" y="49"/>
                </a:cxn>
                <a:cxn ang="0">
                  <a:pos x="183" y="73"/>
                </a:cxn>
                <a:cxn ang="0">
                  <a:pos x="137" y="73"/>
                </a:cxn>
                <a:cxn ang="0">
                  <a:pos x="128" y="72"/>
                </a:cxn>
                <a:cxn ang="0">
                  <a:pos x="117" y="70"/>
                </a:cxn>
                <a:cxn ang="0">
                  <a:pos x="104" y="66"/>
                </a:cxn>
                <a:cxn ang="0">
                  <a:pos x="90" y="62"/>
                </a:cxn>
                <a:cxn ang="0">
                  <a:pos x="73" y="56"/>
                </a:cxn>
                <a:cxn ang="0">
                  <a:pos x="58" y="50"/>
                </a:cxn>
                <a:cxn ang="0">
                  <a:pos x="42" y="44"/>
                </a:cxn>
                <a:cxn ang="0">
                  <a:pos x="28" y="37"/>
                </a:cxn>
                <a:cxn ang="0">
                  <a:pos x="16" y="30"/>
                </a:cxn>
                <a:cxn ang="0">
                  <a:pos x="7" y="23"/>
                </a:cxn>
                <a:cxn ang="0">
                  <a:pos x="4" y="19"/>
                </a:cxn>
                <a:cxn ang="0">
                  <a:pos x="2" y="16"/>
                </a:cxn>
                <a:cxn ang="0">
                  <a:pos x="1" y="14"/>
                </a:cxn>
                <a:cxn ang="0">
                  <a:pos x="0" y="11"/>
                </a:cxn>
                <a:cxn ang="0">
                  <a:pos x="1" y="8"/>
                </a:cxn>
                <a:cxn ang="0">
                  <a:pos x="3" y="6"/>
                </a:cxn>
                <a:cxn ang="0">
                  <a:pos x="7" y="4"/>
                </a:cxn>
                <a:cxn ang="0">
                  <a:pos x="13" y="3"/>
                </a:cxn>
                <a:cxn ang="0">
                  <a:pos x="19" y="1"/>
                </a:cxn>
                <a:cxn ang="0">
                  <a:pos x="28" y="0"/>
                </a:cxn>
                <a:cxn ang="0">
                  <a:pos x="38" y="0"/>
                </a:cxn>
                <a:cxn ang="0">
                  <a:pos x="50" y="0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0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826375" y="2164582"/>
              <a:ext cx="33338" cy="5715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23" y="2"/>
                </a:cxn>
                <a:cxn ang="0">
                  <a:pos x="41" y="1"/>
                </a:cxn>
                <a:cxn ang="0">
                  <a:pos x="60" y="0"/>
                </a:cxn>
                <a:cxn ang="0">
                  <a:pos x="79" y="0"/>
                </a:cxn>
                <a:cxn ang="0">
                  <a:pos x="79" y="9"/>
                </a:cxn>
                <a:cxn ang="0">
                  <a:pos x="79" y="18"/>
                </a:cxn>
                <a:cxn ang="0">
                  <a:pos x="79" y="22"/>
                </a:cxn>
                <a:cxn ang="0">
                  <a:pos x="75" y="27"/>
                </a:cxn>
                <a:cxn ang="0">
                  <a:pos x="72" y="31"/>
                </a:cxn>
                <a:cxn ang="0">
                  <a:pos x="68" y="35"/>
                </a:cxn>
                <a:cxn ang="0">
                  <a:pos x="62" y="38"/>
                </a:cxn>
                <a:cxn ang="0">
                  <a:pos x="57" y="40"/>
                </a:cxn>
                <a:cxn ang="0">
                  <a:pos x="51" y="42"/>
                </a:cxn>
                <a:cxn ang="0">
                  <a:pos x="46" y="42"/>
                </a:cxn>
                <a:cxn ang="0">
                  <a:pos x="40" y="42"/>
                </a:cxn>
                <a:cxn ang="0">
                  <a:pos x="35" y="41"/>
                </a:cxn>
                <a:cxn ang="0">
                  <a:pos x="29" y="39"/>
                </a:cxn>
                <a:cxn ang="0">
                  <a:pos x="25" y="37"/>
                </a:cxn>
                <a:cxn ang="0">
                  <a:pos x="16" y="32"/>
                </a:cxn>
                <a:cxn ang="0">
                  <a:pos x="11" y="26"/>
                </a:cxn>
                <a:cxn ang="0">
                  <a:pos x="5" y="20"/>
                </a:cxn>
                <a:cxn ang="0">
                  <a:pos x="2" y="14"/>
                </a:cxn>
                <a:cxn ang="0">
                  <a:pos x="0" y="9"/>
                </a:cxn>
                <a:cxn ang="0">
                  <a:pos x="0" y="6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1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856539" y="2175694"/>
              <a:ext cx="52387" cy="58738"/>
            </a:xfrm>
            <a:custGeom>
              <a:avLst/>
              <a:gdLst/>
              <a:ahLst/>
              <a:cxnLst>
                <a:cxn ang="0">
                  <a:pos x="113" y="39"/>
                </a:cxn>
                <a:cxn ang="0">
                  <a:pos x="112" y="42"/>
                </a:cxn>
                <a:cxn ang="0">
                  <a:pos x="109" y="45"/>
                </a:cxn>
                <a:cxn ang="0">
                  <a:pos x="106" y="47"/>
                </a:cxn>
                <a:cxn ang="0">
                  <a:pos x="103" y="49"/>
                </a:cxn>
                <a:cxn ang="0">
                  <a:pos x="94" y="51"/>
                </a:cxn>
                <a:cxn ang="0">
                  <a:pos x="85" y="52"/>
                </a:cxn>
                <a:cxn ang="0">
                  <a:pos x="66" y="52"/>
                </a:cxn>
                <a:cxn ang="0">
                  <a:pos x="53" y="51"/>
                </a:cxn>
                <a:cxn ang="0">
                  <a:pos x="47" y="51"/>
                </a:cxn>
                <a:cxn ang="0">
                  <a:pos x="39" y="48"/>
                </a:cxn>
                <a:cxn ang="0">
                  <a:pos x="30" y="45"/>
                </a:cxn>
                <a:cxn ang="0">
                  <a:pos x="21" y="41"/>
                </a:cxn>
                <a:cxn ang="0">
                  <a:pos x="13" y="36"/>
                </a:cxn>
                <a:cxn ang="0">
                  <a:pos x="6" y="31"/>
                </a:cxn>
                <a:cxn ang="0">
                  <a:pos x="4" y="28"/>
                </a:cxn>
                <a:cxn ang="0">
                  <a:pos x="2" y="25"/>
                </a:cxn>
                <a:cxn ang="0">
                  <a:pos x="1" y="22"/>
                </a:cxn>
                <a:cxn ang="0">
                  <a:pos x="0" y="20"/>
                </a:cxn>
                <a:cxn ang="0">
                  <a:pos x="1" y="15"/>
                </a:cxn>
                <a:cxn ang="0">
                  <a:pos x="1" y="11"/>
                </a:cxn>
                <a:cxn ang="0">
                  <a:pos x="3" y="8"/>
                </a:cxn>
                <a:cxn ang="0">
                  <a:pos x="5" y="5"/>
                </a:cxn>
                <a:cxn ang="0">
                  <a:pos x="7" y="3"/>
                </a:cxn>
                <a:cxn ang="0">
                  <a:pos x="10" y="2"/>
                </a:cxn>
                <a:cxn ang="0">
                  <a:pos x="14" y="1"/>
                </a:cxn>
                <a:cxn ang="0">
                  <a:pos x="17" y="0"/>
                </a:cxn>
                <a:cxn ang="0">
                  <a:pos x="26" y="0"/>
                </a:cxn>
                <a:cxn ang="0">
                  <a:pos x="36" y="2"/>
                </a:cxn>
                <a:cxn ang="0">
                  <a:pos x="46" y="5"/>
                </a:cxn>
                <a:cxn ang="0">
                  <a:pos x="57" y="9"/>
                </a:cxn>
                <a:cxn ang="0">
                  <a:pos x="77" y="18"/>
                </a:cxn>
                <a:cxn ang="0">
                  <a:pos x="95" y="29"/>
                </a:cxn>
                <a:cxn ang="0">
                  <a:pos x="108" y="36"/>
                </a:cxn>
                <a:cxn ang="0">
                  <a:pos x="113" y="3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2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627938" y="2148708"/>
              <a:ext cx="61912" cy="58737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8" y="9"/>
                </a:cxn>
                <a:cxn ang="0">
                  <a:pos x="19" y="8"/>
                </a:cxn>
                <a:cxn ang="0">
                  <a:pos x="30" y="7"/>
                </a:cxn>
                <a:cxn ang="0">
                  <a:pos x="42" y="5"/>
                </a:cxn>
                <a:cxn ang="0">
                  <a:pos x="53" y="2"/>
                </a:cxn>
                <a:cxn ang="0">
                  <a:pos x="64" y="1"/>
                </a:cxn>
                <a:cxn ang="0">
                  <a:pos x="73" y="0"/>
                </a:cxn>
                <a:cxn ang="0">
                  <a:pos x="80" y="2"/>
                </a:cxn>
                <a:cxn ang="0">
                  <a:pos x="139" y="39"/>
                </a:cxn>
                <a:cxn ang="0">
                  <a:pos x="133" y="40"/>
                </a:cxn>
                <a:cxn ang="0">
                  <a:pos x="125" y="39"/>
                </a:cxn>
                <a:cxn ang="0">
                  <a:pos x="116" y="38"/>
                </a:cxn>
                <a:cxn ang="0">
                  <a:pos x="106" y="36"/>
                </a:cxn>
                <a:cxn ang="0">
                  <a:pos x="86" y="30"/>
                </a:cxn>
                <a:cxn ang="0">
                  <a:pos x="64" y="24"/>
                </a:cxn>
                <a:cxn ang="0">
                  <a:pos x="44" y="16"/>
                </a:cxn>
                <a:cxn ang="0">
                  <a:pos x="26" y="11"/>
                </a:cxn>
                <a:cxn ang="0">
                  <a:pos x="17" y="9"/>
                </a:cxn>
                <a:cxn ang="0">
                  <a:pos x="11" y="7"/>
                </a:cxn>
                <a:cxn ang="0">
                  <a:pos x="4" y="7"/>
                </a:cxn>
                <a:cxn ang="0">
                  <a:pos x="0" y="8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3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927975" y="2089969"/>
              <a:ext cx="139700" cy="57150"/>
            </a:xfrm>
            <a:custGeom>
              <a:avLst/>
              <a:gdLst/>
              <a:ahLst/>
              <a:cxnLst>
                <a:cxn ang="0">
                  <a:pos x="10" y="7"/>
                </a:cxn>
                <a:cxn ang="0">
                  <a:pos x="31" y="1"/>
                </a:cxn>
                <a:cxn ang="0">
                  <a:pos x="53" y="0"/>
                </a:cxn>
                <a:cxn ang="0">
                  <a:pos x="73" y="4"/>
                </a:cxn>
                <a:cxn ang="0">
                  <a:pos x="92" y="10"/>
                </a:cxn>
                <a:cxn ang="0">
                  <a:pos x="110" y="18"/>
                </a:cxn>
                <a:cxn ang="0">
                  <a:pos x="122" y="29"/>
                </a:cxn>
                <a:cxn ang="0">
                  <a:pos x="130" y="38"/>
                </a:cxn>
                <a:cxn ang="0">
                  <a:pos x="136" y="34"/>
                </a:cxn>
                <a:cxn ang="0">
                  <a:pos x="139" y="15"/>
                </a:cxn>
                <a:cxn ang="0">
                  <a:pos x="161" y="7"/>
                </a:cxn>
                <a:cxn ang="0">
                  <a:pos x="216" y="13"/>
                </a:cxn>
                <a:cxn ang="0">
                  <a:pos x="258" y="23"/>
                </a:cxn>
                <a:cxn ang="0">
                  <a:pos x="283" y="32"/>
                </a:cxn>
                <a:cxn ang="0">
                  <a:pos x="305" y="43"/>
                </a:cxn>
                <a:cxn ang="0">
                  <a:pos x="320" y="55"/>
                </a:cxn>
                <a:cxn ang="0">
                  <a:pos x="316" y="64"/>
                </a:cxn>
                <a:cxn ang="0">
                  <a:pos x="294" y="68"/>
                </a:cxn>
                <a:cxn ang="0">
                  <a:pos x="259" y="71"/>
                </a:cxn>
                <a:cxn ang="0">
                  <a:pos x="210" y="70"/>
                </a:cxn>
                <a:cxn ang="0">
                  <a:pos x="167" y="68"/>
                </a:cxn>
                <a:cxn ang="0">
                  <a:pos x="133" y="69"/>
                </a:cxn>
                <a:cxn ang="0">
                  <a:pos x="90" y="71"/>
                </a:cxn>
                <a:cxn ang="0">
                  <a:pos x="72" y="68"/>
                </a:cxn>
                <a:cxn ang="0">
                  <a:pos x="67" y="64"/>
                </a:cxn>
                <a:cxn ang="0">
                  <a:pos x="58" y="61"/>
                </a:cxn>
                <a:cxn ang="0">
                  <a:pos x="46" y="59"/>
                </a:cxn>
                <a:cxn ang="0">
                  <a:pos x="35" y="53"/>
                </a:cxn>
                <a:cxn ang="0">
                  <a:pos x="25" y="45"/>
                </a:cxn>
                <a:cxn ang="0">
                  <a:pos x="16" y="39"/>
                </a:cxn>
                <a:cxn ang="0">
                  <a:pos x="6" y="37"/>
                </a:cxn>
                <a:cxn ang="0">
                  <a:pos x="0" y="22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4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088313" y="2097907"/>
              <a:ext cx="95250" cy="57150"/>
            </a:xfrm>
            <a:custGeom>
              <a:avLst/>
              <a:gdLst/>
              <a:ahLst/>
              <a:cxnLst>
                <a:cxn ang="0">
                  <a:pos x="87" y="25"/>
                </a:cxn>
                <a:cxn ang="0">
                  <a:pos x="92" y="26"/>
                </a:cxn>
                <a:cxn ang="0">
                  <a:pos x="98" y="27"/>
                </a:cxn>
                <a:cxn ang="0">
                  <a:pos x="101" y="28"/>
                </a:cxn>
                <a:cxn ang="0">
                  <a:pos x="104" y="27"/>
                </a:cxn>
                <a:cxn ang="0">
                  <a:pos x="109" y="27"/>
                </a:cxn>
                <a:cxn ang="0">
                  <a:pos x="113" y="25"/>
                </a:cxn>
                <a:cxn ang="0">
                  <a:pos x="114" y="26"/>
                </a:cxn>
                <a:cxn ang="0">
                  <a:pos x="115" y="26"/>
                </a:cxn>
                <a:cxn ang="0">
                  <a:pos x="116" y="25"/>
                </a:cxn>
                <a:cxn ang="0">
                  <a:pos x="117" y="25"/>
                </a:cxn>
                <a:cxn ang="0">
                  <a:pos x="119" y="22"/>
                </a:cxn>
                <a:cxn ang="0">
                  <a:pos x="120" y="17"/>
                </a:cxn>
                <a:cxn ang="0">
                  <a:pos x="120" y="7"/>
                </a:cxn>
                <a:cxn ang="0">
                  <a:pos x="120" y="0"/>
                </a:cxn>
                <a:cxn ang="0">
                  <a:pos x="125" y="5"/>
                </a:cxn>
                <a:cxn ang="0">
                  <a:pos x="131" y="10"/>
                </a:cxn>
                <a:cxn ang="0">
                  <a:pos x="137" y="15"/>
                </a:cxn>
                <a:cxn ang="0">
                  <a:pos x="143" y="19"/>
                </a:cxn>
                <a:cxn ang="0">
                  <a:pos x="156" y="25"/>
                </a:cxn>
                <a:cxn ang="0">
                  <a:pos x="170" y="30"/>
                </a:cxn>
                <a:cxn ang="0">
                  <a:pos x="183" y="35"/>
                </a:cxn>
                <a:cxn ang="0">
                  <a:pos x="196" y="41"/>
                </a:cxn>
                <a:cxn ang="0">
                  <a:pos x="203" y="44"/>
                </a:cxn>
                <a:cxn ang="0">
                  <a:pos x="209" y="47"/>
                </a:cxn>
                <a:cxn ang="0">
                  <a:pos x="214" y="51"/>
                </a:cxn>
                <a:cxn ang="0">
                  <a:pos x="220" y="55"/>
                </a:cxn>
                <a:cxn ang="0">
                  <a:pos x="206" y="56"/>
                </a:cxn>
                <a:cxn ang="0">
                  <a:pos x="194" y="57"/>
                </a:cxn>
                <a:cxn ang="0">
                  <a:pos x="182" y="58"/>
                </a:cxn>
                <a:cxn ang="0">
                  <a:pos x="171" y="60"/>
                </a:cxn>
                <a:cxn ang="0">
                  <a:pos x="151" y="65"/>
                </a:cxn>
                <a:cxn ang="0">
                  <a:pos x="134" y="70"/>
                </a:cxn>
                <a:cxn ang="0">
                  <a:pos x="126" y="71"/>
                </a:cxn>
                <a:cxn ang="0">
                  <a:pos x="117" y="72"/>
                </a:cxn>
                <a:cxn ang="0">
                  <a:pos x="110" y="72"/>
                </a:cxn>
                <a:cxn ang="0">
                  <a:pos x="103" y="72"/>
                </a:cxn>
                <a:cxn ang="0">
                  <a:pos x="95" y="70"/>
                </a:cxn>
                <a:cxn ang="0">
                  <a:pos x="88" y="66"/>
                </a:cxn>
                <a:cxn ang="0">
                  <a:pos x="81" y="61"/>
                </a:cxn>
                <a:cxn ang="0">
                  <a:pos x="74" y="55"/>
                </a:cxn>
                <a:cxn ang="0">
                  <a:pos x="59" y="53"/>
                </a:cxn>
                <a:cxn ang="0">
                  <a:pos x="45" y="50"/>
                </a:cxn>
                <a:cxn ang="0">
                  <a:pos x="33" y="47"/>
                </a:cxn>
                <a:cxn ang="0">
                  <a:pos x="22" y="43"/>
                </a:cxn>
                <a:cxn ang="0">
                  <a:pos x="18" y="41"/>
                </a:cxn>
                <a:cxn ang="0">
                  <a:pos x="13" y="38"/>
                </a:cxn>
                <a:cxn ang="0">
                  <a:pos x="9" y="35"/>
                </a:cxn>
                <a:cxn ang="0">
                  <a:pos x="7" y="31"/>
                </a:cxn>
                <a:cxn ang="0">
                  <a:pos x="3" y="27"/>
                </a:cxn>
                <a:cxn ang="0">
                  <a:pos x="2" y="23"/>
                </a:cxn>
                <a:cxn ang="0">
                  <a:pos x="1" y="18"/>
                </a:cxn>
                <a:cxn ang="0">
                  <a:pos x="0" y="13"/>
                </a:cxn>
                <a:cxn ang="0">
                  <a:pos x="23" y="17"/>
                </a:cxn>
                <a:cxn ang="0">
                  <a:pos x="44" y="21"/>
                </a:cxn>
                <a:cxn ang="0">
                  <a:pos x="64" y="24"/>
                </a:cxn>
                <a:cxn ang="0">
                  <a:pos x="87" y="25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5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048625" y="2145533"/>
              <a:ext cx="63500" cy="58737"/>
            </a:xfrm>
            <a:custGeom>
              <a:avLst/>
              <a:gdLst/>
              <a:ahLst/>
              <a:cxnLst>
                <a:cxn ang="0">
                  <a:pos x="146" y="25"/>
                </a:cxn>
                <a:cxn ang="0">
                  <a:pos x="140" y="16"/>
                </a:cxn>
                <a:cxn ang="0">
                  <a:pos x="137" y="9"/>
                </a:cxn>
                <a:cxn ang="0">
                  <a:pos x="133" y="4"/>
                </a:cxn>
                <a:cxn ang="0">
                  <a:pos x="128" y="1"/>
                </a:cxn>
                <a:cxn ang="0">
                  <a:pos x="126" y="1"/>
                </a:cxn>
                <a:cxn ang="0">
                  <a:pos x="124" y="1"/>
                </a:cxn>
                <a:cxn ang="0">
                  <a:pos x="120" y="2"/>
                </a:cxn>
                <a:cxn ang="0">
                  <a:pos x="118" y="3"/>
                </a:cxn>
                <a:cxn ang="0">
                  <a:pos x="113" y="9"/>
                </a:cxn>
                <a:cxn ang="0">
                  <a:pos x="105" y="19"/>
                </a:cxn>
                <a:cxn ang="0">
                  <a:pos x="72" y="19"/>
                </a:cxn>
                <a:cxn ang="0">
                  <a:pos x="63" y="18"/>
                </a:cxn>
                <a:cxn ang="0">
                  <a:pos x="55" y="17"/>
                </a:cxn>
                <a:cxn ang="0">
                  <a:pos x="47" y="14"/>
                </a:cxn>
                <a:cxn ang="0">
                  <a:pos x="40" y="12"/>
                </a:cxn>
                <a:cxn ang="0">
                  <a:pos x="29" y="6"/>
                </a:cxn>
                <a:cxn ang="0">
                  <a:pos x="19" y="0"/>
                </a:cxn>
                <a:cxn ang="0">
                  <a:pos x="14" y="9"/>
                </a:cxn>
                <a:cxn ang="0">
                  <a:pos x="10" y="15"/>
                </a:cxn>
                <a:cxn ang="0">
                  <a:pos x="4" y="20"/>
                </a:cxn>
                <a:cxn ang="0">
                  <a:pos x="0" y="25"/>
                </a:cxn>
                <a:cxn ang="0">
                  <a:pos x="33" y="25"/>
                </a:cxn>
                <a:cxn ang="0">
                  <a:pos x="57" y="25"/>
                </a:cxn>
                <a:cxn ang="0">
                  <a:pos x="77" y="25"/>
                </a:cxn>
                <a:cxn ang="0">
                  <a:pos x="99" y="25"/>
                </a:cxn>
                <a:cxn ang="0">
                  <a:pos x="110" y="26"/>
                </a:cxn>
                <a:cxn ang="0">
                  <a:pos x="123" y="29"/>
                </a:cxn>
                <a:cxn ang="0">
                  <a:pos x="128" y="30"/>
                </a:cxn>
                <a:cxn ang="0">
                  <a:pos x="135" y="30"/>
                </a:cxn>
                <a:cxn ang="0">
                  <a:pos x="140" y="28"/>
                </a:cxn>
                <a:cxn ang="0">
                  <a:pos x="146" y="25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6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027989" y="2142358"/>
              <a:ext cx="20637" cy="5873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7" y="9"/>
                </a:cxn>
                <a:cxn ang="0">
                  <a:pos x="29" y="9"/>
                </a:cxn>
                <a:cxn ang="0">
                  <a:pos x="40" y="9"/>
                </a:cxn>
                <a:cxn ang="0">
                  <a:pos x="53" y="9"/>
                </a:cxn>
                <a:cxn ang="0">
                  <a:pos x="46" y="6"/>
                </a:cxn>
                <a:cxn ang="0">
                  <a:pos x="38" y="3"/>
                </a:cxn>
                <a:cxn ang="0">
                  <a:pos x="31" y="1"/>
                </a:cxn>
                <a:cxn ang="0">
                  <a:pos x="25" y="0"/>
                </a:cxn>
                <a:cxn ang="0">
                  <a:pos x="19" y="0"/>
                </a:cxn>
                <a:cxn ang="0">
                  <a:pos x="14" y="0"/>
                </a:cxn>
                <a:cxn ang="0">
                  <a:pos x="9" y="1"/>
                </a:cxn>
                <a:cxn ang="0">
                  <a:pos x="6" y="3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7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8029575" y="2140769"/>
              <a:ext cx="0" cy="1588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8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199313" y="2069332"/>
              <a:ext cx="11112" cy="55562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5" y="17"/>
                </a:cxn>
                <a:cxn ang="0">
                  <a:pos x="13" y="8"/>
                </a:cxn>
                <a:cxn ang="0">
                  <a:pos x="16" y="5"/>
                </a:cxn>
                <a:cxn ang="0">
                  <a:pos x="20" y="2"/>
                </a:cxn>
                <a:cxn ang="0">
                  <a:pos x="23" y="1"/>
                </a:cxn>
                <a:cxn ang="0">
                  <a:pos x="26" y="0"/>
                </a:cxn>
                <a:cxn ang="0">
                  <a:pos x="26" y="25"/>
                </a:cxn>
                <a:cxn ang="0">
                  <a:pos x="20" y="25"/>
                </a:cxn>
                <a:cxn ang="0">
                  <a:pos x="13" y="25"/>
                </a:cxn>
                <a:cxn ang="0">
                  <a:pos x="0" y="25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9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948614" y="2140769"/>
              <a:ext cx="9525" cy="57150"/>
            </a:xfrm>
            <a:custGeom>
              <a:avLst/>
              <a:gdLst/>
              <a:ahLst/>
              <a:cxnLst>
                <a:cxn ang="0">
                  <a:pos x="33" y="25"/>
                </a:cxn>
                <a:cxn ang="0">
                  <a:pos x="33" y="12"/>
                </a:cxn>
                <a:cxn ang="0">
                  <a:pos x="33" y="0"/>
                </a:cxn>
                <a:cxn ang="0">
                  <a:pos x="0" y="0"/>
                </a:cxn>
                <a:cxn ang="0">
                  <a:pos x="9" y="9"/>
                </a:cxn>
                <a:cxn ang="0">
                  <a:pos x="16" y="17"/>
                </a:cxn>
                <a:cxn ang="0">
                  <a:pos x="20" y="20"/>
                </a:cxn>
                <a:cxn ang="0">
                  <a:pos x="24" y="23"/>
                </a:cxn>
                <a:cxn ang="0">
                  <a:pos x="28" y="24"/>
                </a:cxn>
                <a:cxn ang="0">
                  <a:pos x="33" y="25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0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902576" y="2104257"/>
              <a:ext cx="9525" cy="57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" y="18"/>
                </a:cxn>
                <a:cxn ang="0">
                  <a:pos x="16" y="11"/>
                </a:cxn>
                <a:cxn ang="0">
                  <a:pos x="20" y="0"/>
                </a:cxn>
                <a:cxn ang="0">
                  <a:pos x="0" y="0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1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402638" y="2674169"/>
              <a:ext cx="12700" cy="58738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33" y="0"/>
                </a:cxn>
                <a:cxn ang="0">
                  <a:pos x="30" y="2"/>
                </a:cxn>
                <a:cxn ang="0">
                  <a:pos x="29" y="5"/>
                </a:cxn>
                <a:cxn ang="0">
                  <a:pos x="28" y="9"/>
                </a:cxn>
                <a:cxn ang="0">
                  <a:pos x="28" y="13"/>
                </a:cxn>
                <a:cxn ang="0">
                  <a:pos x="28" y="17"/>
                </a:cxn>
                <a:cxn ang="0">
                  <a:pos x="29" y="21"/>
                </a:cxn>
                <a:cxn ang="0">
                  <a:pos x="30" y="26"/>
                </a:cxn>
                <a:cxn ang="0">
                  <a:pos x="33" y="31"/>
                </a:cxn>
                <a:cxn ang="0">
                  <a:pos x="0" y="31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2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696326" y="2196333"/>
              <a:ext cx="55563" cy="58737"/>
            </a:xfrm>
            <a:custGeom>
              <a:avLst/>
              <a:gdLst/>
              <a:ahLst/>
              <a:cxnLst>
                <a:cxn ang="0">
                  <a:pos x="3" y="44"/>
                </a:cxn>
                <a:cxn ang="0">
                  <a:pos x="1" y="42"/>
                </a:cxn>
                <a:cxn ang="0">
                  <a:pos x="1" y="40"/>
                </a:cxn>
                <a:cxn ang="0">
                  <a:pos x="0" y="37"/>
                </a:cxn>
                <a:cxn ang="0">
                  <a:pos x="1" y="33"/>
                </a:cxn>
                <a:cxn ang="0">
                  <a:pos x="2" y="25"/>
                </a:cxn>
                <a:cxn ang="0">
                  <a:pos x="3" y="18"/>
                </a:cxn>
                <a:cxn ang="0">
                  <a:pos x="9" y="13"/>
                </a:cxn>
                <a:cxn ang="0">
                  <a:pos x="16" y="9"/>
                </a:cxn>
                <a:cxn ang="0">
                  <a:pos x="21" y="6"/>
                </a:cxn>
                <a:cxn ang="0">
                  <a:pos x="27" y="5"/>
                </a:cxn>
                <a:cxn ang="0">
                  <a:pos x="39" y="3"/>
                </a:cxn>
                <a:cxn ang="0">
                  <a:pos x="57" y="0"/>
                </a:cxn>
                <a:cxn ang="0">
                  <a:pos x="60" y="5"/>
                </a:cxn>
                <a:cxn ang="0">
                  <a:pos x="64" y="8"/>
                </a:cxn>
                <a:cxn ang="0">
                  <a:pos x="69" y="11"/>
                </a:cxn>
                <a:cxn ang="0">
                  <a:pos x="73" y="14"/>
                </a:cxn>
                <a:cxn ang="0">
                  <a:pos x="83" y="18"/>
                </a:cxn>
                <a:cxn ang="0">
                  <a:pos x="93" y="21"/>
                </a:cxn>
                <a:cxn ang="0">
                  <a:pos x="103" y="25"/>
                </a:cxn>
                <a:cxn ang="0">
                  <a:pos x="113" y="29"/>
                </a:cxn>
                <a:cxn ang="0">
                  <a:pos x="117" y="32"/>
                </a:cxn>
                <a:cxn ang="0">
                  <a:pos x="121" y="35"/>
                </a:cxn>
                <a:cxn ang="0">
                  <a:pos x="126" y="38"/>
                </a:cxn>
                <a:cxn ang="0">
                  <a:pos x="129" y="44"/>
                </a:cxn>
                <a:cxn ang="0">
                  <a:pos x="119" y="48"/>
                </a:cxn>
                <a:cxn ang="0">
                  <a:pos x="109" y="51"/>
                </a:cxn>
                <a:cxn ang="0">
                  <a:pos x="99" y="53"/>
                </a:cxn>
                <a:cxn ang="0">
                  <a:pos x="90" y="54"/>
                </a:cxn>
                <a:cxn ang="0">
                  <a:pos x="70" y="56"/>
                </a:cxn>
                <a:cxn ang="0">
                  <a:pos x="49" y="56"/>
                </a:cxn>
                <a:cxn ang="0">
                  <a:pos x="40" y="55"/>
                </a:cxn>
                <a:cxn ang="0">
                  <a:pos x="31" y="54"/>
                </a:cxn>
                <a:cxn ang="0">
                  <a:pos x="23" y="52"/>
                </a:cxn>
                <a:cxn ang="0">
                  <a:pos x="16" y="50"/>
                </a:cxn>
                <a:cxn ang="0">
                  <a:pos x="6" y="46"/>
                </a:cxn>
                <a:cxn ang="0">
                  <a:pos x="3" y="44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3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832850" y="2548757"/>
              <a:ext cx="14288" cy="57150"/>
            </a:xfrm>
            <a:custGeom>
              <a:avLst/>
              <a:gdLst/>
              <a:ahLst/>
              <a:cxnLst>
                <a:cxn ang="0">
                  <a:pos x="21" y="42"/>
                </a:cxn>
                <a:cxn ang="0">
                  <a:pos x="0" y="30"/>
                </a:cxn>
                <a:cxn ang="0">
                  <a:pos x="0" y="6"/>
                </a:cxn>
                <a:cxn ang="0">
                  <a:pos x="7" y="5"/>
                </a:cxn>
                <a:cxn ang="0">
                  <a:pos x="14" y="3"/>
                </a:cxn>
                <a:cxn ang="0">
                  <a:pos x="24" y="1"/>
                </a:cxn>
                <a:cxn ang="0">
                  <a:pos x="34" y="0"/>
                </a:cxn>
                <a:cxn ang="0">
                  <a:pos x="34" y="18"/>
                </a:cxn>
                <a:cxn ang="0">
                  <a:pos x="41" y="18"/>
                </a:cxn>
                <a:cxn ang="0">
                  <a:pos x="21" y="42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4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982076" y="2661470"/>
              <a:ext cx="42863" cy="60325"/>
            </a:xfrm>
            <a:custGeom>
              <a:avLst/>
              <a:gdLst/>
              <a:ahLst/>
              <a:cxnLst>
                <a:cxn ang="0">
                  <a:pos x="60" y="9"/>
                </a:cxn>
                <a:cxn ang="0">
                  <a:pos x="67" y="18"/>
                </a:cxn>
                <a:cxn ang="0">
                  <a:pos x="77" y="28"/>
                </a:cxn>
                <a:cxn ang="0">
                  <a:pos x="81" y="33"/>
                </a:cxn>
                <a:cxn ang="0">
                  <a:pos x="86" y="36"/>
                </a:cxn>
                <a:cxn ang="0">
                  <a:pos x="90" y="38"/>
                </a:cxn>
                <a:cxn ang="0">
                  <a:pos x="93" y="39"/>
                </a:cxn>
                <a:cxn ang="0">
                  <a:pos x="60" y="39"/>
                </a:cxn>
                <a:cxn ang="0">
                  <a:pos x="50" y="36"/>
                </a:cxn>
                <a:cxn ang="0">
                  <a:pos x="43" y="32"/>
                </a:cxn>
                <a:cxn ang="0">
                  <a:pos x="36" y="28"/>
                </a:cxn>
                <a:cxn ang="0">
                  <a:pos x="30" y="23"/>
                </a:cxn>
                <a:cxn ang="0">
                  <a:pos x="24" y="18"/>
                </a:cxn>
                <a:cxn ang="0">
                  <a:pos x="16" y="13"/>
                </a:cxn>
                <a:cxn ang="0">
                  <a:pos x="9" y="7"/>
                </a:cxn>
                <a:cxn ang="0">
                  <a:pos x="0" y="3"/>
                </a:cxn>
                <a:cxn ang="0">
                  <a:pos x="11" y="1"/>
                </a:cxn>
                <a:cxn ang="0">
                  <a:pos x="20" y="0"/>
                </a:cxn>
                <a:cxn ang="0">
                  <a:pos x="26" y="0"/>
                </a:cxn>
                <a:cxn ang="0">
                  <a:pos x="33" y="1"/>
                </a:cxn>
                <a:cxn ang="0">
                  <a:pos x="44" y="4"/>
                </a:cxn>
                <a:cxn ang="0">
                  <a:pos x="60" y="9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5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032875" y="2677344"/>
              <a:ext cx="19050" cy="58738"/>
            </a:xfrm>
            <a:custGeom>
              <a:avLst/>
              <a:gdLst/>
              <a:ahLst/>
              <a:cxnLst>
                <a:cxn ang="0">
                  <a:pos x="39" y="19"/>
                </a:cxn>
                <a:cxn ang="0">
                  <a:pos x="13" y="19"/>
                </a:cxn>
                <a:cxn ang="0">
                  <a:pos x="8" y="19"/>
                </a:cxn>
                <a:cxn ang="0">
                  <a:pos x="5" y="17"/>
                </a:cxn>
                <a:cxn ang="0">
                  <a:pos x="3" y="14"/>
                </a:cxn>
                <a:cxn ang="0">
                  <a:pos x="2" y="11"/>
                </a:cxn>
                <a:cxn ang="0">
                  <a:pos x="0" y="5"/>
                </a:cxn>
                <a:cxn ang="0">
                  <a:pos x="0" y="0"/>
                </a:cxn>
                <a:cxn ang="0">
                  <a:pos x="13" y="4"/>
                </a:cxn>
                <a:cxn ang="0">
                  <a:pos x="22" y="9"/>
                </a:cxn>
                <a:cxn ang="0">
                  <a:pos x="30" y="14"/>
                </a:cxn>
                <a:cxn ang="0">
                  <a:pos x="39" y="19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6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897939" y="2804344"/>
              <a:ext cx="14287" cy="57150"/>
            </a:xfrm>
            <a:custGeom>
              <a:avLst/>
              <a:gdLst/>
              <a:ahLst/>
              <a:cxnLst>
                <a:cxn ang="0">
                  <a:pos x="0" y="36"/>
                </a:cxn>
                <a:cxn ang="0">
                  <a:pos x="3" y="31"/>
                </a:cxn>
                <a:cxn ang="0">
                  <a:pos x="10" y="20"/>
                </a:cxn>
                <a:cxn ang="0">
                  <a:pos x="18" y="8"/>
                </a:cxn>
                <a:cxn ang="0">
                  <a:pos x="26" y="0"/>
                </a:cxn>
                <a:cxn ang="0">
                  <a:pos x="26" y="9"/>
                </a:cxn>
                <a:cxn ang="0">
                  <a:pos x="26" y="18"/>
                </a:cxn>
                <a:cxn ang="0">
                  <a:pos x="25" y="22"/>
                </a:cxn>
                <a:cxn ang="0">
                  <a:pos x="24" y="26"/>
                </a:cxn>
                <a:cxn ang="0">
                  <a:pos x="21" y="29"/>
                </a:cxn>
                <a:cxn ang="0">
                  <a:pos x="17" y="32"/>
                </a:cxn>
                <a:cxn ang="0">
                  <a:pos x="14" y="34"/>
                </a:cxn>
                <a:cxn ang="0">
                  <a:pos x="10" y="35"/>
                </a:cxn>
                <a:cxn ang="0">
                  <a:pos x="4" y="36"/>
                </a:cxn>
                <a:cxn ang="0">
                  <a:pos x="0" y="36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7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909051" y="2832920"/>
              <a:ext cx="3175" cy="60325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6" y="31"/>
                </a:cxn>
                <a:cxn ang="0">
                  <a:pos x="0" y="37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8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896351" y="2915470"/>
              <a:ext cx="9525" cy="55563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25"/>
                </a:cxn>
                <a:cxn ang="0">
                  <a:pos x="0" y="18"/>
                </a:cxn>
                <a:cxn ang="0">
                  <a:pos x="2" y="9"/>
                </a:cxn>
                <a:cxn ang="0">
                  <a:pos x="7" y="0"/>
                </a:cxn>
                <a:cxn ang="0">
                  <a:pos x="11" y="7"/>
                </a:cxn>
                <a:cxn ang="0">
                  <a:pos x="16" y="12"/>
                </a:cxn>
                <a:cxn ang="0">
                  <a:pos x="17" y="14"/>
                </a:cxn>
                <a:cxn ang="0">
                  <a:pos x="19" y="18"/>
                </a:cxn>
                <a:cxn ang="0">
                  <a:pos x="19" y="21"/>
                </a:cxn>
                <a:cxn ang="0">
                  <a:pos x="20" y="25"/>
                </a:cxn>
                <a:cxn ang="0">
                  <a:pos x="19" y="27"/>
                </a:cxn>
                <a:cxn ang="0">
                  <a:pos x="18" y="30"/>
                </a:cxn>
                <a:cxn ang="0">
                  <a:pos x="16" y="33"/>
                </a:cxn>
                <a:cxn ang="0">
                  <a:pos x="12" y="36"/>
                </a:cxn>
                <a:cxn ang="0">
                  <a:pos x="9" y="39"/>
                </a:cxn>
                <a:cxn ang="0">
                  <a:pos x="6" y="41"/>
                </a:cxn>
                <a:cxn ang="0">
                  <a:pos x="2" y="42"/>
                </a:cxn>
                <a:cxn ang="0">
                  <a:pos x="0" y="43"/>
                </a:cxn>
                <a:cxn ang="0">
                  <a:pos x="0" y="31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9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874125" y="2950394"/>
              <a:ext cx="0" cy="58738"/>
            </a:xfrm>
            <a:custGeom>
              <a:avLst/>
              <a:gdLst/>
              <a:ahLst/>
              <a:cxnLst>
                <a:cxn ang="0">
                  <a:pos x="0" y="30"/>
                </a:cxn>
                <a:cxn ang="0">
                  <a:pos x="0" y="25"/>
                </a:cxn>
                <a:cxn ang="0">
                  <a:pos x="0" y="18"/>
                </a:cxn>
                <a:cxn ang="0">
                  <a:pos x="0" y="9"/>
                </a:cxn>
                <a:cxn ang="0">
                  <a:pos x="0" y="0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0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874125" y="2950394"/>
              <a:ext cx="7938" cy="587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" y="0"/>
                </a:cxn>
                <a:cxn ang="0">
                  <a:pos x="0" y="24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1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8628063" y="2537645"/>
              <a:ext cx="17462" cy="603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3"/>
                </a:cxn>
                <a:cxn ang="0">
                  <a:pos x="14" y="5"/>
                </a:cxn>
                <a:cxn ang="0">
                  <a:pos x="19" y="8"/>
                </a:cxn>
                <a:cxn ang="0">
                  <a:pos x="23" y="10"/>
                </a:cxn>
                <a:cxn ang="0">
                  <a:pos x="26" y="12"/>
                </a:cxn>
                <a:cxn ang="0">
                  <a:pos x="32" y="14"/>
                </a:cxn>
                <a:cxn ang="0">
                  <a:pos x="37" y="17"/>
                </a:cxn>
                <a:cxn ang="0">
                  <a:pos x="46" y="19"/>
                </a:cxn>
                <a:cxn ang="0">
                  <a:pos x="33" y="19"/>
                </a:cxn>
                <a:cxn ang="0">
                  <a:pos x="24" y="19"/>
                </a:cxn>
                <a:cxn ang="0">
                  <a:pos x="18" y="18"/>
                </a:cxn>
                <a:cxn ang="0">
                  <a:pos x="13" y="17"/>
                </a:cxn>
                <a:cxn ang="0">
                  <a:pos x="10" y="14"/>
                </a:cxn>
                <a:cxn ang="0">
                  <a:pos x="7" y="11"/>
                </a:cxn>
                <a:cxn ang="0">
                  <a:pos x="4" y="7"/>
                </a:cxn>
                <a:cxn ang="0">
                  <a:pos x="0" y="0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2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943601" y="2677344"/>
              <a:ext cx="47625" cy="58738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00" y="12"/>
                </a:cxn>
                <a:cxn ang="0">
                  <a:pos x="100" y="55"/>
                </a:cxn>
                <a:cxn ang="0">
                  <a:pos x="13" y="55"/>
                </a:cxn>
                <a:cxn ang="0">
                  <a:pos x="0" y="43"/>
                </a:cxn>
                <a:cxn ang="0">
                  <a:pos x="1" y="38"/>
                </a:cxn>
                <a:cxn ang="0">
                  <a:pos x="4" y="32"/>
                </a:cxn>
                <a:cxn ang="0">
                  <a:pos x="10" y="25"/>
                </a:cxn>
                <a:cxn ang="0">
                  <a:pos x="16" y="18"/>
                </a:cxn>
                <a:cxn ang="0">
                  <a:pos x="27" y="5"/>
                </a:cxn>
                <a:cxn ang="0">
                  <a:pos x="33" y="0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3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392863" y="2269358"/>
              <a:ext cx="42862" cy="58737"/>
            </a:xfrm>
            <a:custGeom>
              <a:avLst/>
              <a:gdLst/>
              <a:ahLst/>
              <a:cxnLst>
                <a:cxn ang="0">
                  <a:pos x="53" y="2"/>
                </a:cxn>
                <a:cxn ang="0">
                  <a:pos x="58" y="1"/>
                </a:cxn>
                <a:cxn ang="0">
                  <a:pos x="62" y="0"/>
                </a:cxn>
                <a:cxn ang="0">
                  <a:pos x="65" y="0"/>
                </a:cxn>
                <a:cxn ang="0">
                  <a:pos x="69" y="1"/>
                </a:cxn>
                <a:cxn ang="0">
                  <a:pos x="74" y="5"/>
                </a:cxn>
                <a:cxn ang="0">
                  <a:pos x="79" y="11"/>
                </a:cxn>
                <a:cxn ang="0">
                  <a:pos x="83" y="18"/>
                </a:cxn>
                <a:cxn ang="0">
                  <a:pos x="87" y="25"/>
                </a:cxn>
                <a:cxn ang="0">
                  <a:pos x="91" y="28"/>
                </a:cxn>
                <a:cxn ang="0">
                  <a:pos x="93" y="30"/>
                </a:cxn>
                <a:cxn ang="0">
                  <a:pos x="96" y="32"/>
                </a:cxn>
                <a:cxn ang="0">
                  <a:pos x="99" y="34"/>
                </a:cxn>
                <a:cxn ang="0">
                  <a:pos x="99" y="37"/>
                </a:cxn>
                <a:cxn ang="0">
                  <a:pos x="97" y="40"/>
                </a:cxn>
                <a:cxn ang="0">
                  <a:pos x="95" y="43"/>
                </a:cxn>
                <a:cxn ang="0">
                  <a:pos x="91" y="45"/>
                </a:cxn>
                <a:cxn ang="0">
                  <a:pos x="86" y="47"/>
                </a:cxn>
                <a:cxn ang="0">
                  <a:pos x="81" y="48"/>
                </a:cxn>
                <a:cxn ang="0">
                  <a:pos x="74" y="50"/>
                </a:cxn>
                <a:cxn ang="0">
                  <a:pos x="68" y="50"/>
                </a:cxn>
                <a:cxn ang="0">
                  <a:pos x="52" y="51"/>
                </a:cxn>
                <a:cxn ang="0">
                  <a:pos x="36" y="49"/>
                </a:cxn>
                <a:cxn ang="0">
                  <a:pos x="27" y="48"/>
                </a:cxn>
                <a:cxn ang="0">
                  <a:pos x="18" y="45"/>
                </a:cxn>
                <a:cxn ang="0">
                  <a:pos x="9" y="43"/>
                </a:cxn>
                <a:cxn ang="0">
                  <a:pos x="1" y="40"/>
                </a:cxn>
                <a:cxn ang="0">
                  <a:pos x="0" y="39"/>
                </a:cxn>
                <a:cxn ang="0">
                  <a:pos x="1" y="37"/>
                </a:cxn>
                <a:cxn ang="0">
                  <a:pos x="3" y="35"/>
                </a:cxn>
                <a:cxn ang="0">
                  <a:pos x="6" y="33"/>
                </a:cxn>
                <a:cxn ang="0">
                  <a:pos x="14" y="29"/>
                </a:cxn>
                <a:cxn ang="0">
                  <a:pos x="25" y="24"/>
                </a:cxn>
                <a:cxn ang="0">
                  <a:pos x="35" y="19"/>
                </a:cxn>
                <a:cxn ang="0">
                  <a:pos x="45" y="12"/>
                </a:cxn>
                <a:cxn ang="0">
                  <a:pos x="48" y="10"/>
                </a:cxn>
                <a:cxn ang="0">
                  <a:pos x="51" y="7"/>
                </a:cxn>
                <a:cxn ang="0">
                  <a:pos x="52" y="5"/>
                </a:cxn>
                <a:cxn ang="0">
                  <a:pos x="53" y="2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4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427788" y="2082032"/>
              <a:ext cx="228600" cy="163512"/>
            </a:xfrm>
            <a:custGeom>
              <a:avLst/>
              <a:gdLst/>
              <a:ahLst/>
              <a:cxnLst>
                <a:cxn ang="0">
                  <a:pos x="315" y="27"/>
                </a:cxn>
                <a:cxn ang="0">
                  <a:pos x="342" y="21"/>
                </a:cxn>
                <a:cxn ang="0">
                  <a:pos x="385" y="20"/>
                </a:cxn>
                <a:cxn ang="0">
                  <a:pos x="408" y="17"/>
                </a:cxn>
                <a:cxn ang="0">
                  <a:pos x="427" y="7"/>
                </a:cxn>
                <a:cxn ang="0">
                  <a:pos x="514" y="6"/>
                </a:cxn>
                <a:cxn ang="0">
                  <a:pos x="525" y="19"/>
                </a:cxn>
                <a:cxn ang="0">
                  <a:pos x="468" y="47"/>
                </a:cxn>
                <a:cxn ang="0">
                  <a:pos x="392" y="73"/>
                </a:cxn>
                <a:cxn ang="0">
                  <a:pos x="356" y="80"/>
                </a:cxn>
                <a:cxn ang="0">
                  <a:pos x="321" y="83"/>
                </a:cxn>
                <a:cxn ang="0">
                  <a:pos x="279" y="101"/>
                </a:cxn>
                <a:cxn ang="0">
                  <a:pos x="244" y="121"/>
                </a:cxn>
                <a:cxn ang="0">
                  <a:pos x="218" y="129"/>
                </a:cxn>
                <a:cxn ang="0">
                  <a:pos x="187" y="123"/>
                </a:cxn>
                <a:cxn ang="0">
                  <a:pos x="178" y="137"/>
                </a:cxn>
                <a:cxn ang="0">
                  <a:pos x="175" y="145"/>
                </a:cxn>
                <a:cxn ang="0">
                  <a:pos x="185" y="148"/>
                </a:cxn>
                <a:cxn ang="0">
                  <a:pos x="184" y="157"/>
                </a:cxn>
                <a:cxn ang="0">
                  <a:pos x="176" y="167"/>
                </a:cxn>
                <a:cxn ang="0">
                  <a:pos x="180" y="179"/>
                </a:cxn>
                <a:cxn ang="0">
                  <a:pos x="162" y="194"/>
                </a:cxn>
                <a:cxn ang="0">
                  <a:pos x="144" y="204"/>
                </a:cxn>
                <a:cxn ang="0">
                  <a:pos x="141" y="213"/>
                </a:cxn>
                <a:cxn ang="0">
                  <a:pos x="144" y="228"/>
                </a:cxn>
                <a:cxn ang="0">
                  <a:pos x="163" y="247"/>
                </a:cxn>
                <a:cxn ang="0">
                  <a:pos x="191" y="267"/>
                </a:cxn>
                <a:cxn ang="0">
                  <a:pos x="256" y="300"/>
                </a:cxn>
                <a:cxn ang="0">
                  <a:pos x="243" y="311"/>
                </a:cxn>
                <a:cxn ang="0">
                  <a:pos x="189" y="309"/>
                </a:cxn>
                <a:cxn ang="0">
                  <a:pos x="145" y="308"/>
                </a:cxn>
                <a:cxn ang="0">
                  <a:pos x="129" y="304"/>
                </a:cxn>
                <a:cxn ang="0">
                  <a:pos x="123" y="298"/>
                </a:cxn>
                <a:cxn ang="0">
                  <a:pos x="120" y="282"/>
                </a:cxn>
                <a:cxn ang="0">
                  <a:pos x="116" y="278"/>
                </a:cxn>
                <a:cxn ang="0">
                  <a:pos x="95" y="277"/>
                </a:cxn>
                <a:cxn ang="0">
                  <a:pos x="80" y="296"/>
                </a:cxn>
                <a:cxn ang="0">
                  <a:pos x="44" y="282"/>
                </a:cxn>
                <a:cxn ang="0">
                  <a:pos x="0" y="246"/>
                </a:cxn>
                <a:cxn ang="0">
                  <a:pos x="18" y="239"/>
                </a:cxn>
                <a:cxn ang="0">
                  <a:pos x="34" y="222"/>
                </a:cxn>
                <a:cxn ang="0">
                  <a:pos x="28" y="213"/>
                </a:cxn>
                <a:cxn ang="0">
                  <a:pos x="34" y="200"/>
                </a:cxn>
                <a:cxn ang="0">
                  <a:pos x="40" y="188"/>
                </a:cxn>
                <a:cxn ang="0">
                  <a:pos x="34" y="179"/>
                </a:cxn>
                <a:cxn ang="0">
                  <a:pos x="134" y="179"/>
                </a:cxn>
                <a:cxn ang="0">
                  <a:pos x="131" y="177"/>
                </a:cxn>
                <a:cxn ang="0">
                  <a:pos x="90" y="166"/>
                </a:cxn>
                <a:cxn ang="0">
                  <a:pos x="54" y="148"/>
                </a:cxn>
                <a:cxn ang="0">
                  <a:pos x="84" y="134"/>
                </a:cxn>
                <a:cxn ang="0">
                  <a:pos x="120" y="111"/>
                </a:cxn>
                <a:cxn ang="0">
                  <a:pos x="111" y="103"/>
                </a:cxn>
                <a:cxn ang="0">
                  <a:pos x="100" y="80"/>
                </a:cxn>
                <a:cxn ang="0">
                  <a:pos x="127" y="76"/>
                </a:cxn>
                <a:cxn ang="0">
                  <a:pos x="184" y="58"/>
                </a:cxn>
                <a:cxn ang="0">
                  <a:pos x="254" y="35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5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219825" y="2393182"/>
              <a:ext cx="31750" cy="55562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54" y="1"/>
                </a:cxn>
                <a:cxn ang="0">
                  <a:pos x="62" y="3"/>
                </a:cxn>
                <a:cxn ang="0">
                  <a:pos x="68" y="7"/>
                </a:cxn>
                <a:cxn ang="0">
                  <a:pos x="72" y="12"/>
                </a:cxn>
                <a:cxn ang="0">
                  <a:pos x="75" y="17"/>
                </a:cxn>
                <a:cxn ang="0">
                  <a:pos x="77" y="22"/>
                </a:cxn>
                <a:cxn ang="0">
                  <a:pos x="79" y="27"/>
                </a:cxn>
                <a:cxn ang="0">
                  <a:pos x="79" y="32"/>
                </a:cxn>
                <a:cxn ang="0">
                  <a:pos x="77" y="34"/>
                </a:cxn>
                <a:cxn ang="0">
                  <a:pos x="75" y="35"/>
                </a:cxn>
                <a:cxn ang="0">
                  <a:pos x="72" y="36"/>
                </a:cxn>
                <a:cxn ang="0">
                  <a:pos x="68" y="37"/>
                </a:cxn>
                <a:cxn ang="0">
                  <a:pos x="57" y="38"/>
                </a:cxn>
                <a:cxn ang="0">
                  <a:pos x="46" y="38"/>
                </a:cxn>
                <a:cxn ang="0">
                  <a:pos x="38" y="37"/>
                </a:cxn>
                <a:cxn ang="0">
                  <a:pos x="30" y="36"/>
                </a:cxn>
                <a:cxn ang="0">
                  <a:pos x="21" y="35"/>
                </a:cxn>
                <a:cxn ang="0">
                  <a:pos x="15" y="32"/>
                </a:cxn>
                <a:cxn ang="0">
                  <a:pos x="8" y="29"/>
                </a:cxn>
                <a:cxn ang="0">
                  <a:pos x="4" y="25"/>
                </a:cxn>
                <a:cxn ang="0">
                  <a:pos x="2" y="22"/>
                </a:cxn>
                <a:cxn ang="0">
                  <a:pos x="1" y="20"/>
                </a:cxn>
                <a:cxn ang="0">
                  <a:pos x="0" y="17"/>
                </a:cxn>
                <a:cxn ang="0">
                  <a:pos x="0" y="13"/>
                </a:cxn>
                <a:cxn ang="0">
                  <a:pos x="1" y="11"/>
                </a:cxn>
                <a:cxn ang="0">
                  <a:pos x="4" y="9"/>
                </a:cxn>
                <a:cxn ang="0">
                  <a:pos x="10" y="6"/>
                </a:cxn>
                <a:cxn ang="0">
                  <a:pos x="17" y="4"/>
                </a:cxn>
                <a:cxn ang="0">
                  <a:pos x="32" y="1"/>
                </a:cxn>
                <a:cxn ang="0">
                  <a:pos x="46" y="0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6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8524875" y="2690044"/>
              <a:ext cx="196850" cy="268288"/>
            </a:xfrm>
            <a:custGeom>
              <a:avLst/>
              <a:gdLst/>
              <a:ahLst/>
              <a:cxnLst>
                <a:cxn ang="0">
                  <a:pos x="26" y="45"/>
                </a:cxn>
                <a:cxn ang="0">
                  <a:pos x="12" y="25"/>
                </a:cxn>
                <a:cxn ang="0">
                  <a:pos x="0" y="0"/>
                </a:cxn>
                <a:cxn ang="0">
                  <a:pos x="22" y="7"/>
                </a:cxn>
                <a:cxn ang="0">
                  <a:pos x="33" y="6"/>
                </a:cxn>
                <a:cxn ang="0">
                  <a:pos x="95" y="67"/>
                </a:cxn>
                <a:cxn ang="0">
                  <a:pos x="146" y="123"/>
                </a:cxn>
                <a:cxn ang="0">
                  <a:pos x="216" y="198"/>
                </a:cxn>
                <a:cxn ang="0">
                  <a:pos x="258" y="237"/>
                </a:cxn>
                <a:cxn ang="0">
                  <a:pos x="303" y="266"/>
                </a:cxn>
                <a:cxn ang="0">
                  <a:pos x="372" y="311"/>
                </a:cxn>
                <a:cxn ang="0">
                  <a:pos x="398" y="336"/>
                </a:cxn>
                <a:cxn ang="0">
                  <a:pos x="365" y="320"/>
                </a:cxn>
                <a:cxn ang="0">
                  <a:pos x="324" y="296"/>
                </a:cxn>
                <a:cxn ang="0">
                  <a:pos x="314" y="298"/>
                </a:cxn>
                <a:cxn ang="0">
                  <a:pos x="313" y="311"/>
                </a:cxn>
                <a:cxn ang="0">
                  <a:pos x="317" y="337"/>
                </a:cxn>
                <a:cxn ang="0">
                  <a:pos x="326" y="358"/>
                </a:cxn>
                <a:cxn ang="0">
                  <a:pos x="348" y="387"/>
                </a:cxn>
                <a:cxn ang="0">
                  <a:pos x="394" y="421"/>
                </a:cxn>
                <a:cxn ang="0">
                  <a:pos x="440" y="458"/>
                </a:cxn>
                <a:cxn ang="0">
                  <a:pos x="448" y="476"/>
                </a:cxn>
                <a:cxn ang="0">
                  <a:pos x="428" y="469"/>
                </a:cxn>
                <a:cxn ang="0">
                  <a:pos x="392" y="462"/>
                </a:cxn>
                <a:cxn ang="0">
                  <a:pos x="393" y="494"/>
                </a:cxn>
                <a:cxn ang="0">
                  <a:pos x="398" y="511"/>
                </a:cxn>
                <a:cxn ang="0">
                  <a:pos x="388" y="492"/>
                </a:cxn>
                <a:cxn ang="0">
                  <a:pos x="363" y="466"/>
                </a:cxn>
                <a:cxn ang="0">
                  <a:pos x="343" y="445"/>
                </a:cxn>
                <a:cxn ang="0">
                  <a:pos x="339" y="431"/>
                </a:cxn>
                <a:cxn ang="0">
                  <a:pos x="328" y="411"/>
                </a:cxn>
                <a:cxn ang="0">
                  <a:pos x="310" y="384"/>
                </a:cxn>
                <a:cxn ang="0">
                  <a:pos x="298" y="367"/>
                </a:cxn>
                <a:cxn ang="0">
                  <a:pos x="280" y="358"/>
                </a:cxn>
                <a:cxn ang="0">
                  <a:pos x="264" y="343"/>
                </a:cxn>
                <a:cxn ang="0">
                  <a:pos x="249" y="314"/>
                </a:cxn>
                <a:cxn ang="0">
                  <a:pos x="245" y="293"/>
                </a:cxn>
                <a:cxn ang="0">
                  <a:pos x="234" y="281"/>
                </a:cxn>
                <a:cxn ang="0">
                  <a:pos x="194" y="244"/>
                </a:cxn>
                <a:cxn ang="0">
                  <a:pos x="171" y="220"/>
                </a:cxn>
                <a:cxn ang="0">
                  <a:pos x="163" y="203"/>
                </a:cxn>
                <a:cxn ang="0">
                  <a:pos x="154" y="187"/>
                </a:cxn>
                <a:cxn ang="0">
                  <a:pos x="115" y="155"/>
                </a:cxn>
                <a:cxn ang="0">
                  <a:pos x="70" y="130"/>
                </a:cxn>
                <a:cxn ang="0">
                  <a:pos x="47" y="110"/>
                </a:cxn>
                <a:cxn ang="0">
                  <a:pos x="38" y="93"/>
                </a:cxn>
                <a:cxn ang="0">
                  <a:pos x="34" y="75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67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7315201" y="2645595"/>
              <a:ext cx="671513" cy="384175"/>
              <a:chOff x="4115" y="1551"/>
              <a:chExt cx="504" cy="244"/>
            </a:xfrm>
            <a:grpFill/>
          </p:grpSpPr>
          <p:sp>
            <p:nvSpPr>
              <p:cNvPr id="392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/>
                <a:ahLst/>
                <a:cxnLst>
                  <a:cxn ang="0">
                    <a:pos x="13" y="247"/>
                  </a:cxn>
                  <a:cxn ang="0">
                    <a:pos x="79" y="259"/>
                  </a:cxn>
                  <a:cxn ang="0">
                    <a:pos x="120" y="240"/>
                  </a:cxn>
                  <a:cxn ang="0">
                    <a:pos x="133" y="210"/>
                  </a:cxn>
                  <a:cxn ang="0">
                    <a:pos x="192" y="161"/>
                  </a:cxn>
                  <a:cxn ang="0">
                    <a:pos x="212" y="111"/>
                  </a:cxn>
                  <a:cxn ang="0">
                    <a:pos x="240" y="26"/>
                  </a:cxn>
                  <a:cxn ang="0">
                    <a:pos x="212" y="0"/>
                  </a:cxn>
                  <a:cxn ang="0">
                    <a:pos x="206" y="32"/>
                  </a:cxn>
                  <a:cxn ang="0">
                    <a:pos x="199" y="74"/>
                  </a:cxn>
                  <a:cxn ang="0">
                    <a:pos x="166" y="105"/>
                  </a:cxn>
                  <a:cxn ang="0">
                    <a:pos x="133" y="149"/>
                  </a:cxn>
                  <a:cxn ang="0">
                    <a:pos x="113" y="179"/>
                  </a:cxn>
                  <a:cxn ang="0">
                    <a:pos x="93" y="216"/>
                  </a:cxn>
                  <a:cxn ang="0">
                    <a:pos x="20" y="222"/>
                  </a:cxn>
                  <a:cxn ang="0">
                    <a:pos x="0" y="222"/>
                  </a:cxn>
                  <a:cxn ang="0">
                    <a:pos x="13" y="247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3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/>
                <a:ahLst/>
                <a:cxnLst>
                  <a:cxn ang="0">
                    <a:pos x="33" y="104"/>
                  </a:cxn>
                  <a:cxn ang="0">
                    <a:pos x="26" y="86"/>
                  </a:cxn>
                  <a:cxn ang="0">
                    <a:pos x="52" y="62"/>
                  </a:cxn>
                  <a:cxn ang="0">
                    <a:pos x="72" y="49"/>
                  </a:cxn>
                  <a:cxn ang="0">
                    <a:pos x="126" y="43"/>
                  </a:cxn>
                  <a:cxn ang="0">
                    <a:pos x="172" y="43"/>
                  </a:cxn>
                  <a:cxn ang="0">
                    <a:pos x="246" y="31"/>
                  </a:cxn>
                  <a:cxn ang="0">
                    <a:pos x="259" y="7"/>
                  </a:cxn>
                  <a:cxn ang="0">
                    <a:pos x="246" y="0"/>
                  </a:cxn>
                  <a:cxn ang="0">
                    <a:pos x="205" y="13"/>
                  </a:cxn>
                  <a:cxn ang="0">
                    <a:pos x="152" y="7"/>
                  </a:cxn>
                  <a:cxn ang="0">
                    <a:pos x="106" y="13"/>
                  </a:cxn>
                  <a:cxn ang="0">
                    <a:pos x="52" y="19"/>
                  </a:cxn>
                  <a:cxn ang="0">
                    <a:pos x="26" y="43"/>
                  </a:cxn>
                  <a:cxn ang="0">
                    <a:pos x="0" y="68"/>
                  </a:cxn>
                  <a:cxn ang="0">
                    <a:pos x="0" y="104"/>
                  </a:cxn>
                  <a:cxn ang="0">
                    <a:pos x="33" y="104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68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372226" y="3394895"/>
              <a:ext cx="530225" cy="511175"/>
            </a:xfrm>
            <a:custGeom>
              <a:avLst/>
              <a:gdLst/>
              <a:ahLst/>
              <a:cxnLst>
                <a:cxn ang="0">
                  <a:pos x="932" y="466"/>
                </a:cxn>
                <a:cxn ang="0">
                  <a:pos x="932" y="442"/>
                </a:cxn>
                <a:cxn ang="0">
                  <a:pos x="930" y="412"/>
                </a:cxn>
                <a:cxn ang="0">
                  <a:pos x="908" y="385"/>
                </a:cxn>
                <a:cxn ang="0">
                  <a:pos x="899" y="367"/>
                </a:cxn>
                <a:cxn ang="0">
                  <a:pos x="817" y="312"/>
                </a:cxn>
                <a:cxn ang="0">
                  <a:pos x="759" y="263"/>
                </a:cxn>
                <a:cxn ang="0">
                  <a:pos x="752" y="229"/>
                </a:cxn>
                <a:cxn ang="0">
                  <a:pos x="726" y="218"/>
                </a:cxn>
                <a:cxn ang="0">
                  <a:pos x="695" y="207"/>
                </a:cxn>
                <a:cxn ang="0">
                  <a:pos x="638" y="196"/>
                </a:cxn>
                <a:cxn ang="0">
                  <a:pos x="596" y="201"/>
                </a:cxn>
                <a:cxn ang="0">
                  <a:pos x="570" y="204"/>
                </a:cxn>
                <a:cxn ang="0">
                  <a:pos x="530" y="195"/>
                </a:cxn>
                <a:cxn ang="0">
                  <a:pos x="505" y="179"/>
                </a:cxn>
                <a:cxn ang="0">
                  <a:pos x="483" y="128"/>
                </a:cxn>
                <a:cxn ang="0">
                  <a:pos x="465" y="103"/>
                </a:cxn>
                <a:cxn ang="0">
                  <a:pos x="432" y="81"/>
                </a:cxn>
                <a:cxn ang="0">
                  <a:pos x="365" y="61"/>
                </a:cxn>
                <a:cxn ang="0">
                  <a:pos x="303" y="32"/>
                </a:cxn>
                <a:cxn ang="0">
                  <a:pos x="214" y="10"/>
                </a:cxn>
                <a:cxn ang="0">
                  <a:pos x="166" y="38"/>
                </a:cxn>
                <a:cxn ang="0">
                  <a:pos x="151" y="61"/>
                </a:cxn>
                <a:cxn ang="0">
                  <a:pos x="153" y="90"/>
                </a:cxn>
                <a:cxn ang="0">
                  <a:pos x="169" y="118"/>
                </a:cxn>
                <a:cxn ang="0">
                  <a:pos x="151" y="150"/>
                </a:cxn>
                <a:cxn ang="0">
                  <a:pos x="95" y="186"/>
                </a:cxn>
                <a:cxn ang="0">
                  <a:pos x="54" y="190"/>
                </a:cxn>
                <a:cxn ang="0">
                  <a:pos x="9" y="183"/>
                </a:cxn>
                <a:cxn ang="0">
                  <a:pos x="0" y="236"/>
                </a:cxn>
                <a:cxn ang="0">
                  <a:pos x="9" y="269"/>
                </a:cxn>
                <a:cxn ang="0">
                  <a:pos x="25" y="282"/>
                </a:cxn>
                <a:cxn ang="0">
                  <a:pos x="40" y="307"/>
                </a:cxn>
                <a:cxn ang="0">
                  <a:pos x="83" y="364"/>
                </a:cxn>
                <a:cxn ang="0">
                  <a:pos x="102" y="414"/>
                </a:cxn>
                <a:cxn ang="0">
                  <a:pos x="121" y="427"/>
                </a:cxn>
                <a:cxn ang="0">
                  <a:pos x="133" y="438"/>
                </a:cxn>
                <a:cxn ang="0">
                  <a:pos x="148" y="469"/>
                </a:cxn>
                <a:cxn ang="0">
                  <a:pos x="224" y="546"/>
                </a:cxn>
                <a:cxn ang="0">
                  <a:pos x="249" y="585"/>
                </a:cxn>
                <a:cxn ang="0">
                  <a:pos x="256" y="624"/>
                </a:cxn>
                <a:cxn ang="0">
                  <a:pos x="266" y="659"/>
                </a:cxn>
                <a:cxn ang="0">
                  <a:pos x="299" y="701"/>
                </a:cxn>
                <a:cxn ang="0">
                  <a:pos x="361" y="761"/>
                </a:cxn>
                <a:cxn ang="0">
                  <a:pos x="388" y="814"/>
                </a:cxn>
                <a:cxn ang="0">
                  <a:pos x="425" y="867"/>
                </a:cxn>
                <a:cxn ang="0">
                  <a:pos x="483" y="938"/>
                </a:cxn>
                <a:cxn ang="0">
                  <a:pos x="528" y="979"/>
                </a:cxn>
                <a:cxn ang="0">
                  <a:pos x="543" y="953"/>
                </a:cxn>
                <a:cxn ang="0">
                  <a:pos x="546" y="909"/>
                </a:cxn>
                <a:cxn ang="0">
                  <a:pos x="570" y="896"/>
                </a:cxn>
                <a:cxn ang="0">
                  <a:pos x="605" y="895"/>
                </a:cxn>
                <a:cxn ang="0">
                  <a:pos x="660" y="909"/>
                </a:cxn>
                <a:cxn ang="0">
                  <a:pos x="708" y="943"/>
                </a:cxn>
                <a:cxn ang="0">
                  <a:pos x="787" y="838"/>
                </a:cxn>
                <a:cxn ang="0">
                  <a:pos x="1199" y="567"/>
                </a:cxn>
                <a:cxn ang="0">
                  <a:pos x="940" y="468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9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846763" y="2939282"/>
              <a:ext cx="57150" cy="57150"/>
            </a:xfrm>
            <a:custGeom>
              <a:avLst/>
              <a:gdLst/>
              <a:ahLst/>
              <a:cxnLst>
                <a:cxn ang="0">
                  <a:pos x="146" y="18"/>
                </a:cxn>
                <a:cxn ang="0">
                  <a:pos x="138" y="24"/>
                </a:cxn>
                <a:cxn ang="0">
                  <a:pos x="130" y="29"/>
                </a:cxn>
                <a:cxn ang="0">
                  <a:pos x="123" y="35"/>
                </a:cxn>
                <a:cxn ang="0">
                  <a:pos x="118" y="41"/>
                </a:cxn>
                <a:cxn ang="0">
                  <a:pos x="108" y="53"/>
                </a:cxn>
                <a:cxn ang="0">
                  <a:pos x="98" y="64"/>
                </a:cxn>
                <a:cxn ang="0">
                  <a:pos x="93" y="69"/>
                </a:cxn>
                <a:cxn ang="0">
                  <a:pos x="85" y="73"/>
                </a:cxn>
                <a:cxn ang="0">
                  <a:pos x="76" y="77"/>
                </a:cxn>
                <a:cxn ang="0">
                  <a:pos x="66" y="80"/>
                </a:cxn>
                <a:cxn ang="0">
                  <a:pos x="53" y="81"/>
                </a:cxn>
                <a:cxn ang="0">
                  <a:pos x="39" y="80"/>
                </a:cxn>
                <a:cxn ang="0">
                  <a:pos x="21" y="77"/>
                </a:cxn>
                <a:cxn ang="0">
                  <a:pos x="0" y="74"/>
                </a:cxn>
                <a:cxn ang="0">
                  <a:pos x="0" y="62"/>
                </a:cxn>
                <a:cxn ang="0">
                  <a:pos x="0" y="49"/>
                </a:cxn>
                <a:cxn ang="0">
                  <a:pos x="0" y="34"/>
                </a:cxn>
                <a:cxn ang="0">
                  <a:pos x="0" y="18"/>
                </a:cxn>
                <a:cxn ang="0">
                  <a:pos x="14" y="18"/>
                </a:cxn>
                <a:cxn ang="0">
                  <a:pos x="22" y="18"/>
                </a:cxn>
                <a:cxn ang="0">
                  <a:pos x="31" y="18"/>
                </a:cxn>
                <a:cxn ang="0">
                  <a:pos x="40" y="18"/>
                </a:cxn>
                <a:cxn ang="0">
                  <a:pos x="52" y="18"/>
                </a:cxn>
                <a:cxn ang="0">
                  <a:pos x="63" y="16"/>
                </a:cxn>
                <a:cxn ang="0">
                  <a:pos x="73" y="14"/>
                </a:cxn>
                <a:cxn ang="0">
                  <a:pos x="83" y="11"/>
                </a:cxn>
                <a:cxn ang="0">
                  <a:pos x="101" y="5"/>
                </a:cxn>
                <a:cxn ang="0">
                  <a:pos x="120" y="0"/>
                </a:cxn>
                <a:cxn ang="0">
                  <a:pos x="129" y="4"/>
                </a:cxn>
                <a:cxn ang="0">
                  <a:pos x="135" y="9"/>
                </a:cxn>
                <a:cxn ang="0">
                  <a:pos x="141" y="14"/>
                </a:cxn>
                <a:cxn ang="0">
                  <a:pos x="146" y="18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0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586414" y="3152007"/>
              <a:ext cx="15875" cy="57150"/>
            </a:xfrm>
            <a:custGeom>
              <a:avLst/>
              <a:gdLst/>
              <a:ahLst/>
              <a:cxnLst>
                <a:cxn ang="0">
                  <a:pos x="34" y="49"/>
                </a:cxn>
                <a:cxn ang="0">
                  <a:pos x="34" y="34"/>
                </a:cxn>
                <a:cxn ang="0">
                  <a:pos x="34" y="25"/>
                </a:cxn>
                <a:cxn ang="0">
                  <a:pos x="33" y="21"/>
                </a:cxn>
                <a:cxn ang="0">
                  <a:pos x="33" y="17"/>
                </a:cxn>
                <a:cxn ang="0">
                  <a:pos x="31" y="15"/>
                </a:cxn>
                <a:cxn ang="0">
                  <a:pos x="30" y="12"/>
                </a:cxn>
                <a:cxn ang="0">
                  <a:pos x="25" y="8"/>
                </a:cxn>
                <a:cxn ang="0">
                  <a:pos x="21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3" y="11"/>
                </a:cxn>
                <a:cxn ang="0">
                  <a:pos x="7" y="20"/>
                </a:cxn>
                <a:cxn ang="0">
                  <a:pos x="10" y="27"/>
                </a:cxn>
                <a:cxn ang="0">
                  <a:pos x="14" y="34"/>
                </a:cxn>
                <a:cxn ang="0">
                  <a:pos x="19" y="39"/>
                </a:cxn>
                <a:cxn ang="0">
                  <a:pos x="24" y="43"/>
                </a:cxn>
                <a:cxn ang="0">
                  <a:pos x="29" y="46"/>
                </a:cxn>
                <a:cxn ang="0">
                  <a:pos x="34" y="49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1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178426" y="3498082"/>
              <a:ext cx="28575" cy="5715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6" y="4"/>
                </a:cxn>
                <a:cxn ang="0">
                  <a:pos x="51" y="10"/>
                </a:cxn>
                <a:cxn ang="0">
                  <a:pos x="48" y="15"/>
                </a:cxn>
                <a:cxn ang="0">
                  <a:pos x="46" y="21"/>
                </a:cxn>
                <a:cxn ang="0">
                  <a:pos x="41" y="31"/>
                </a:cxn>
                <a:cxn ang="0">
                  <a:pos x="37" y="42"/>
                </a:cxn>
                <a:cxn ang="0">
                  <a:pos x="35" y="47"/>
                </a:cxn>
                <a:cxn ang="0">
                  <a:pos x="32" y="51"/>
                </a:cxn>
                <a:cxn ang="0">
                  <a:pos x="29" y="56"/>
                </a:cxn>
                <a:cxn ang="0">
                  <a:pos x="25" y="60"/>
                </a:cxn>
                <a:cxn ang="0">
                  <a:pos x="20" y="65"/>
                </a:cxn>
                <a:cxn ang="0">
                  <a:pos x="15" y="69"/>
                </a:cxn>
                <a:cxn ang="0">
                  <a:pos x="8" y="72"/>
                </a:cxn>
                <a:cxn ang="0">
                  <a:pos x="0" y="74"/>
                </a:cxn>
                <a:cxn ang="0">
                  <a:pos x="5" y="60"/>
                </a:cxn>
                <a:cxn ang="0">
                  <a:pos x="12" y="47"/>
                </a:cxn>
                <a:cxn ang="0">
                  <a:pos x="19" y="34"/>
                </a:cxn>
                <a:cxn ang="0">
                  <a:pos x="27" y="23"/>
                </a:cxn>
                <a:cxn ang="0">
                  <a:pos x="36" y="14"/>
                </a:cxn>
                <a:cxn ang="0">
                  <a:pos x="43" y="6"/>
                </a:cxn>
                <a:cxn ang="0">
                  <a:pos x="48" y="3"/>
                </a:cxn>
                <a:cxn ang="0">
                  <a:pos x="52" y="1"/>
                </a:cxn>
                <a:cxn ang="0">
                  <a:pos x="56" y="0"/>
                </a:cxn>
                <a:cxn ang="0">
                  <a:pos x="60" y="0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2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119688" y="3513958"/>
              <a:ext cx="23812" cy="60325"/>
            </a:xfrm>
            <a:custGeom>
              <a:avLst/>
              <a:gdLst/>
              <a:ahLst/>
              <a:cxnLst>
                <a:cxn ang="0">
                  <a:pos x="13" y="8"/>
                </a:cxn>
                <a:cxn ang="0">
                  <a:pos x="22" y="8"/>
                </a:cxn>
                <a:cxn ang="0">
                  <a:pos x="28" y="6"/>
                </a:cxn>
                <a:cxn ang="0">
                  <a:pos x="32" y="5"/>
                </a:cxn>
                <a:cxn ang="0">
                  <a:pos x="35" y="3"/>
                </a:cxn>
                <a:cxn ang="0">
                  <a:pos x="37" y="1"/>
                </a:cxn>
                <a:cxn ang="0">
                  <a:pos x="39" y="0"/>
                </a:cxn>
                <a:cxn ang="0">
                  <a:pos x="43" y="1"/>
                </a:cxn>
                <a:cxn ang="0">
                  <a:pos x="47" y="2"/>
                </a:cxn>
                <a:cxn ang="0">
                  <a:pos x="46" y="7"/>
                </a:cxn>
                <a:cxn ang="0">
                  <a:pos x="46" y="11"/>
                </a:cxn>
                <a:cxn ang="0">
                  <a:pos x="44" y="15"/>
                </a:cxn>
                <a:cxn ang="0">
                  <a:pos x="43" y="19"/>
                </a:cxn>
                <a:cxn ang="0">
                  <a:pos x="37" y="26"/>
                </a:cxn>
                <a:cxn ang="0">
                  <a:pos x="30" y="32"/>
                </a:cxn>
                <a:cxn ang="0">
                  <a:pos x="24" y="38"/>
                </a:cxn>
                <a:cxn ang="0">
                  <a:pos x="16" y="42"/>
                </a:cxn>
                <a:cxn ang="0">
                  <a:pos x="7" y="45"/>
                </a:cxn>
                <a:cxn ang="0">
                  <a:pos x="0" y="45"/>
                </a:cxn>
                <a:cxn ang="0">
                  <a:pos x="2" y="38"/>
                </a:cxn>
                <a:cxn ang="0">
                  <a:pos x="6" y="26"/>
                </a:cxn>
                <a:cxn ang="0">
                  <a:pos x="11" y="15"/>
                </a:cxn>
                <a:cxn ang="0">
                  <a:pos x="13" y="8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3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5094288" y="3507607"/>
              <a:ext cx="6350" cy="57150"/>
            </a:xfrm>
            <a:custGeom>
              <a:avLst/>
              <a:gdLst/>
              <a:ahLst/>
              <a:cxnLst>
                <a:cxn ang="0">
                  <a:pos x="6" y="36"/>
                </a:cxn>
                <a:cxn ang="0">
                  <a:pos x="5" y="30"/>
                </a:cxn>
                <a:cxn ang="0">
                  <a:pos x="3" y="20"/>
                </a:cxn>
                <a:cxn ang="0">
                  <a:pos x="1" y="10"/>
                </a:cxn>
                <a:cxn ang="0">
                  <a:pos x="0" y="0"/>
                </a:cxn>
                <a:cxn ang="0">
                  <a:pos x="26" y="0"/>
                </a:cxn>
                <a:cxn ang="0">
                  <a:pos x="25" y="12"/>
                </a:cxn>
                <a:cxn ang="0">
                  <a:pos x="24" y="23"/>
                </a:cxn>
                <a:cxn ang="0">
                  <a:pos x="23" y="27"/>
                </a:cxn>
                <a:cxn ang="0">
                  <a:pos x="23" y="31"/>
                </a:cxn>
                <a:cxn ang="0">
                  <a:pos x="24" y="34"/>
                </a:cxn>
                <a:cxn ang="0">
                  <a:pos x="26" y="36"/>
                </a:cxn>
                <a:cxn ang="0">
                  <a:pos x="6" y="36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4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365876" y="3236144"/>
              <a:ext cx="174625" cy="158750"/>
            </a:xfrm>
            <a:custGeom>
              <a:avLst/>
              <a:gdLst/>
              <a:ahLst/>
              <a:cxnLst>
                <a:cxn ang="0">
                  <a:pos x="26" y="162"/>
                </a:cxn>
                <a:cxn ang="0">
                  <a:pos x="28" y="156"/>
                </a:cxn>
                <a:cxn ang="0">
                  <a:pos x="30" y="154"/>
                </a:cxn>
                <a:cxn ang="0">
                  <a:pos x="28" y="151"/>
                </a:cxn>
                <a:cxn ang="0">
                  <a:pos x="18" y="143"/>
                </a:cxn>
                <a:cxn ang="0">
                  <a:pos x="6" y="127"/>
                </a:cxn>
                <a:cxn ang="0">
                  <a:pos x="2" y="116"/>
                </a:cxn>
                <a:cxn ang="0">
                  <a:pos x="5" y="112"/>
                </a:cxn>
                <a:cxn ang="0">
                  <a:pos x="6" y="104"/>
                </a:cxn>
                <a:cxn ang="0">
                  <a:pos x="17" y="97"/>
                </a:cxn>
                <a:cxn ang="0">
                  <a:pos x="34" y="93"/>
                </a:cxn>
                <a:cxn ang="0">
                  <a:pos x="47" y="88"/>
                </a:cxn>
                <a:cxn ang="0">
                  <a:pos x="57" y="82"/>
                </a:cxn>
                <a:cxn ang="0">
                  <a:pos x="67" y="70"/>
                </a:cxn>
                <a:cxn ang="0">
                  <a:pos x="75" y="52"/>
                </a:cxn>
                <a:cxn ang="0">
                  <a:pos x="84" y="47"/>
                </a:cxn>
                <a:cxn ang="0">
                  <a:pos x="95" y="52"/>
                </a:cxn>
                <a:cxn ang="0">
                  <a:pos x="117" y="54"/>
                </a:cxn>
                <a:cxn ang="0">
                  <a:pos x="169" y="46"/>
                </a:cxn>
                <a:cxn ang="0">
                  <a:pos x="212" y="43"/>
                </a:cxn>
                <a:cxn ang="0">
                  <a:pos x="234" y="41"/>
                </a:cxn>
                <a:cxn ang="0">
                  <a:pos x="264" y="35"/>
                </a:cxn>
                <a:cxn ang="0">
                  <a:pos x="318" y="17"/>
                </a:cxn>
                <a:cxn ang="0">
                  <a:pos x="359" y="4"/>
                </a:cxn>
                <a:cxn ang="0">
                  <a:pos x="372" y="3"/>
                </a:cxn>
                <a:cxn ang="0">
                  <a:pos x="385" y="3"/>
                </a:cxn>
                <a:cxn ang="0">
                  <a:pos x="398" y="1"/>
                </a:cxn>
                <a:cxn ang="0">
                  <a:pos x="395" y="8"/>
                </a:cxn>
                <a:cxn ang="0">
                  <a:pos x="360" y="41"/>
                </a:cxn>
                <a:cxn ang="0">
                  <a:pos x="344" y="57"/>
                </a:cxn>
                <a:cxn ang="0">
                  <a:pos x="339" y="64"/>
                </a:cxn>
                <a:cxn ang="0">
                  <a:pos x="339" y="96"/>
                </a:cxn>
                <a:cxn ang="0">
                  <a:pos x="337" y="149"/>
                </a:cxn>
                <a:cxn ang="0">
                  <a:pos x="335" y="180"/>
                </a:cxn>
                <a:cxn ang="0">
                  <a:pos x="326" y="198"/>
                </a:cxn>
                <a:cxn ang="0">
                  <a:pos x="305" y="210"/>
                </a:cxn>
                <a:cxn ang="0">
                  <a:pos x="265" y="227"/>
                </a:cxn>
                <a:cxn ang="0">
                  <a:pos x="106" y="302"/>
                </a:cxn>
                <a:cxn ang="0">
                  <a:pos x="57" y="260"/>
                </a:cxn>
                <a:cxn ang="0">
                  <a:pos x="70" y="228"/>
                </a:cxn>
                <a:cxn ang="0">
                  <a:pos x="81" y="209"/>
                </a:cxn>
                <a:cxn ang="0">
                  <a:pos x="86" y="172"/>
                </a:cxn>
                <a:cxn ang="0">
                  <a:pos x="71" y="173"/>
                </a:cxn>
                <a:cxn ang="0">
                  <a:pos x="57" y="169"/>
                </a:cxn>
                <a:cxn ang="0">
                  <a:pos x="41" y="165"/>
                </a:cxn>
                <a:cxn ang="0">
                  <a:pos x="26" y="166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5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8459788" y="3617145"/>
              <a:ext cx="42862" cy="79375"/>
            </a:xfrm>
            <a:custGeom>
              <a:avLst/>
              <a:gdLst/>
              <a:ahLst/>
              <a:cxnLst>
                <a:cxn ang="0">
                  <a:pos x="100" y="1"/>
                </a:cxn>
                <a:cxn ang="0">
                  <a:pos x="100" y="30"/>
                </a:cxn>
                <a:cxn ang="0">
                  <a:pos x="100" y="55"/>
                </a:cxn>
                <a:cxn ang="0">
                  <a:pos x="100" y="78"/>
                </a:cxn>
                <a:cxn ang="0">
                  <a:pos x="100" y="99"/>
                </a:cxn>
                <a:cxn ang="0">
                  <a:pos x="98" y="109"/>
                </a:cxn>
                <a:cxn ang="0">
                  <a:pos x="94" y="118"/>
                </a:cxn>
                <a:cxn ang="0">
                  <a:pos x="89" y="128"/>
                </a:cxn>
                <a:cxn ang="0">
                  <a:pos x="82" y="137"/>
                </a:cxn>
                <a:cxn ang="0">
                  <a:pos x="73" y="144"/>
                </a:cxn>
                <a:cxn ang="0">
                  <a:pos x="62" y="150"/>
                </a:cxn>
                <a:cxn ang="0">
                  <a:pos x="57" y="152"/>
                </a:cxn>
                <a:cxn ang="0">
                  <a:pos x="51" y="154"/>
                </a:cxn>
                <a:cxn ang="0">
                  <a:pos x="46" y="155"/>
                </a:cxn>
                <a:cxn ang="0">
                  <a:pos x="39" y="155"/>
                </a:cxn>
                <a:cxn ang="0">
                  <a:pos x="35" y="154"/>
                </a:cxn>
                <a:cxn ang="0">
                  <a:pos x="30" y="153"/>
                </a:cxn>
                <a:cxn ang="0">
                  <a:pos x="26" y="151"/>
                </a:cxn>
                <a:cxn ang="0">
                  <a:pos x="22" y="149"/>
                </a:cxn>
                <a:cxn ang="0">
                  <a:pos x="15" y="142"/>
                </a:cxn>
                <a:cxn ang="0">
                  <a:pos x="9" y="134"/>
                </a:cxn>
                <a:cxn ang="0">
                  <a:pos x="5" y="124"/>
                </a:cxn>
                <a:cxn ang="0">
                  <a:pos x="2" y="113"/>
                </a:cxn>
                <a:cxn ang="0">
                  <a:pos x="0" y="103"/>
                </a:cxn>
                <a:cxn ang="0">
                  <a:pos x="0" y="93"/>
                </a:cxn>
                <a:cxn ang="0">
                  <a:pos x="0" y="77"/>
                </a:cxn>
                <a:cxn ang="0">
                  <a:pos x="0" y="65"/>
                </a:cxn>
                <a:cxn ang="0">
                  <a:pos x="0" y="56"/>
                </a:cxn>
                <a:cxn ang="0">
                  <a:pos x="0" y="50"/>
                </a:cxn>
                <a:cxn ang="0">
                  <a:pos x="15" y="50"/>
                </a:cxn>
                <a:cxn ang="0">
                  <a:pos x="26" y="50"/>
                </a:cxn>
                <a:cxn ang="0">
                  <a:pos x="26" y="40"/>
                </a:cxn>
                <a:cxn ang="0">
                  <a:pos x="27" y="31"/>
                </a:cxn>
                <a:cxn ang="0">
                  <a:pos x="29" y="23"/>
                </a:cxn>
                <a:cxn ang="0">
                  <a:pos x="31" y="17"/>
                </a:cxn>
                <a:cxn ang="0">
                  <a:pos x="35" y="12"/>
                </a:cxn>
                <a:cxn ang="0">
                  <a:pos x="39" y="7"/>
                </a:cxn>
                <a:cxn ang="0">
                  <a:pos x="42" y="4"/>
                </a:cxn>
                <a:cxn ang="0">
                  <a:pos x="48" y="2"/>
                </a:cxn>
                <a:cxn ang="0">
                  <a:pos x="59" y="0"/>
                </a:cxn>
                <a:cxn ang="0">
                  <a:pos x="71" y="0"/>
                </a:cxn>
                <a:cxn ang="0">
                  <a:pos x="84" y="0"/>
                </a:cxn>
                <a:cxn ang="0">
                  <a:pos x="100" y="1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76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6107113" y="3085332"/>
              <a:ext cx="482600" cy="201612"/>
              <a:chOff x="3289" y="1830"/>
              <a:chExt cx="363" cy="128"/>
            </a:xfrm>
            <a:grpFill/>
          </p:grpSpPr>
          <p:sp>
            <p:nvSpPr>
              <p:cNvPr id="387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2" y="1"/>
                  </a:cxn>
                  <a:cxn ang="0">
                    <a:pos x="9" y="3"/>
                  </a:cxn>
                  <a:cxn ang="0">
                    <a:pos x="4" y="5"/>
                  </a:cxn>
                  <a:cxn ang="0">
                    <a:pos x="0" y="7"/>
                  </a:cxn>
                  <a:cxn ang="0">
                    <a:pos x="7" y="3"/>
                  </a:cxn>
                  <a:cxn ang="0">
                    <a:pos x="13" y="0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8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7" y="5"/>
                  </a:cxn>
                  <a:cxn ang="0">
                    <a:pos x="15" y="3"/>
                  </a:cxn>
                  <a:cxn ang="0">
                    <a:pos x="25" y="1"/>
                  </a:cxn>
                  <a:cxn ang="0">
                    <a:pos x="34" y="0"/>
                  </a:cxn>
                  <a:cxn ang="0">
                    <a:pos x="31" y="2"/>
                  </a:cxn>
                  <a:cxn ang="0">
                    <a:pos x="27" y="4"/>
                  </a:cxn>
                  <a:cxn ang="0">
                    <a:pos x="22" y="6"/>
                  </a:cxn>
                  <a:cxn ang="0">
                    <a:pos x="18" y="7"/>
                  </a:cxn>
                  <a:cxn ang="0">
                    <a:pos x="12" y="8"/>
                  </a:cxn>
                  <a:cxn ang="0">
                    <a:pos x="8" y="8"/>
                  </a:cxn>
                  <a:cxn ang="0">
                    <a:pos x="4" y="8"/>
                  </a:cxn>
                  <a:cxn ang="0">
                    <a:pos x="0" y="6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9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0" y="0"/>
                  </a:cxn>
                  <a:cxn ang="0">
                    <a:pos x="13" y="12"/>
                  </a:cxn>
                  <a:cxn ang="0">
                    <a:pos x="0" y="24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0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27"/>
                  </a:cxn>
                  <a:cxn ang="0">
                    <a:pos x="0" y="45"/>
                  </a:cxn>
                  <a:cxn ang="0">
                    <a:pos x="0" y="62"/>
                  </a:cxn>
                  <a:cxn ang="0">
                    <a:pos x="0" y="69"/>
                  </a:cxn>
                  <a:cxn ang="0">
                    <a:pos x="16" y="66"/>
                  </a:cxn>
                  <a:cxn ang="0">
                    <a:pos x="49" y="58"/>
                  </a:cxn>
                  <a:cxn ang="0">
                    <a:pos x="85" y="50"/>
                  </a:cxn>
                  <a:cxn ang="0">
                    <a:pos x="107" y="44"/>
                  </a:cxn>
                  <a:cxn ang="0">
                    <a:pos x="101" y="38"/>
                  </a:cxn>
                  <a:cxn ang="0">
                    <a:pos x="94" y="34"/>
                  </a:cxn>
                  <a:cxn ang="0">
                    <a:pos x="86" y="30"/>
                  </a:cxn>
                  <a:cxn ang="0">
                    <a:pos x="78" y="27"/>
                  </a:cxn>
                  <a:cxn ang="0">
                    <a:pos x="72" y="23"/>
                  </a:cxn>
                  <a:cxn ang="0">
                    <a:pos x="65" y="18"/>
                  </a:cxn>
                  <a:cxn ang="0">
                    <a:pos x="63" y="15"/>
                  </a:cxn>
                  <a:cxn ang="0">
                    <a:pos x="62" y="11"/>
                  </a:cxn>
                  <a:cxn ang="0">
                    <a:pos x="61" y="7"/>
                  </a:cxn>
                  <a:cxn ang="0">
                    <a:pos x="61" y="0"/>
                  </a:cxn>
                  <a:cxn ang="0">
                    <a:pos x="54" y="1"/>
                  </a:cxn>
                  <a:cxn ang="0">
                    <a:pos x="38" y="4"/>
                  </a:cxn>
                  <a:cxn ang="0">
                    <a:pos x="18" y="9"/>
                  </a:cxn>
                  <a:cxn ang="0">
                    <a:pos x="0" y="13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1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/>
                <a:ahLst/>
                <a:cxnLst>
                  <a:cxn ang="0">
                    <a:pos x="992" y="124"/>
                  </a:cxn>
                  <a:cxn ang="0">
                    <a:pos x="970" y="103"/>
                  </a:cxn>
                  <a:cxn ang="0">
                    <a:pos x="962" y="57"/>
                  </a:cxn>
                  <a:cxn ang="0">
                    <a:pos x="936" y="36"/>
                  </a:cxn>
                  <a:cxn ang="0">
                    <a:pos x="817" y="19"/>
                  </a:cxn>
                  <a:cxn ang="0">
                    <a:pos x="726" y="58"/>
                  </a:cxn>
                  <a:cxn ang="0">
                    <a:pos x="678" y="65"/>
                  </a:cxn>
                  <a:cxn ang="0">
                    <a:pos x="632" y="65"/>
                  </a:cxn>
                  <a:cxn ang="0">
                    <a:pos x="612" y="44"/>
                  </a:cxn>
                  <a:cxn ang="0">
                    <a:pos x="560" y="37"/>
                  </a:cxn>
                  <a:cxn ang="0">
                    <a:pos x="525" y="19"/>
                  </a:cxn>
                  <a:cxn ang="0">
                    <a:pos x="483" y="21"/>
                  </a:cxn>
                  <a:cxn ang="0">
                    <a:pos x="465" y="0"/>
                  </a:cxn>
                  <a:cxn ang="0">
                    <a:pos x="390" y="16"/>
                  </a:cxn>
                  <a:cxn ang="0">
                    <a:pos x="299" y="26"/>
                  </a:cxn>
                  <a:cxn ang="0">
                    <a:pos x="257" y="45"/>
                  </a:cxn>
                  <a:cxn ang="0">
                    <a:pos x="138" y="61"/>
                  </a:cxn>
                  <a:cxn ang="0">
                    <a:pos x="173" y="75"/>
                  </a:cxn>
                  <a:cxn ang="0">
                    <a:pos x="164" y="90"/>
                  </a:cxn>
                  <a:cxn ang="0">
                    <a:pos x="114" y="93"/>
                  </a:cxn>
                  <a:cxn ang="0">
                    <a:pos x="42" y="94"/>
                  </a:cxn>
                  <a:cxn ang="0">
                    <a:pos x="8" y="110"/>
                  </a:cxn>
                  <a:cxn ang="0">
                    <a:pos x="0" y="147"/>
                  </a:cxn>
                  <a:cxn ang="0">
                    <a:pos x="16" y="167"/>
                  </a:cxn>
                  <a:cxn ang="0">
                    <a:pos x="22" y="193"/>
                  </a:cxn>
                  <a:cxn ang="0">
                    <a:pos x="21" y="210"/>
                  </a:cxn>
                  <a:cxn ang="0">
                    <a:pos x="49" y="237"/>
                  </a:cxn>
                  <a:cxn ang="0">
                    <a:pos x="56" y="259"/>
                  </a:cxn>
                  <a:cxn ang="0">
                    <a:pos x="74" y="271"/>
                  </a:cxn>
                  <a:cxn ang="0">
                    <a:pos x="96" y="290"/>
                  </a:cxn>
                  <a:cxn ang="0">
                    <a:pos x="205" y="352"/>
                  </a:cxn>
                  <a:cxn ang="0">
                    <a:pos x="253" y="370"/>
                  </a:cxn>
                  <a:cxn ang="0">
                    <a:pos x="267" y="358"/>
                  </a:cxn>
                  <a:cxn ang="0">
                    <a:pos x="277" y="338"/>
                  </a:cxn>
                  <a:cxn ang="0">
                    <a:pos x="297" y="316"/>
                  </a:cxn>
                  <a:cxn ang="0">
                    <a:pos x="334" y="323"/>
                  </a:cxn>
                  <a:cxn ang="0">
                    <a:pos x="362" y="358"/>
                  </a:cxn>
                  <a:cxn ang="0">
                    <a:pos x="399" y="370"/>
                  </a:cxn>
                  <a:cxn ang="0">
                    <a:pos x="447" y="359"/>
                  </a:cxn>
                  <a:cxn ang="0">
                    <a:pos x="493" y="335"/>
                  </a:cxn>
                  <a:cxn ang="0">
                    <a:pos x="525" y="327"/>
                  </a:cxn>
                  <a:cxn ang="0">
                    <a:pos x="564" y="326"/>
                  </a:cxn>
                  <a:cxn ang="0">
                    <a:pos x="567" y="367"/>
                  </a:cxn>
                  <a:cxn ang="0">
                    <a:pos x="590" y="377"/>
                  </a:cxn>
                  <a:cxn ang="0">
                    <a:pos x="613" y="362"/>
                  </a:cxn>
                  <a:cxn ang="0">
                    <a:pos x="647" y="336"/>
                  </a:cxn>
                  <a:cxn ang="0">
                    <a:pos x="752" y="327"/>
                  </a:cxn>
                  <a:cxn ang="0">
                    <a:pos x="831" y="315"/>
                  </a:cxn>
                  <a:cxn ang="0">
                    <a:pos x="918" y="283"/>
                  </a:cxn>
                  <a:cxn ang="0">
                    <a:pos x="967" y="286"/>
                  </a:cxn>
                  <a:cxn ang="0">
                    <a:pos x="1005" y="293"/>
                  </a:cxn>
                  <a:cxn ang="0">
                    <a:pos x="1056" y="308"/>
                  </a:cxn>
                  <a:cxn ang="0">
                    <a:pos x="1056" y="268"/>
                  </a:cxn>
                  <a:cxn ang="0">
                    <a:pos x="1026" y="219"/>
                  </a:cxn>
                  <a:cxn ang="0">
                    <a:pos x="1017" y="167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77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095751" y="4237858"/>
              <a:ext cx="100013" cy="122237"/>
            </a:xfrm>
            <a:custGeom>
              <a:avLst/>
              <a:gdLst/>
              <a:ahLst/>
              <a:cxnLst>
                <a:cxn ang="0">
                  <a:pos x="63" y="236"/>
                </a:cxn>
                <a:cxn ang="0">
                  <a:pos x="68" y="237"/>
                </a:cxn>
                <a:cxn ang="0">
                  <a:pos x="75" y="235"/>
                </a:cxn>
                <a:cxn ang="0">
                  <a:pos x="83" y="234"/>
                </a:cxn>
                <a:cxn ang="0">
                  <a:pos x="89" y="230"/>
                </a:cxn>
                <a:cxn ang="0">
                  <a:pos x="96" y="223"/>
                </a:cxn>
                <a:cxn ang="0">
                  <a:pos x="99" y="214"/>
                </a:cxn>
                <a:cxn ang="0">
                  <a:pos x="123" y="209"/>
                </a:cxn>
                <a:cxn ang="0">
                  <a:pos x="166" y="205"/>
                </a:cxn>
                <a:cxn ang="0">
                  <a:pos x="195" y="198"/>
                </a:cxn>
                <a:cxn ang="0">
                  <a:pos x="209" y="191"/>
                </a:cxn>
                <a:cxn ang="0">
                  <a:pos x="220" y="181"/>
                </a:cxn>
                <a:cxn ang="0">
                  <a:pos x="225" y="168"/>
                </a:cxn>
                <a:cxn ang="0">
                  <a:pos x="226" y="153"/>
                </a:cxn>
                <a:cxn ang="0">
                  <a:pos x="223" y="140"/>
                </a:cxn>
                <a:cxn ang="0">
                  <a:pos x="215" y="123"/>
                </a:cxn>
                <a:cxn ang="0">
                  <a:pos x="203" y="100"/>
                </a:cxn>
                <a:cxn ang="0">
                  <a:pos x="196" y="84"/>
                </a:cxn>
                <a:cxn ang="0">
                  <a:pos x="193" y="74"/>
                </a:cxn>
                <a:cxn ang="0">
                  <a:pos x="195" y="59"/>
                </a:cxn>
                <a:cxn ang="0">
                  <a:pos x="200" y="43"/>
                </a:cxn>
                <a:cxn ang="0">
                  <a:pos x="213" y="25"/>
                </a:cxn>
                <a:cxn ang="0">
                  <a:pos x="213" y="14"/>
                </a:cxn>
                <a:cxn ang="0">
                  <a:pos x="191" y="7"/>
                </a:cxn>
                <a:cxn ang="0">
                  <a:pos x="154" y="2"/>
                </a:cxn>
                <a:cxn ang="0">
                  <a:pos x="20" y="6"/>
                </a:cxn>
                <a:cxn ang="0">
                  <a:pos x="18" y="31"/>
                </a:cxn>
                <a:cxn ang="0">
                  <a:pos x="10" y="54"/>
                </a:cxn>
                <a:cxn ang="0">
                  <a:pos x="3" y="79"/>
                </a:cxn>
                <a:cxn ang="0">
                  <a:pos x="0" y="111"/>
                </a:cxn>
                <a:cxn ang="0">
                  <a:pos x="3" y="130"/>
                </a:cxn>
                <a:cxn ang="0">
                  <a:pos x="10" y="146"/>
                </a:cxn>
                <a:cxn ang="0">
                  <a:pos x="30" y="173"/>
                </a:cxn>
                <a:cxn ang="0">
                  <a:pos x="51" y="199"/>
                </a:cxn>
                <a:cxn ang="0">
                  <a:pos x="57" y="216"/>
                </a:cxn>
                <a:cxn ang="0">
                  <a:pos x="61" y="234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8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8040688" y="3674294"/>
              <a:ext cx="207962" cy="458788"/>
            </a:xfrm>
            <a:custGeom>
              <a:avLst/>
              <a:gdLst/>
              <a:ahLst/>
              <a:cxnLst>
                <a:cxn ang="0">
                  <a:pos x="287" y="109"/>
                </a:cxn>
                <a:cxn ang="0">
                  <a:pos x="250" y="138"/>
                </a:cxn>
                <a:cxn ang="0">
                  <a:pos x="199" y="197"/>
                </a:cxn>
                <a:cxn ang="0">
                  <a:pos x="198" y="213"/>
                </a:cxn>
                <a:cxn ang="0">
                  <a:pos x="206" y="239"/>
                </a:cxn>
                <a:cxn ang="0">
                  <a:pos x="221" y="265"/>
                </a:cxn>
                <a:cxn ang="0">
                  <a:pos x="240" y="288"/>
                </a:cxn>
                <a:cxn ang="0">
                  <a:pos x="259" y="301"/>
                </a:cxn>
                <a:cxn ang="0">
                  <a:pos x="279" y="329"/>
                </a:cxn>
                <a:cxn ang="0">
                  <a:pos x="295" y="361"/>
                </a:cxn>
                <a:cxn ang="0">
                  <a:pos x="305" y="369"/>
                </a:cxn>
                <a:cxn ang="0">
                  <a:pos x="438" y="499"/>
                </a:cxn>
                <a:cxn ang="0">
                  <a:pos x="471" y="589"/>
                </a:cxn>
                <a:cxn ang="0">
                  <a:pos x="478" y="647"/>
                </a:cxn>
                <a:cxn ang="0">
                  <a:pos x="476" y="687"/>
                </a:cxn>
                <a:cxn ang="0">
                  <a:pos x="478" y="708"/>
                </a:cxn>
                <a:cxn ang="0">
                  <a:pos x="447" y="718"/>
                </a:cxn>
                <a:cxn ang="0">
                  <a:pos x="420" y="733"/>
                </a:cxn>
                <a:cxn ang="0">
                  <a:pos x="391" y="756"/>
                </a:cxn>
                <a:cxn ang="0">
                  <a:pos x="365" y="789"/>
                </a:cxn>
                <a:cxn ang="0">
                  <a:pos x="348" y="785"/>
                </a:cxn>
                <a:cxn ang="0">
                  <a:pos x="319" y="789"/>
                </a:cxn>
                <a:cxn ang="0">
                  <a:pos x="313" y="804"/>
                </a:cxn>
                <a:cxn ang="0">
                  <a:pos x="289" y="838"/>
                </a:cxn>
                <a:cxn ang="0">
                  <a:pos x="256" y="868"/>
                </a:cxn>
                <a:cxn ang="0">
                  <a:pos x="239" y="875"/>
                </a:cxn>
                <a:cxn ang="0">
                  <a:pos x="232" y="868"/>
                </a:cxn>
                <a:cxn ang="0">
                  <a:pos x="225" y="844"/>
                </a:cxn>
                <a:cxn ang="0">
                  <a:pos x="231" y="800"/>
                </a:cxn>
                <a:cxn ang="0">
                  <a:pos x="253" y="775"/>
                </a:cxn>
                <a:cxn ang="0">
                  <a:pos x="277" y="760"/>
                </a:cxn>
                <a:cxn ang="0">
                  <a:pos x="295" y="753"/>
                </a:cxn>
                <a:cxn ang="0">
                  <a:pos x="305" y="743"/>
                </a:cxn>
                <a:cxn ang="0">
                  <a:pos x="314" y="714"/>
                </a:cxn>
                <a:cxn ang="0">
                  <a:pos x="330" y="686"/>
                </a:cxn>
                <a:cxn ang="0">
                  <a:pos x="365" y="643"/>
                </a:cxn>
                <a:cxn ang="0">
                  <a:pos x="371" y="536"/>
                </a:cxn>
                <a:cxn ang="0">
                  <a:pos x="364" y="475"/>
                </a:cxn>
                <a:cxn ang="0">
                  <a:pos x="341" y="427"/>
                </a:cxn>
                <a:cxn ang="0">
                  <a:pos x="297" y="377"/>
                </a:cxn>
                <a:cxn ang="0">
                  <a:pos x="219" y="308"/>
                </a:cxn>
                <a:cxn ang="0">
                  <a:pos x="161" y="255"/>
                </a:cxn>
                <a:cxn ang="0">
                  <a:pos x="108" y="198"/>
                </a:cxn>
                <a:cxn ang="0">
                  <a:pos x="72" y="146"/>
                </a:cxn>
                <a:cxn ang="0">
                  <a:pos x="42" y="104"/>
                </a:cxn>
                <a:cxn ang="0">
                  <a:pos x="46" y="41"/>
                </a:cxn>
                <a:cxn ang="0">
                  <a:pos x="129" y="19"/>
                </a:cxn>
                <a:cxn ang="0">
                  <a:pos x="148" y="5"/>
                </a:cxn>
                <a:cxn ang="0">
                  <a:pos x="175" y="16"/>
                </a:cxn>
                <a:cxn ang="0">
                  <a:pos x="221" y="35"/>
                </a:cxn>
                <a:cxn ang="0">
                  <a:pos x="269" y="67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9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8128000" y="4360094"/>
              <a:ext cx="25400" cy="57150"/>
            </a:xfrm>
            <a:custGeom>
              <a:avLst/>
              <a:gdLst/>
              <a:ahLst/>
              <a:cxnLst>
                <a:cxn ang="0">
                  <a:pos x="59" y="6"/>
                </a:cxn>
                <a:cxn ang="0">
                  <a:pos x="57" y="11"/>
                </a:cxn>
                <a:cxn ang="0">
                  <a:pos x="53" y="15"/>
                </a:cxn>
                <a:cxn ang="0">
                  <a:pos x="49" y="19"/>
                </a:cxn>
                <a:cxn ang="0">
                  <a:pos x="45" y="24"/>
                </a:cxn>
                <a:cxn ang="0">
                  <a:pos x="40" y="27"/>
                </a:cxn>
                <a:cxn ang="0">
                  <a:pos x="36" y="29"/>
                </a:cxn>
                <a:cxn ang="0">
                  <a:pos x="30" y="31"/>
                </a:cxn>
                <a:cxn ang="0">
                  <a:pos x="26" y="31"/>
                </a:cxn>
                <a:cxn ang="0">
                  <a:pos x="21" y="31"/>
                </a:cxn>
                <a:cxn ang="0">
                  <a:pos x="17" y="30"/>
                </a:cxn>
                <a:cxn ang="0">
                  <a:pos x="14" y="29"/>
                </a:cxn>
                <a:cxn ang="0">
                  <a:pos x="11" y="27"/>
                </a:cxn>
                <a:cxn ang="0">
                  <a:pos x="4" y="20"/>
                </a:cxn>
                <a:cxn ang="0">
                  <a:pos x="0" y="12"/>
                </a:cxn>
                <a:cxn ang="0">
                  <a:pos x="1" y="9"/>
                </a:cxn>
                <a:cxn ang="0">
                  <a:pos x="3" y="6"/>
                </a:cxn>
                <a:cxn ang="0">
                  <a:pos x="5" y="4"/>
                </a:cxn>
                <a:cxn ang="0">
                  <a:pos x="8" y="3"/>
                </a:cxn>
                <a:cxn ang="0">
                  <a:pos x="16" y="1"/>
                </a:cxn>
                <a:cxn ang="0">
                  <a:pos x="24" y="0"/>
                </a:cxn>
                <a:cxn ang="0">
                  <a:pos x="34" y="0"/>
                </a:cxn>
                <a:cxn ang="0">
                  <a:pos x="42" y="2"/>
                </a:cxn>
                <a:cxn ang="0">
                  <a:pos x="51" y="4"/>
                </a:cxn>
                <a:cxn ang="0">
                  <a:pos x="59" y="6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0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819901" y="3618732"/>
              <a:ext cx="174625" cy="271462"/>
            </a:xfrm>
            <a:custGeom>
              <a:avLst/>
              <a:gdLst/>
              <a:ahLst/>
              <a:cxnLst>
                <a:cxn ang="0">
                  <a:pos x="200" y="8"/>
                </a:cxn>
                <a:cxn ang="0">
                  <a:pos x="202" y="22"/>
                </a:cxn>
                <a:cxn ang="0">
                  <a:pos x="208" y="36"/>
                </a:cxn>
                <a:cxn ang="0">
                  <a:pos x="214" y="49"/>
                </a:cxn>
                <a:cxn ang="0">
                  <a:pos x="224" y="63"/>
                </a:cxn>
                <a:cxn ang="0">
                  <a:pos x="235" y="75"/>
                </a:cxn>
                <a:cxn ang="0">
                  <a:pos x="249" y="86"/>
                </a:cxn>
                <a:cxn ang="0">
                  <a:pos x="264" y="95"/>
                </a:cxn>
                <a:cxn ang="0">
                  <a:pos x="316" y="106"/>
                </a:cxn>
                <a:cxn ang="0">
                  <a:pos x="365" y="119"/>
                </a:cxn>
                <a:cxn ang="0">
                  <a:pos x="380" y="127"/>
                </a:cxn>
                <a:cxn ang="0">
                  <a:pos x="392" y="137"/>
                </a:cxn>
                <a:cxn ang="0">
                  <a:pos x="398" y="151"/>
                </a:cxn>
                <a:cxn ang="0">
                  <a:pos x="398" y="174"/>
                </a:cxn>
                <a:cxn ang="0">
                  <a:pos x="390" y="200"/>
                </a:cxn>
                <a:cxn ang="0">
                  <a:pos x="369" y="239"/>
                </a:cxn>
                <a:cxn ang="0">
                  <a:pos x="344" y="276"/>
                </a:cxn>
                <a:cxn ang="0">
                  <a:pos x="328" y="303"/>
                </a:cxn>
                <a:cxn ang="0">
                  <a:pos x="314" y="330"/>
                </a:cxn>
                <a:cxn ang="0">
                  <a:pos x="307" y="360"/>
                </a:cxn>
                <a:cxn ang="0">
                  <a:pos x="297" y="377"/>
                </a:cxn>
                <a:cxn ang="0">
                  <a:pos x="268" y="387"/>
                </a:cxn>
                <a:cxn ang="0">
                  <a:pos x="246" y="399"/>
                </a:cxn>
                <a:cxn ang="0">
                  <a:pos x="235" y="408"/>
                </a:cxn>
                <a:cxn ang="0">
                  <a:pos x="227" y="417"/>
                </a:cxn>
                <a:cxn ang="0">
                  <a:pos x="224" y="427"/>
                </a:cxn>
                <a:cxn ang="0">
                  <a:pos x="213" y="438"/>
                </a:cxn>
                <a:cxn ang="0">
                  <a:pos x="188" y="450"/>
                </a:cxn>
                <a:cxn ang="0">
                  <a:pos x="173" y="456"/>
                </a:cxn>
                <a:cxn ang="0">
                  <a:pos x="166" y="467"/>
                </a:cxn>
                <a:cxn ang="0">
                  <a:pos x="158" y="481"/>
                </a:cxn>
                <a:cxn ang="0">
                  <a:pos x="146" y="490"/>
                </a:cxn>
                <a:cxn ang="0">
                  <a:pos x="131" y="494"/>
                </a:cxn>
                <a:cxn ang="0">
                  <a:pos x="102" y="498"/>
                </a:cxn>
                <a:cxn ang="0">
                  <a:pos x="73" y="504"/>
                </a:cxn>
                <a:cxn ang="0">
                  <a:pos x="55" y="512"/>
                </a:cxn>
                <a:cxn ang="0">
                  <a:pos x="46" y="514"/>
                </a:cxn>
                <a:cxn ang="0">
                  <a:pos x="43" y="506"/>
                </a:cxn>
                <a:cxn ang="0">
                  <a:pos x="38" y="497"/>
                </a:cxn>
                <a:cxn ang="0">
                  <a:pos x="34" y="487"/>
                </a:cxn>
                <a:cxn ang="0">
                  <a:pos x="33" y="468"/>
                </a:cxn>
                <a:cxn ang="0">
                  <a:pos x="29" y="445"/>
                </a:cxn>
                <a:cxn ang="0">
                  <a:pos x="17" y="418"/>
                </a:cxn>
                <a:cxn ang="0">
                  <a:pos x="0" y="358"/>
                </a:cxn>
                <a:cxn ang="0">
                  <a:pos x="194" y="185"/>
                </a:cxn>
                <a:cxn ang="0">
                  <a:pos x="200" y="0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1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546725" y="3672707"/>
              <a:ext cx="376238" cy="385762"/>
            </a:xfrm>
            <a:custGeom>
              <a:avLst/>
              <a:gdLst/>
              <a:ahLst/>
              <a:cxnLst>
                <a:cxn ang="0">
                  <a:pos x="231" y="270"/>
                </a:cxn>
                <a:cxn ang="0">
                  <a:pos x="245" y="264"/>
                </a:cxn>
                <a:cxn ang="0">
                  <a:pos x="272" y="272"/>
                </a:cxn>
                <a:cxn ang="0">
                  <a:pos x="654" y="1"/>
                </a:cxn>
                <a:cxn ang="0">
                  <a:pos x="679" y="6"/>
                </a:cxn>
                <a:cxn ang="0">
                  <a:pos x="711" y="21"/>
                </a:cxn>
                <a:cxn ang="0">
                  <a:pos x="730" y="35"/>
                </a:cxn>
                <a:cxn ang="0">
                  <a:pos x="760" y="57"/>
                </a:cxn>
                <a:cxn ang="0">
                  <a:pos x="791" y="59"/>
                </a:cxn>
                <a:cxn ang="0">
                  <a:pos x="831" y="43"/>
                </a:cxn>
                <a:cxn ang="0">
                  <a:pos x="854" y="166"/>
                </a:cxn>
                <a:cxn ang="0">
                  <a:pos x="866" y="205"/>
                </a:cxn>
                <a:cxn ang="0">
                  <a:pos x="850" y="301"/>
                </a:cxn>
                <a:cxn ang="0">
                  <a:pos x="848" y="376"/>
                </a:cxn>
                <a:cxn ang="0">
                  <a:pos x="834" y="421"/>
                </a:cxn>
                <a:cxn ang="0">
                  <a:pos x="802" y="467"/>
                </a:cxn>
                <a:cxn ang="0">
                  <a:pos x="777" y="499"/>
                </a:cxn>
                <a:cxn ang="0">
                  <a:pos x="758" y="567"/>
                </a:cxn>
                <a:cxn ang="0">
                  <a:pos x="711" y="629"/>
                </a:cxn>
                <a:cxn ang="0">
                  <a:pos x="680" y="646"/>
                </a:cxn>
                <a:cxn ang="0">
                  <a:pos x="644" y="638"/>
                </a:cxn>
                <a:cxn ang="0">
                  <a:pos x="611" y="625"/>
                </a:cxn>
                <a:cxn ang="0">
                  <a:pos x="566" y="633"/>
                </a:cxn>
                <a:cxn ang="0">
                  <a:pos x="530" y="659"/>
                </a:cxn>
                <a:cxn ang="0">
                  <a:pos x="511" y="680"/>
                </a:cxn>
                <a:cxn ang="0">
                  <a:pos x="491" y="684"/>
                </a:cxn>
                <a:cxn ang="0">
                  <a:pos x="470" y="668"/>
                </a:cxn>
                <a:cxn ang="0">
                  <a:pos x="446" y="639"/>
                </a:cxn>
                <a:cxn ang="0">
                  <a:pos x="421" y="635"/>
                </a:cxn>
                <a:cxn ang="0">
                  <a:pos x="405" y="647"/>
                </a:cxn>
                <a:cxn ang="0">
                  <a:pos x="384" y="652"/>
                </a:cxn>
                <a:cxn ang="0">
                  <a:pos x="350" y="638"/>
                </a:cxn>
                <a:cxn ang="0">
                  <a:pos x="306" y="608"/>
                </a:cxn>
                <a:cxn ang="0">
                  <a:pos x="271" y="604"/>
                </a:cxn>
                <a:cxn ang="0">
                  <a:pos x="237" y="620"/>
                </a:cxn>
                <a:cxn ang="0">
                  <a:pos x="209" y="653"/>
                </a:cxn>
                <a:cxn ang="0">
                  <a:pos x="190" y="692"/>
                </a:cxn>
                <a:cxn ang="0">
                  <a:pos x="178" y="719"/>
                </a:cxn>
                <a:cxn ang="0">
                  <a:pos x="149" y="702"/>
                </a:cxn>
                <a:cxn ang="0">
                  <a:pos x="100" y="740"/>
                </a:cxn>
                <a:cxn ang="0">
                  <a:pos x="66" y="699"/>
                </a:cxn>
                <a:cxn ang="0">
                  <a:pos x="64" y="644"/>
                </a:cxn>
                <a:cxn ang="0">
                  <a:pos x="50" y="613"/>
                </a:cxn>
                <a:cxn ang="0">
                  <a:pos x="20" y="587"/>
                </a:cxn>
                <a:cxn ang="0">
                  <a:pos x="5" y="558"/>
                </a:cxn>
                <a:cxn ang="0">
                  <a:pos x="53" y="530"/>
                </a:cxn>
                <a:cxn ang="0">
                  <a:pos x="76" y="518"/>
                </a:cxn>
                <a:cxn ang="0">
                  <a:pos x="139" y="510"/>
                </a:cxn>
                <a:cxn ang="0">
                  <a:pos x="182" y="500"/>
                </a:cxn>
                <a:cxn ang="0">
                  <a:pos x="201" y="475"/>
                </a:cxn>
                <a:cxn ang="0">
                  <a:pos x="219" y="424"/>
                </a:cxn>
                <a:cxn ang="0">
                  <a:pos x="224" y="367"/>
                </a:cxn>
                <a:cxn ang="0">
                  <a:pos x="219" y="320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2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216525" y="3290119"/>
              <a:ext cx="300038" cy="260350"/>
            </a:xfrm>
            <a:custGeom>
              <a:avLst/>
              <a:gdLst/>
              <a:ahLst/>
              <a:cxnLst>
                <a:cxn ang="0">
                  <a:pos x="648" y="53"/>
                </a:cxn>
                <a:cxn ang="0">
                  <a:pos x="657" y="161"/>
                </a:cxn>
                <a:cxn ang="0">
                  <a:pos x="661" y="167"/>
                </a:cxn>
                <a:cxn ang="0">
                  <a:pos x="677" y="177"/>
                </a:cxn>
                <a:cxn ang="0">
                  <a:pos x="694" y="189"/>
                </a:cxn>
                <a:cxn ang="0">
                  <a:pos x="697" y="198"/>
                </a:cxn>
                <a:cxn ang="0">
                  <a:pos x="694" y="211"/>
                </a:cxn>
                <a:cxn ang="0">
                  <a:pos x="685" y="217"/>
                </a:cxn>
                <a:cxn ang="0">
                  <a:pos x="655" y="218"/>
                </a:cxn>
                <a:cxn ang="0">
                  <a:pos x="605" y="228"/>
                </a:cxn>
                <a:cxn ang="0">
                  <a:pos x="567" y="250"/>
                </a:cxn>
                <a:cxn ang="0">
                  <a:pos x="549" y="267"/>
                </a:cxn>
                <a:cxn ang="0">
                  <a:pos x="539" y="288"/>
                </a:cxn>
                <a:cxn ang="0">
                  <a:pos x="521" y="302"/>
                </a:cxn>
                <a:cxn ang="0">
                  <a:pos x="491" y="324"/>
                </a:cxn>
                <a:cxn ang="0">
                  <a:pos x="455" y="352"/>
                </a:cxn>
                <a:cxn ang="0">
                  <a:pos x="420" y="370"/>
                </a:cxn>
                <a:cxn ang="0">
                  <a:pos x="372" y="377"/>
                </a:cxn>
                <a:cxn ang="0">
                  <a:pos x="344" y="380"/>
                </a:cxn>
                <a:cxn ang="0">
                  <a:pos x="316" y="396"/>
                </a:cxn>
                <a:cxn ang="0">
                  <a:pos x="290" y="417"/>
                </a:cxn>
                <a:cxn ang="0">
                  <a:pos x="265" y="426"/>
                </a:cxn>
                <a:cxn ang="0">
                  <a:pos x="5" y="496"/>
                </a:cxn>
                <a:cxn ang="0">
                  <a:pos x="32" y="487"/>
                </a:cxn>
                <a:cxn ang="0">
                  <a:pos x="85" y="473"/>
                </a:cxn>
                <a:cxn ang="0">
                  <a:pos x="93" y="459"/>
                </a:cxn>
                <a:cxn ang="0">
                  <a:pos x="99" y="438"/>
                </a:cxn>
                <a:cxn ang="0">
                  <a:pos x="119" y="422"/>
                </a:cxn>
                <a:cxn ang="0">
                  <a:pos x="160" y="399"/>
                </a:cxn>
                <a:cxn ang="0">
                  <a:pos x="181" y="382"/>
                </a:cxn>
                <a:cxn ang="0">
                  <a:pos x="192" y="357"/>
                </a:cxn>
                <a:cxn ang="0">
                  <a:pos x="193" y="316"/>
                </a:cxn>
                <a:cxn ang="0">
                  <a:pos x="195" y="254"/>
                </a:cxn>
                <a:cxn ang="0">
                  <a:pos x="192" y="192"/>
                </a:cxn>
                <a:cxn ang="0">
                  <a:pos x="214" y="189"/>
                </a:cxn>
                <a:cxn ang="0">
                  <a:pos x="228" y="179"/>
                </a:cxn>
                <a:cxn ang="0">
                  <a:pos x="241" y="165"/>
                </a:cxn>
                <a:cxn ang="0">
                  <a:pos x="252" y="152"/>
                </a:cxn>
                <a:cxn ang="0">
                  <a:pos x="281" y="146"/>
                </a:cxn>
                <a:cxn ang="0">
                  <a:pos x="314" y="143"/>
                </a:cxn>
                <a:cxn ang="0">
                  <a:pos x="340" y="131"/>
                </a:cxn>
                <a:cxn ang="0">
                  <a:pos x="360" y="108"/>
                </a:cxn>
                <a:cxn ang="0">
                  <a:pos x="388" y="48"/>
                </a:cxn>
                <a:cxn ang="0">
                  <a:pos x="407" y="12"/>
                </a:cxn>
                <a:cxn ang="0">
                  <a:pos x="426" y="8"/>
                </a:cxn>
                <a:cxn ang="0">
                  <a:pos x="449" y="20"/>
                </a:cxn>
                <a:cxn ang="0">
                  <a:pos x="512" y="18"/>
                </a:cxn>
                <a:cxn ang="0">
                  <a:pos x="590" y="13"/>
                </a:cxn>
                <a:cxn ang="0">
                  <a:pos x="597" y="17"/>
                </a:cxn>
                <a:cxn ang="0">
                  <a:pos x="605" y="36"/>
                </a:cxn>
                <a:cxn ang="0">
                  <a:pos x="611" y="51"/>
                </a:cxn>
                <a:cxn ang="0">
                  <a:pos x="618" y="50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3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916614" y="2220145"/>
              <a:ext cx="236537" cy="92075"/>
            </a:xfrm>
            <a:custGeom>
              <a:avLst/>
              <a:gdLst/>
              <a:ahLst/>
              <a:cxnLst>
                <a:cxn ang="0">
                  <a:pos x="74" y="19"/>
                </a:cxn>
                <a:cxn ang="0">
                  <a:pos x="94" y="34"/>
                </a:cxn>
                <a:cxn ang="0">
                  <a:pos x="110" y="27"/>
                </a:cxn>
                <a:cxn ang="0">
                  <a:pos x="132" y="27"/>
                </a:cxn>
                <a:cxn ang="0">
                  <a:pos x="161" y="44"/>
                </a:cxn>
                <a:cxn ang="0">
                  <a:pos x="209" y="19"/>
                </a:cxn>
                <a:cxn ang="0">
                  <a:pos x="243" y="19"/>
                </a:cxn>
                <a:cxn ang="0">
                  <a:pos x="260" y="16"/>
                </a:cxn>
                <a:cxn ang="0">
                  <a:pos x="269" y="14"/>
                </a:cxn>
                <a:cxn ang="0">
                  <a:pos x="279" y="11"/>
                </a:cxn>
                <a:cxn ang="0">
                  <a:pos x="286" y="3"/>
                </a:cxn>
                <a:cxn ang="0">
                  <a:pos x="321" y="5"/>
                </a:cxn>
                <a:cxn ang="0">
                  <a:pos x="333" y="12"/>
                </a:cxn>
                <a:cxn ang="0">
                  <a:pos x="348" y="7"/>
                </a:cxn>
                <a:cxn ang="0">
                  <a:pos x="353" y="0"/>
                </a:cxn>
                <a:cxn ang="0">
                  <a:pos x="367" y="7"/>
                </a:cxn>
                <a:cxn ang="0">
                  <a:pos x="389" y="7"/>
                </a:cxn>
                <a:cxn ang="0">
                  <a:pos x="436" y="1"/>
                </a:cxn>
                <a:cxn ang="0">
                  <a:pos x="482" y="6"/>
                </a:cxn>
                <a:cxn ang="0">
                  <a:pos x="528" y="12"/>
                </a:cxn>
                <a:cxn ang="0">
                  <a:pos x="545" y="49"/>
                </a:cxn>
                <a:cxn ang="0">
                  <a:pos x="537" y="60"/>
                </a:cxn>
                <a:cxn ang="0">
                  <a:pos x="513" y="62"/>
                </a:cxn>
                <a:cxn ang="0">
                  <a:pos x="483" y="54"/>
                </a:cxn>
                <a:cxn ang="0">
                  <a:pos x="413" y="44"/>
                </a:cxn>
                <a:cxn ang="0">
                  <a:pos x="438" y="81"/>
                </a:cxn>
                <a:cxn ang="0">
                  <a:pos x="471" y="102"/>
                </a:cxn>
                <a:cxn ang="0">
                  <a:pos x="493" y="119"/>
                </a:cxn>
                <a:cxn ang="0">
                  <a:pos x="475" y="136"/>
                </a:cxn>
                <a:cxn ang="0">
                  <a:pos x="449" y="142"/>
                </a:cxn>
                <a:cxn ang="0">
                  <a:pos x="426" y="141"/>
                </a:cxn>
                <a:cxn ang="0">
                  <a:pos x="412" y="134"/>
                </a:cxn>
                <a:cxn ang="0">
                  <a:pos x="399" y="130"/>
                </a:cxn>
                <a:cxn ang="0">
                  <a:pos x="385" y="121"/>
                </a:cxn>
                <a:cxn ang="0">
                  <a:pos x="375" y="104"/>
                </a:cxn>
                <a:cxn ang="0">
                  <a:pos x="365" y="92"/>
                </a:cxn>
                <a:cxn ang="0">
                  <a:pos x="344" y="84"/>
                </a:cxn>
                <a:cxn ang="0">
                  <a:pos x="325" y="76"/>
                </a:cxn>
                <a:cxn ang="0">
                  <a:pos x="303" y="87"/>
                </a:cxn>
                <a:cxn ang="0">
                  <a:pos x="258" y="134"/>
                </a:cxn>
                <a:cxn ang="0">
                  <a:pos x="236" y="163"/>
                </a:cxn>
                <a:cxn ang="0">
                  <a:pos x="220" y="172"/>
                </a:cxn>
                <a:cxn ang="0">
                  <a:pos x="188" y="167"/>
                </a:cxn>
                <a:cxn ang="0">
                  <a:pos x="165" y="155"/>
                </a:cxn>
                <a:cxn ang="0">
                  <a:pos x="113" y="105"/>
                </a:cxn>
                <a:cxn ang="0">
                  <a:pos x="95" y="91"/>
                </a:cxn>
                <a:cxn ang="0">
                  <a:pos x="60" y="76"/>
                </a:cxn>
                <a:cxn ang="0">
                  <a:pos x="16" y="58"/>
                </a:cxn>
                <a:cxn ang="0">
                  <a:pos x="11" y="34"/>
                </a:cxn>
                <a:cxn ang="0">
                  <a:pos x="28" y="19"/>
                </a:cxn>
                <a:cxn ang="0">
                  <a:pos x="47" y="12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4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427788" y="2204270"/>
              <a:ext cx="107950" cy="60325"/>
            </a:xfrm>
            <a:custGeom>
              <a:avLst/>
              <a:gdLst/>
              <a:ahLst/>
              <a:cxnLst>
                <a:cxn ang="0">
                  <a:pos x="27" y="36"/>
                </a:cxn>
                <a:cxn ang="0">
                  <a:pos x="36" y="36"/>
                </a:cxn>
                <a:cxn ang="0">
                  <a:pos x="45" y="35"/>
                </a:cxn>
                <a:cxn ang="0">
                  <a:pos x="53" y="33"/>
                </a:cxn>
                <a:cxn ang="0">
                  <a:pos x="59" y="31"/>
                </a:cxn>
                <a:cxn ang="0">
                  <a:pos x="66" y="30"/>
                </a:cxn>
                <a:cxn ang="0">
                  <a:pos x="72" y="29"/>
                </a:cxn>
                <a:cxn ang="0">
                  <a:pos x="80" y="29"/>
                </a:cxn>
                <a:cxn ang="0">
                  <a:pos x="87" y="30"/>
                </a:cxn>
                <a:cxn ang="0">
                  <a:pos x="87" y="42"/>
                </a:cxn>
                <a:cxn ang="0">
                  <a:pos x="154" y="42"/>
                </a:cxn>
                <a:cxn ang="0">
                  <a:pos x="154" y="39"/>
                </a:cxn>
                <a:cxn ang="0">
                  <a:pos x="156" y="36"/>
                </a:cxn>
                <a:cxn ang="0">
                  <a:pos x="159" y="33"/>
                </a:cxn>
                <a:cxn ang="0">
                  <a:pos x="163" y="31"/>
                </a:cxn>
                <a:cxn ang="0">
                  <a:pos x="175" y="26"/>
                </a:cxn>
                <a:cxn ang="0">
                  <a:pos x="190" y="23"/>
                </a:cxn>
                <a:cxn ang="0">
                  <a:pos x="221" y="17"/>
                </a:cxn>
                <a:cxn ang="0">
                  <a:pos x="246" y="12"/>
                </a:cxn>
                <a:cxn ang="0">
                  <a:pos x="212" y="13"/>
                </a:cxn>
                <a:cxn ang="0">
                  <a:pos x="186" y="14"/>
                </a:cxn>
                <a:cxn ang="0">
                  <a:pos x="178" y="15"/>
                </a:cxn>
                <a:cxn ang="0">
                  <a:pos x="171" y="15"/>
                </a:cxn>
                <a:cxn ang="0">
                  <a:pos x="168" y="14"/>
                </a:cxn>
                <a:cxn ang="0">
                  <a:pos x="167" y="12"/>
                </a:cxn>
                <a:cxn ang="0">
                  <a:pos x="159" y="16"/>
                </a:cxn>
                <a:cxn ang="0">
                  <a:pos x="152" y="17"/>
                </a:cxn>
                <a:cxn ang="0">
                  <a:pos x="147" y="17"/>
                </a:cxn>
                <a:cxn ang="0">
                  <a:pos x="141" y="15"/>
                </a:cxn>
                <a:cxn ang="0">
                  <a:pos x="137" y="12"/>
                </a:cxn>
                <a:cxn ang="0">
                  <a:pos x="133" y="9"/>
                </a:cxn>
                <a:cxn ang="0">
                  <a:pos x="129" y="5"/>
                </a:cxn>
                <a:cxn ang="0">
                  <a:pos x="126" y="0"/>
                </a:cxn>
                <a:cxn ang="0">
                  <a:pos x="121" y="2"/>
                </a:cxn>
                <a:cxn ang="0">
                  <a:pos x="113" y="4"/>
                </a:cxn>
                <a:cxn ang="0">
                  <a:pos x="103" y="5"/>
                </a:cxn>
                <a:cxn ang="0">
                  <a:pos x="93" y="5"/>
                </a:cxn>
                <a:cxn ang="0">
                  <a:pos x="74" y="6"/>
                </a:cxn>
                <a:cxn ang="0">
                  <a:pos x="60" y="6"/>
                </a:cxn>
                <a:cxn ang="0">
                  <a:pos x="58" y="9"/>
                </a:cxn>
                <a:cxn ang="0">
                  <a:pos x="56" y="12"/>
                </a:cxn>
                <a:cxn ang="0">
                  <a:pos x="54" y="15"/>
                </a:cxn>
                <a:cxn ang="0">
                  <a:pos x="50" y="17"/>
                </a:cxn>
                <a:cxn ang="0">
                  <a:pos x="42" y="20"/>
                </a:cxn>
                <a:cxn ang="0">
                  <a:pos x="33" y="22"/>
                </a:cxn>
                <a:cxn ang="0">
                  <a:pos x="14" y="24"/>
                </a:cxn>
                <a:cxn ang="0">
                  <a:pos x="0" y="24"/>
                </a:cxn>
                <a:cxn ang="0">
                  <a:pos x="1" y="27"/>
                </a:cxn>
                <a:cxn ang="0">
                  <a:pos x="3" y="29"/>
                </a:cxn>
                <a:cxn ang="0">
                  <a:pos x="5" y="31"/>
                </a:cxn>
                <a:cxn ang="0">
                  <a:pos x="9" y="33"/>
                </a:cxn>
                <a:cxn ang="0">
                  <a:pos x="17" y="35"/>
                </a:cxn>
                <a:cxn ang="0">
                  <a:pos x="27" y="36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5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570663" y="2186807"/>
              <a:ext cx="63500" cy="57150"/>
            </a:xfrm>
            <a:custGeom>
              <a:avLst/>
              <a:gdLst/>
              <a:ahLst/>
              <a:cxnLst>
                <a:cxn ang="0">
                  <a:pos x="103" y="0"/>
                </a:cxn>
                <a:cxn ang="0">
                  <a:pos x="118" y="1"/>
                </a:cxn>
                <a:cxn ang="0">
                  <a:pos x="134" y="3"/>
                </a:cxn>
                <a:cxn ang="0">
                  <a:pos x="145" y="5"/>
                </a:cxn>
                <a:cxn ang="0">
                  <a:pos x="149" y="6"/>
                </a:cxn>
                <a:cxn ang="0">
                  <a:pos x="149" y="8"/>
                </a:cxn>
                <a:cxn ang="0">
                  <a:pos x="147" y="10"/>
                </a:cxn>
                <a:cxn ang="0">
                  <a:pos x="145" y="12"/>
                </a:cxn>
                <a:cxn ang="0">
                  <a:pos x="141" y="13"/>
                </a:cxn>
                <a:cxn ang="0">
                  <a:pos x="137" y="14"/>
                </a:cxn>
                <a:cxn ang="0">
                  <a:pos x="132" y="14"/>
                </a:cxn>
                <a:cxn ang="0">
                  <a:pos x="127" y="14"/>
                </a:cxn>
                <a:cxn ang="0">
                  <a:pos x="123" y="12"/>
                </a:cxn>
                <a:cxn ang="0">
                  <a:pos x="123" y="23"/>
                </a:cxn>
                <a:cxn ang="0">
                  <a:pos x="123" y="33"/>
                </a:cxn>
                <a:cxn ang="0">
                  <a:pos x="123" y="41"/>
                </a:cxn>
                <a:cxn ang="0">
                  <a:pos x="123" y="49"/>
                </a:cxn>
                <a:cxn ang="0">
                  <a:pos x="116" y="50"/>
                </a:cxn>
                <a:cxn ang="0">
                  <a:pos x="109" y="51"/>
                </a:cxn>
                <a:cxn ang="0">
                  <a:pos x="104" y="53"/>
                </a:cxn>
                <a:cxn ang="0">
                  <a:pos x="100" y="55"/>
                </a:cxn>
                <a:cxn ang="0">
                  <a:pos x="94" y="57"/>
                </a:cxn>
                <a:cxn ang="0">
                  <a:pos x="89" y="59"/>
                </a:cxn>
                <a:cxn ang="0">
                  <a:pos x="83" y="61"/>
                </a:cxn>
                <a:cxn ang="0">
                  <a:pos x="76" y="61"/>
                </a:cxn>
                <a:cxn ang="0">
                  <a:pos x="67" y="60"/>
                </a:cxn>
                <a:cxn ang="0">
                  <a:pos x="53" y="57"/>
                </a:cxn>
                <a:cxn ang="0">
                  <a:pos x="39" y="54"/>
                </a:cxn>
                <a:cxn ang="0">
                  <a:pos x="25" y="49"/>
                </a:cxn>
                <a:cxn ang="0">
                  <a:pos x="12" y="45"/>
                </a:cxn>
                <a:cxn ang="0">
                  <a:pos x="3" y="41"/>
                </a:cxn>
                <a:cxn ang="0">
                  <a:pos x="1" y="39"/>
                </a:cxn>
                <a:cxn ang="0">
                  <a:pos x="0" y="38"/>
                </a:cxn>
                <a:cxn ang="0">
                  <a:pos x="0" y="37"/>
                </a:cxn>
                <a:cxn ang="0">
                  <a:pos x="3" y="37"/>
                </a:cxn>
                <a:cxn ang="0">
                  <a:pos x="19" y="36"/>
                </a:cxn>
                <a:cxn ang="0">
                  <a:pos x="35" y="35"/>
                </a:cxn>
                <a:cxn ang="0">
                  <a:pos x="48" y="32"/>
                </a:cxn>
                <a:cxn ang="0">
                  <a:pos x="60" y="27"/>
                </a:cxn>
                <a:cxn ang="0">
                  <a:pos x="72" y="22"/>
                </a:cxn>
                <a:cxn ang="0">
                  <a:pos x="82" y="16"/>
                </a:cxn>
                <a:cxn ang="0">
                  <a:pos x="93" y="8"/>
                </a:cxn>
                <a:cxn ang="0">
                  <a:pos x="103" y="0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6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607176" y="2194744"/>
              <a:ext cx="130175" cy="57150"/>
            </a:xfrm>
            <a:custGeom>
              <a:avLst/>
              <a:gdLst/>
              <a:ahLst/>
              <a:cxnLst>
                <a:cxn ang="0">
                  <a:pos x="133" y="72"/>
                </a:cxn>
                <a:cxn ang="0">
                  <a:pos x="154" y="65"/>
                </a:cxn>
                <a:cxn ang="0">
                  <a:pos x="178" y="54"/>
                </a:cxn>
                <a:cxn ang="0">
                  <a:pos x="199" y="42"/>
                </a:cxn>
                <a:cxn ang="0">
                  <a:pos x="207" y="40"/>
                </a:cxn>
                <a:cxn ang="0">
                  <a:pos x="211" y="46"/>
                </a:cxn>
                <a:cxn ang="0">
                  <a:pos x="220" y="51"/>
                </a:cxn>
                <a:cxn ang="0">
                  <a:pos x="243" y="55"/>
                </a:cxn>
                <a:cxn ang="0">
                  <a:pos x="269" y="55"/>
                </a:cxn>
                <a:cxn ang="0">
                  <a:pos x="286" y="55"/>
                </a:cxn>
                <a:cxn ang="0">
                  <a:pos x="293" y="46"/>
                </a:cxn>
                <a:cxn ang="0">
                  <a:pos x="298" y="31"/>
                </a:cxn>
                <a:cxn ang="0">
                  <a:pos x="279" y="25"/>
                </a:cxn>
                <a:cxn ang="0">
                  <a:pos x="244" y="25"/>
                </a:cxn>
                <a:cxn ang="0">
                  <a:pos x="225" y="25"/>
                </a:cxn>
                <a:cxn ang="0">
                  <a:pos x="214" y="27"/>
                </a:cxn>
                <a:cxn ang="0">
                  <a:pos x="204" y="33"/>
                </a:cxn>
                <a:cxn ang="0">
                  <a:pos x="172" y="37"/>
                </a:cxn>
                <a:cxn ang="0">
                  <a:pos x="176" y="28"/>
                </a:cxn>
                <a:cxn ang="0">
                  <a:pos x="180" y="21"/>
                </a:cxn>
                <a:cxn ang="0">
                  <a:pos x="194" y="13"/>
                </a:cxn>
                <a:cxn ang="0">
                  <a:pos x="210" y="9"/>
                </a:cxn>
                <a:cxn ang="0">
                  <a:pos x="225" y="0"/>
                </a:cxn>
                <a:cxn ang="0">
                  <a:pos x="185" y="3"/>
                </a:cxn>
                <a:cxn ang="0">
                  <a:pos x="157" y="11"/>
                </a:cxn>
                <a:cxn ang="0">
                  <a:pos x="134" y="25"/>
                </a:cxn>
                <a:cxn ang="0">
                  <a:pos x="114" y="40"/>
                </a:cxn>
                <a:cxn ang="0">
                  <a:pos x="100" y="53"/>
                </a:cxn>
                <a:cxn ang="0">
                  <a:pos x="87" y="59"/>
                </a:cxn>
                <a:cxn ang="0">
                  <a:pos x="64" y="63"/>
                </a:cxn>
                <a:cxn ang="0">
                  <a:pos x="32" y="64"/>
                </a:cxn>
                <a:cxn ang="0">
                  <a:pos x="12" y="67"/>
                </a:cxn>
                <a:cxn ang="0">
                  <a:pos x="2" y="70"/>
                </a:cxn>
                <a:cxn ang="0">
                  <a:pos x="39" y="74"/>
                </a:cxn>
                <a:cxn ang="0">
                  <a:pos x="102" y="74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aphicFrame>
        <p:nvGraphicFramePr>
          <p:cNvPr id="553" name="Table 5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546500"/>
              </p:ext>
            </p:extLst>
          </p:nvPr>
        </p:nvGraphicFramePr>
        <p:xfrm>
          <a:off x="422602" y="2223123"/>
          <a:ext cx="3213937" cy="3337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10710">
                  <a:extLst>
                    <a:ext uri="{9D8B030D-6E8A-4147-A177-3AD203B41FA5}">
                      <a16:colId xmlns:a16="http://schemas.microsoft.com/office/drawing/2014/main" val="2297182122"/>
                    </a:ext>
                  </a:extLst>
                </a:gridCol>
                <a:gridCol w="1103227">
                  <a:extLst>
                    <a:ext uri="{9D8B030D-6E8A-4147-A177-3AD203B41FA5}">
                      <a16:colId xmlns:a16="http://schemas.microsoft.com/office/drawing/2014/main" val="17029579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latin typeface="Mulish" pitchFamily="2" charset="0"/>
                        </a:rPr>
                        <a:t>Canada</a:t>
                      </a:r>
                      <a:endParaRPr lang="en-GB" dirty="0">
                        <a:latin typeface="Mulish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latin typeface="Mulish" pitchFamily="2" charset="0"/>
                        </a:rPr>
                        <a:t>488</a:t>
                      </a:r>
                      <a:endParaRPr lang="en-GB" dirty="0">
                        <a:latin typeface="Mulish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08978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latin typeface="Mulish" pitchFamily="2" charset="0"/>
                        </a:rPr>
                        <a:t>China</a:t>
                      </a:r>
                      <a:endParaRPr lang="en-GB" dirty="0">
                        <a:latin typeface="Mulish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latin typeface="Mulish" pitchFamily="2" charset="0"/>
                        </a:rPr>
                        <a:t>986</a:t>
                      </a:r>
                      <a:endParaRPr lang="en-GB" dirty="0">
                        <a:latin typeface="Mulish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93241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latin typeface="Mulish" pitchFamily="2" charset="0"/>
                        </a:rPr>
                        <a:t>Germany</a:t>
                      </a:r>
                      <a:endParaRPr lang="en-GB" dirty="0">
                        <a:latin typeface="Mulish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latin typeface="Mulish" pitchFamily="2" charset="0"/>
                        </a:rPr>
                        <a:t>1269</a:t>
                      </a:r>
                      <a:endParaRPr lang="en-GB" dirty="0">
                        <a:latin typeface="Mulish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78092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latin typeface="Mulish" pitchFamily="2" charset="0"/>
                        </a:rPr>
                        <a:t>Italy</a:t>
                      </a:r>
                      <a:endParaRPr lang="en-GB" dirty="0">
                        <a:latin typeface="Mulish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latin typeface="Mulish" pitchFamily="2" charset="0"/>
                        </a:rPr>
                        <a:t>246</a:t>
                      </a:r>
                      <a:endParaRPr lang="en-GB" dirty="0">
                        <a:latin typeface="Mulish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62000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latin typeface="Mulish" pitchFamily="2" charset="0"/>
                        </a:rPr>
                        <a:t>Japan</a:t>
                      </a:r>
                      <a:endParaRPr lang="en-GB" dirty="0">
                        <a:latin typeface="Mulish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latin typeface="Mulish" pitchFamily="2" charset="0"/>
                        </a:rPr>
                        <a:t>612</a:t>
                      </a:r>
                      <a:endParaRPr lang="en-GB" dirty="0">
                        <a:latin typeface="Mulish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4232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latin typeface="Mulish" pitchFamily="2" charset="0"/>
                        </a:rPr>
                        <a:t>Malaysia</a:t>
                      </a:r>
                      <a:endParaRPr lang="en-GB" dirty="0">
                        <a:latin typeface="Mulish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latin typeface="Mulish" pitchFamily="2" charset="0"/>
                        </a:rPr>
                        <a:t>646</a:t>
                      </a:r>
                      <a:endParaRPr lang="en-GB" dirty="0">
                        <a:latin typeface="Mulish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03452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latin typeface="Mulish" pitchFamily="2" charset="0"/>
                        </a:rPr>
                        <a:t>United Kingdom</a:t>
                      </a:r>
                      <a:endParaRPr lang="en-GB" dirty="0">
                        <a:latin typeface="Mulish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latin typeface="Mulish" pitchFamily="2" charset="0"/>
                        </a:rPr>
                        <a:t>1133</a:t>
                      </a:r>
                      <a:endParaRPr lang="en-GB" dirty="0">
                        <a:latin typeface="Mulish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06060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latin typeface="Mulish" pitchFamily="2" charset="0"/>
                        </a:rPr>
                        <a:t>United States</a:t>
                      </a:r>
                      <a:endParaRPr lang="en-GB" dirty="0">
                        <a:latin typeface="Mulish" pitchFamily="2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latin typeface="Mulish" pitchFamily="2" charset="0"/>
                        </a:rPr>
                        <a:t>1229</a:t>
                      </a:r>
                      <a:endParaRPr lang="en-GB" dirty="0">
                        <a:latin typeface="Mulish" pitchFamily="2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45061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b="1" dirty="0" smtClean="0">
                          <a:latin typeface="Mulish" pitchFamily="2" charset="0"/>
                        </a:rPr>
                        <a:t>Total</a:t>
                      </a:r>
                      <a:endParaRPr lang="en-GB" b="1" dirty="0">
                        <a:latin typeface="Mulish" pitchFamily="2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 smtClean="0">
                          <a:latin typeface="Mulish" pitchFamily="2" charset="0"/>
                        </a:rPr>
                        <a:t>6609</a:t>
                      </a:r>
                      <a:endParaRPr lang="en-GB" b="1" dirty="0">
                        <a:latin typeface="Mulish" pitchFamily="2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5468698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9531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abetes status</a:t>
            </a:r>
            <a:endParaRPr lang="en-GB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4510350"/>
              </p:ext>
            </p:extLst>
          </p:nvPr>
        </p:nvGraphicFramePr>
        <p:xfrm>
          <a:off x="3810000" y="1689652"/>
          <a:ext cx="4572000" cy="506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064531" y="3760587"/>
            <a:ext cx="1947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FFFFFF"/>
                </a:solidFill>
                <a:latin typeface="Mulish" pitchFamily="2" charset="0"/>
              </a:rPr>
              <a:t>No diabetes</a:t>
            </a:r>
          </a:p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54% </a:t>
            </a:r>
            <a:endParaRPr lang="en-GB" dirty="0">
              <a:solidFill>
                <a:srgbClr val="FFFFFF"/>
              </a:solidFill>
              <a:latin typeface="Mulish" pitchFamily="2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340592" y="3760586"/>
            <a:ext cx="1947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FFFFFF"/>
                </a:solidFill>
                <a:latin typeface="Mulish" pitchFamily="2" charset="0"/>
              </a:rPr>
              <a:t>Diabetes</a:t>
            </a:r>
          </a:p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46% </a:t>
            </a:r>
            <a:endParaRPr lang="en-GB" dirty="0">
              <a:solidFill>
                <a:srgbClr val="FFFFFF"/>
              </a:solidFill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638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50870" y="4509120"/>
            <a:ext cx="7772400" cy="1752600"/>
          </a:xfrm>
        </p:spPr>
        <p:txBody>
          <a:bodyPr>
            <a:normAutofit/>
          </a:bodyPr>
          <a:lstStyle/>
          <a:p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Background and design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08"/>
          <a:stretch/>
        </p:blipFill>
        <p:spPr>
          <a:xfrm>
            <a:off x="119798" y="548680"/>
            <a:ext cx="11952404" cy="371241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609047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4639"/>
            <a:ext cx="12192000" cy="1143000"/>
          </a:xfrm>
        </p:spPr>
        <p:txBody>
          <a:bodyPr>
            <a:noAutofit/>
          </a:bodyPr>
          <a:lstStyle/>
          <a:p>
            <a:r>
              <a:rPr lang="en-GB" sz="3800" dirty="0"/>
              <a:t>Starting kidney function (</a:t>
            </a:r>
            <a:r>
              <a:rPr lang="en-GB" sz="3800" dirty="0" err="1"/>
              <a:t>eGFR</a:t>
            </a:r>
            <a:r>
              <a:rPr lang="en-GB" sz="3800" dirty="0" smtClean="0"/>
              <a:t>)</a:t>
            </a:r>
            <a:endParaRPr lang="en-GB" sz="3800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1855996"/>
              </p:ext>
            </p:extLst>
          </p:nvPr>
        </p:nvGraphicFramePr>
        <p:xfrm>
          <a:off x="3792073" y="1792800"/>
          <a:ext cx="4572000" cy="506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023966" y="3118425"/>
            <a:ext cx="1947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FFFFFF"/>
                </a:solidFill>
                <a:latin typeface="Mulish" pitchFamily="2" charset="0"/>
              </a:rPr>
              <a:t>CKD stage 2-3A</a:t>
            </a:r>
          </a:p>
          <a:p>
            <a:pPr algn="ctr"/>
            <a:r>
              <a:rPr lang="en-GB" sz="1600" dirty="0" err="1" smtClean="0">
                <a:solidFill>
                  <a:srgbClr val="FFFFFF"/>
                </a:solidFill>
                <a:latin typeface="Mulish" pitchFamily="2" charset="0"/>
              </a:rPr>
              <a:t>eGFR</a:t>
            </a:r>
            <a:r>
              <a:rPr lang="en-GB" sz="1600" dirty="0" smtClean="0">
                <a:solidFill>
                  <a:srgbClr val="FFFFFF"/>
                </a:solidFill>
                <a:latin typeface="Mulish" pitchFamily="2" charset="0"/>
              </a:rPr>
              <a:t> 45-90</a:t>
            </a:r>
          </a:p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21% </a:t>
            </a:r>
            <a:endParaRPr lang="en-GB" dirty="0">
              <a:solidFill>
                <a:srgbClr val="FFFFFF"/>
              </a:solidFill>
              <a:latin typeface="Mulish" pitchFamily="2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320497" y="5017171"/>
            <a:ext cx="1947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FFFFFF"/>
                </a:solidFill>
                <a:latin typeface="Mulish" pitchFamily="2" charset="0"/>
              </a:rPr>
              <a:t>CKD stage 3B</a:t>
            </a:r>
          </a:p>
          <a:p>
            <a:pPr algn="ctr"/>
            <a:r>
              <a:rPr lang="en-GB" sz="1600" dirty="0" err="1" smtClean="0">
                <a:solidFill>
                  <a:srgbClr val="FFFFFF"/>
                </a:solidFill>
                <a:latin typeface="Mulish" pitchFamily="2" charset="0"/>
              </a:rPr>
              <a:t>eGFR</a:t>
            </a:r>
            <a:r>
              <a:rPr lang="en-GB" sz="1600" dirty="0" smtClean="0">
                <a:solidFill>
                  <a:srgbClr val="FFFFFF"/>
                </a:solidFill>
                <a:latin typeface="Mulish" pitchFamily="2" charset="0"/>
              </a:rPr>
              <a:t> 30-44</a:t>
            </a:r>
          </a:p>
          <a:p>
            <a:pPr algn="ctr"/>
            <a:r>
              <a:rPr lang="en-GB" dirty="0">
                <a:solidFill>
                  <a:srgbClr val="FFFFFF"/>
                </a:solidFill>
                <a:latin typeface="Mulish" pitchFamily="2" charset="0"/>
              </a:rPr>
              <a:t>4</a:t>
            </a:r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4% </a:t>
            </a:r>
            <a:endParaRPr lang="en-GB" dirty="0">
              <a:solidFill>
                <a:srgbClr val="FFFFFF"/>
              </a:solidFill>
              <a:latin typeface="Mulish" pitchFamily="2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148866" y="3118425"/>
            <a:ext cx="1947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FFFFFF"/>
                </a:solidFill>
                <a:latin typeface="Mulish" pitchFamily="2" charset="0"/>
              </a:rPr>
              <a:t>CKD stage 4</a:t>
            </a:r>
          </a:p>
          <a:p>
            <a:pPr algn="ctr"/>
            <a:r>
              <a:rPr lang="en-GB" sz="1600" dirty="0" err="1" smtClean="0">
                <a:solidFill>
                  <a:srgbClr val="FFFFFF"/>
                </a:solidFill>
                <a:latin typeface="Mulish" pitchFamily="2" charset="0"/>
              </a:rPr>
              <a:t>eGFR</a:t>
            </a:r>
            <a:r>
              <a:rPr lang="en-GB" sz="1600" dirty="0" smtClean="0">
                <a:solidFill>
                  <a:srgbClr val="FFFFFF"/>
                </a:solidFill>
                <a:latin typeface="Mulish" pitchFamily="2" charset="0"/>
              </a:rPr>
              <a:t> &lt;30</a:t>
            </a:r>
          </a:p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35%</a:t>
            </a:r>
            <a:endParaRPr lang="en-GB" dirty="0">
              <a:solidFill>
                <a:srgbClr val="FFFFFF"/>
              </a:solidFill>
              <a:latin typeface="Mulish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91217" y="1608134"/>
            <a:ext cx="85737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 smtClean="0">
                <a:latin typeface="Mulish" pitchFamily="2" charset="0"/>
              </a:rPr>
              <a:t>Overall average starting </a:t>
            </a:r>
            <a:r>
              <a:rPr lang="en-GB" sz="2000" b="1" dirty="0" err="1" smtClean="0">
                <a:latin typeface="Mulish" pitchFamily="2" charset="0"/>
              </a:rPr>
              <a:t>eGFR</a:t>
            </a:r>
            <a:r>
              <a:rPr lang="en-GB" sz="2000" dirty="0" smtClean="0">
                <a:latin typeface="Mulish" pitchFamily="2" charset="0"/>
              </a:rPr>
              <a:t>: 37 ml/min/1.73m</a:t>
            </a:r>
            <a:r>
              <a:rPr lang="en-GB" sz="2000" baseline="30000" dirty="0" smtClean="0">
                <a:latin typeface="Mulish" pitchFamily="2" charset="0"/>
              </a:rPr>
              <a:t>2</a:t>
            </a:r>
            <a:endParaRPr lang="en-GB" sz="2000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2383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4639"/>
            <a:ext cx="12192000" cy="1143000"/>
          </a:xfrm>
        </p:spPr>
        <p:txBody>
          <a:bodyPr>
            <a:noAutofit/>
          </a:bodyPr>
          <a:lstStyle/>
          <a:p>
            <a:r>
              <a:rPr lang="en-GB" sz="3800" dirty="0" smtClean="0"/>
              <a:t>Starting level of albumin in the urine (</a:t>
            </a:r>
            <a:r>
              <a:rPr lang="en-GB" sz="3800" dirty="0" err="1" smtClean="0"/>
              <a:t>uACR</a:t>
            </a:r>
            <a:r>
              <a:rPr lang="en-GB" sz="3800" dirty="0" smtClean="0"/>
              <a:t>)</a:t>
            </a:r>
            <a:endParaRPr lang="en-GB" sz="3800" dirty="0"/>
          </a:p>
        </p:txBody>
      </p:sp>
      <p:sp>
        <p:nvSpPr>
          <p:cNvPr id="11" name="TextBox 10"/>
          <p:cNvSpPr txBox="1"/>
          <p:nvPr/>
        </p:nvSpPr>
        <p:spPr>
          <a:xfrm>
            <a:off x="1809144" y="1592745"/>
            <a:ext cx="85737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 smtClean="0">
                <a:latin typeface="Mulish" pitchFamily="2" charset="0"/>
              </a:rPr>
              <a:t>Overall average starting </a:t>
            </a:r>
            <a:r>
              <a:rPr lang="en-GB" sz="2000" b="1" dirty="0" err="1" smtClean="0">
                <a:latin typeface="Mulish" pitchFamily="2" charset="0"/>
              </a:rPr>
              <a:t>uACR</a:t>
            </a:r>
            <a:r>
              <a:rPr lang="en-GB" sz="2000" dirty="0" smtClean="0">
                <a:latin typeface="Mulish" pitchFamily="2" charset="0"/>
              </a:rPr>
              <a:t>: 37 mg/</a:t>
            </a:r>
            <a:r>
              <a:rPr lang="en-GB" sz="2000" dirty="0" err="1" smtClean="0">
                <a:latin typeface="Mulish" pitchFamily="2" charset="0"/>
              </a:rPr>
              <a:t>mmol</a:t>
            </a:r>
            <a:endParaRPr lang="en-GB" sz="2000" dirty="0">
              <a:latin typeface="Mulish" pitchFamily="2" charset="0"/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2153838"/>
              </p:ext>
            </p:extLst>
          </p:nvPr>
        </p:nvGraphicFramePr>
        <p:xfrm>
          <a:off x="3810000" y="1760085"/>
          <a:ext cx="4572000" cy="506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955198" y="2864357"/>
            <a:ext cx="1947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FFFFFF"/>
                </a:solidFill>
                <a:latin typeface="Mulish" pitchFamily="2" charset="0"/>
              </a:rPr>
              <a:t>Low</a:t>
            </a:r>
            <a:endParaRPr lang="en-GB" sz="1600" dirty="0" smtClean="0">
              <a:solidFill>
                <a:srgbClr val="FFFFFF"/>
              </a:solidFill>
              <a:latin typeface="Mulish" pitchFamily="2" charset="0"/>
            </a:endParaRPr>
          </a:p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20% </a:t>
            </a:r>
            <a:endParaRPr lang="en-GB" dirty="0">
              <a:solidFill>
                <a:srgbClr val="FFFFFF"/>
              </a:solidFill>
              <a:latin typeface="Mulish" pitchFamily="2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95032" y="4793370"/>
            <a:ext cx="1947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FFFFFF"/>
                </a:solidFill>
                <a:latin typeface="Mulish" pitchFamily="2" charset="0"/>
              </a:rPr>
              <a:t>Moderate</a:t>
            </a:r>
            <a:endParaRPr lang="en-GB" sz="1600" dirty="0" smtClean="0">
              <a:solidFill>
                <a:srgbClr val="FFFFFF"/>
              </a:solidFill>
              <a:latin typeface="Mulish" pitchFamily="2" charset="0"/>
            </a:endParaRPr>
          </a:p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28% </a:t>
            </a:r>
            <a:endParaRPr lang="en-GB" dirty="0">
              <a:solidFill>
                <a:srgbClr val="FFFFFF"/>
              </a:solidFill>
              <a:latin typeface="Mulish" pitchFamily="2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008064" y="4085904"/>
            <a:ext cx="1947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FFFFFF"/>
                </a:solidFill>
                <a:latin typeface="Mulish" pitchFamily="2" charset="0"/>
              </a:rPr>
              <a:t>High</a:t>
            </a:r>
          </a:p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52%</a:t>
            </a:r>
            <a:endParaRPr lang="en-GB" dirty="0">
              <a:solidFill>
                <a:srgbClr val="FFFFFF"/>
              </a:solidFill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9981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, sex and race</a:t>
            </a:r>
            <a:endParaRPr lang="en-GB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43385795"/>
              </p:ext>
            </p:extLst>
          </p:nvPr>
        </p:nvGraphicFramePr>
        <p:xfrm>
          <a:off x="-73724" y="1980479"/>
          <a:ext cx="4572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37056" y="3394154"/>
            <a:ext cx="1947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FFFFFF"/>
                </a:solidFill>
                <a:latin typeface="Mulish" pitchFamily="2" charset="0"/>
              </a:rPr>
              <a:t>Male</a:t>
            </a:r>
          </a:p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67% </a:t>
            </a:r>
            <a:endParaRPr lang="en-GB" dirty="0">
              <a:solidFill>
                <a:srgbClr val="FFFFFF"/>
              </a:solidFill>
              <a:latin typeface="Mulish" pitchFamily="2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858613" y="2916076"/>
            <a:ext cx="1947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FFFFFF"/>
                </a:solidFill>
                <a:latin typeface="Mulish" pitchFamily="2" charset="0"/>
              </a:rPr>
              <a:t>Female</a:t>
            </a:r>
          </a:p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33% </a:t>
            </a:r>
            <a:endParaRPr lang="en-GB" dirty="0">
              <a:solidFill>
                <a:srgbClr val="FFFFFF"/>
              </a:solidFill>
              <a:latin typeface="Mulish" pitchFamily="2" charset="0"/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0149328"/>
              </p:ext>
            </p:extLst>
          </p:nvPr>
        </p:nvGraphicFramePr>
        <p:xfrm>
          <a:off x="7766618" y="1980479"/>
          <a:ext cx="4572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8372131" y="3175160"/>
            <a:ext cx="1947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FFFFFF"/>
                </a:solidFill>
                <a:latin typeface="Mulish" pitchFamily="2" charset="0"/>
              </a:rPr>
              <a:t>Asian</a:t>
            </a:r>
          </a:p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36% </a:t>
            </a:r>
            <a:endParaRPr lang="en-GB" dirty="0">
              <a:solidFill>
                <a:srgbClr val="FFFFFF"/>
              </a:solidFill>
              <a:latin typeface="Mulish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774343" y="3175160"/>
            <a:ext cx="1947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FFFFFF"/>
                </a:solidFill>
                <a:latin typeface="Mulish" pitchFamily="2" charset="0"/>
              </a:rPr>
              <a:t>White</a:t>
            </a:r>
          </a:p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58.5% </a:t>
            </a:r>
            <a:endParaRPr lang="en-GB" dirty="0">
              <a:solidFill>
                <a:srgbClr val="FFFFFF"/>
              </a:solidFill>
              <a:latin typeface="Mulish" pitchFamily="2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578163" y="4695217"/>
            <a:ext cx="1947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Black</a:t>
            </a:r>
            <a:r>
              <a:rPr lang="en-GB" b="1" dirty="0">
                <a:latin typeface="Mulish" pitchFamily="2" charset="0"/>
              </a:rPr>
              <a:t> </a:t>
            </a:r>
            <a:r>
              <a:rPr lang="en-GB" dirty="0" smtClean="0">
                <a:latin typeface="Mulish" pitchFamily="2" charset="0"/>
              </a:rPr>
              <a:t>4% 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551730" y="1638398"/>
            <a:ext cx="27356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Other </a:t>
            </a:r>
            <a:r>
              <a:rPr lang="en-GB" dirty="0" smtClean="0">
                <a:latin typeface="Mulish" pitchFamily="2" charset="0"/>
              </a:rPr>
              <a:t>1.5% </a:t>
            </a:r>
            <a:endParaRPr lang="en-GB" dirty="0">
              <a:latin typeface="Mulish" pitchFamily="2" charset="0"/>
            </a:endParaRPr>
          </a:p>
        </p:txBody>
      </p:sp>
      <p:pic>
        <p:nvPicPr>
          <p:cNvPr id="1026" name="Picture 2" descr="https://cdn-icons-png.flaticon.com/512/3159/3159408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0818" y="2414727"/>
            <a:ext cx="2295360" cy="2295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1238709" y="5503444"/>
            <a:ext cx="19471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 smtClean="0">
                <a:latin typeface="Mulish" pitchFamily="2" charset="0"/>
              </a:rPr>
              <a:t>Sex</a:t>
            </a:r>
            <a:endParaRPr lang="en-GB" sz="2800" dirty="0">
              <a:latin typeface="Mulish" pitchFamily="2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122433" y="5450471"/>
            <a:ext cx="19471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 smtClean="0">
                <a:latin typeface="Mulish" pitchFamily="2" charset="0"/>
              </a:rPr>
              <a:t>Age</a:t>
            </a:r>
            <a:endParaRPr lang="en-GB" sz="2800" dirty="0">
              <a:latin typeface="Mulish" pitchFamily="2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079051" y="5508911"/>
            <a:ext cx="19471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 smtClean="0">
                <a:latin typeface="Mulish" pitchFamily="2" charset="0"/>
              </a:rPr>
              <a:t>Race</a:t>
            </a:r>
            <a:endParaRPr lang="en-GB" sz="2800" dirty="0">
              <a:latin typeface="Mulish" pitchFamily="2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564898" y="6042978"/>
            <a:ext cx="3187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Average: 64 years</a:t>
            </a:r>
            <a:endParaRPr lang="en-GB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6205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4639"/>
            <a:ext cx="12192000" cy="1143000"/>
          </a:xfrm>
        </p:spPr>
        <p:txBody>
          <a:bodyPr>
            <a:normAutofit/>
          </a:bodyPr>
          <a:lstStyle/>
          <a:p>
            <a:r>
              <a:rPr lang="en-GB" dirty="0" smtClean="0"/>
              <a:t>Causes of kidney disease</a:t>
            </a:r>
            <a:endParaRPr lang="en-GB" dirty="0"/>
          </a:p>
        </p:txBody>
      </p:sp>
      <p:grpSp>
        <p:nvGrpSpPr>
          <p:cNvPr id="16" name="Group 15"/>
          <p:cNvGrpSpPr/>
          <p:nvPr/>
        </p:nvGrpSpPr>
        <p:grpSpPr>
          <a:xfrm>
            <a:off x="1369489" y="1890226"/>
            <a:ext cx="8735209" cy="5064542"/>
            <a:chOff x="1873623" y="1680881"/>
            <a:chExt cx="7786744" cy="4601585"/>
          </a:xfrm>
        </p:grpSpPr>
        <p:graphicFrame>
          <p:nvGraphicFramePr>
            <p:cNvPr id="5" name="Chart 4"/>
            <p:cNvGraphicFramePr>
              <a:graphicFrameLocks/>
            </p:cNvGraphicFramePr>
            <p:nvPr>
              <p:extLst/>
            </p:nvPr>
          </p:nvGraphicFramePr>
          <p:xfrm>
            <a:off x="1873623" y="1680881"/>
            <a:ext cx="7786744" cy="460158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5" name="Rectangle 14"/>
            <p:cNvSpPr/>
            <p:nvPr/>
          </p:nvSpPr>
          <p:spPr>
            <a:xfrm>
              <a:off x="2288661" y="5962667"/>
              <a:ext cx="6956840" cy="2318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529726" y="3844218"/>
            <a:ext cx="1947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Glomerular disease</a:t>
            </a:r>
          </a:p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25%</a:t>
            </a:r>
            <a:endParaRPr lang="en-GB" dirty="0">
              <a:solidFill>
                <a:srgbClr val="FFFFFF"/>
              </a:solidFill>
              <a:latin typeface="Mulish" pitchFamily="2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623094" y="5812407"/>
            <a:ext cx="224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IgA nephropathy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803381" y="2021201"/>
            <a:ext cx="22429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Focal segmental </a:t>
            </a:r>
            <a:r>
              <a:rPr lang="en-GB" dirty="0" err="1" smtClean="0">
                <a:latin typeface="Mulish" pitchFamily="2" charset="0"/>
              </a:rPr>
              <a:t>glomerulosclerosis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855863" y="3053435"/>
            <a:ext cx="22429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Other glomerulonephritis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211915" y="5000343"/>
            <a:ext cx="1947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Diabetic kidney disease</a:t>
            </a:r>
          </a:p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31%</a:t>
            </a:r>
            <a:endParaRPr lang="en-GB" dirty="0">
              <a:solidFill>
                <a:srgbClr val="FFFFFF"/>
              </a:solidFill>
              <a:latin typeface="Mulish" pitchFamily="2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211915" y="2687329"/>
            <a:ext cx="1947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Other</a:t>
            </a:r>
          </a:p>
          <a:p>
            <a:pPr algn="ctr"/>
            <a:r>
              <a:rPr lang="en-GB" dirty="0" smtClean="0">
                <a:latin typeface="Mulish" pitchFamily="2" charset="0"/>
              </a:rPr>
              <a:t>12%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71027" y="3725941"/>
            <a:ext cx="19471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Hypertensive/ </a:t>
            </a:r>
            <a:r>
              <a:rPr lang="en-GB" dirty="0" err="1" smtClean="0">
                <a:solidFill>
                  <a:srgbClr val="FFFFFF"/>
                </a:solidFill>
                <a:latin typeface="Mulish" pitchFamily="2" charset="0"/>
              </a:rPr>
              <a:t>renovascular</a:t>
            </a:r>
            <a:endParaRPr lang="en-GB" dirty="0" smtClean="0">
              <a:solidFill>
                <a:srgbClr val="FFFFFF"/>
              </a:solidFill>
              <a:latin typeface="Mulish" pitchFamily="2" charset="0"/>
            </a:endParaRPr>
          </a:p>
          <a:p>
            <a:pPr algn="ctr"/>
            <a:r>
              <a:rPr lang="en-GB" dirty="0" smtClean="0">
                <a:solidFill>
                  <a:srgbClr val="FFFFFF"/>
                </a:solidFill>
                <a:latin typeface="Mulish" pitchFamily="2" charset="0"/>
              </a:rPr>
              <a:t>22% </a:t>
            </a:r>
            <a:endParaRPr lang="en-GB" dirty="0">
              <a:solidFill>
                <a:srgbClr val="FFFFFF"/>
              </a:solidFill>
              <a:latin typeface="Mulish" pitchFamily="2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529726" y="1992869"/>
            <a:ext cx="1947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Unknown</a:t>
            </a:r>
          </a:p>
          <a:p>
            <a:pPr algn="ctr"/>
            <a:r>
              <a:rPr lang="en-GB" dirty="0" smtClean="0">
                <a:latin typeface="Mulish" pitchFamily="2" charset="0"/>
              </a:rPr>
              <a:t>10%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214220" y="4670046"/>
            <a:ext cx="1947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N=817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283837" y="3841151"/>
            <a:ext cx="1947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N=657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066303" y="3167823"/>
            <a:ext cx="1947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N=195</a:t>
            </a:r>
            <a:endParaRPr lang="en-GB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1688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8458" y="4509120"/>
            <a:ext cx="6821919" cy="1752600"/>
          </a:xfrm>
        </p:spPr>
        <p:txBody>
          <a:bodyPr>
            <a:normAutofit/>
          </a:bodyPr>
          <a:lstStyle/>
          <a:p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Follow-up completeness, quality &amp; adherenc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08"/>
          <a:stretch/>
        </p:blipFill>
        <p:spPr>
          <a:xfrm>
            <a:off x="119798" y="548680"/>
            <a:ext cx="11952404" cy="371241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41999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ollow-up &amp; adherence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609600" y="1923932"/>
            <a:ext cx="11496754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latin typeface="Mulish" pitchFamily="2" charset="0"/>
              </a:rPr>
              <a:t>Median </a:t>
            </a:r>
            <a:r>
              <a:rPr lang="en-GB" sz="2800" b="1" dirty="0" smtClean="0">
                <a:latin typeface="Mulish" pitchFamily="2" charset="0"/>
              </a:rPr>
              <a:t>follow-up				</a:t>
            </a:r>
            <a:r>
              <a:rPr lang="en-GB" sz="2800" dirty="0" smtClean="0">
                <a:latin typeface="Mulish" pitchFamily="2" charset="0"/>
              </a:rPr>
              <a:t>2.0 </a:t>
            </a:r>
            <a:r>
              <a:rPr lang="en-GB" sz="2800" dirty="0">
                <a:latin typeface="Mulish" pitchFamily="2" charset="0"/>
              </a:rPr>
              <a:t>(IQR 1.5-2.4) </a:t>
            </a:r>
            <a:r>
              <a:rPr lang="en-GB" sz="2800" dirty="0" smtClean="0">
                <a:latin typeface="Mulish" pitchFamily="2" charset="0"/>
              </a:rPr>
              <a:t>years</a:t>
            </a:r>
          </a:p>
          <a:p>
            <a:endParaRPr lang="en-GB" sz="2800" dirty="0">
              <a:latin typeface="Mulish" pitchFamily="2" charset="0"/>
            </a:endParaRPr>
          </a:p>
          <a:p>
            <a:r>
              <a:rPr lang="en-GB" sz="2800" b="1" dirty="0" smtClean="0">
                <a:latin typeface="Mulish" pitchFamily="2" charset="0"/>
              </a:rPr>
              <a:t>Completeness of follow-up			</a:t>
            </a:r>
            <a:r>
              <a:rPr lang="en-GB" sz="2800" dirty="0">
                <a:solidFill>
                  <a:srgbClr val="D436B8"/>
                </a:solidFill>
                <a:latin typeface="Mulish" pitchFamily="2" charset="0"/>
              </a:rPr>
              <a:t>Empagliflozin </a:t>
            </a:r>
            <a:r>
              <a:rPr lang="en-GB" sz="2800" dirty="0" smtClean="0">
                <a:solidFill>
                  <a:srgbClr val="D436B8"/>
                </a:solidFill>
                <a:latin typeface="Mulish" pitchFamily="2" charset="0"/>
              </a:rPr>
              <a:t>99.1% </a:t>
            </a:r>
            <a:endParaRPr lang="en-GB" sz="2800" b="1" dirty="0">
              <a:latin typeface="Mulish" pitchFamily="2" charset="0"/>
            </a:endParaRPr>
          </a:p>
          <a:p>
            <a:r>
              <a:rPr lang="en-GB" sz="2800" b="1" dirty="0">
                <a:latin typeface="Mulish" pitchFamily="2" charset="0"/>
              </a:rPr>
              <a:t>	</a:t>
            </a:r>
            <a:r>
              <a:rPr lang="en-GB" sz="2800" b="1" dirty="0" smtClean="0">
                <a:latin typeface="Mulish" pitchFamily="2" charset="0"/>
              </a:rPr>
              <a:t>	</a:t>
            </a:r>
            <a:r>
              <a:rPr lang="en-GB" sz="2800" b="1" dirty="0">
                <a:latin typeface="Mulish" pitchFamily="2" charset="0"/>
              </a:rPr>
              <a:t>					</a:t>
            </a:r>
            <a:r>
              <a:rPr lang="en-GB" sz="2800" dirty="0">
                <a:latin typeface="Mulish" pitchFamily="2" charset="0"/>
              </a:rPr>
              <a:t>Placebo </a:t>
            </a:r>
            <a:r>
              <a:rPr lang="en-GB" sz="2800" dirty="0" smtClean="0">
                <a:latin typeface="Mulish" pitchFamily="2" charset="0"/>
              </a:rPr>
              <a:t>99.2%</a:t>
            </a:r>
            <a:endParaRPr lang="en-GB" sz="2800" dirty="0">
              <a:latin typeface="Mulish" pitchFamily="2" charset="0"/>
            </a:endParaRPr>
          </a:p>
          <a:p>
            <a:endParaRPr lang="en-GB" sz="2800" b="1" dirty="0" smtClean="0">
              <a:latin typeface="Mulish" pitchFamily="2" charset="0"/>
            </a:endParaRPr>
          </a:p>
          <a:p>
            <a:r>
              <a:rPr lang="en-GB" sz="2800" b="1" dirty="0" smtClean="0">
                <a:latin typeface="Mulish" pitchFamily="2" charset="0"/>
              </a:rPr>
              <a:t>Adherence to study treatment		</a:t>
            </a:r>
            <a:r>
              <a:rPr lang="en-GB" sz="2800" dirty="0" smtClean="0">
                <a:solidFill>
                  <a:srgbClr val="D436B8"/>
                </a:solidFill>
                <a:latin typeface="Mulish" pitchFamily="2" charset="0"/>
              </a:rPr>
              <a:t>Empagliflozin </a:t>
            </a:r>
            <a:r>
              <a:rPr lang="en-GB" sz="2800" dirty="0">
                <a:solidFill>
                  <a:srgbClr val="D436B8"/>
                </a:solidFill>
                <a:latin typeface="Mulish" pitchFamily="2" charset="0"/>
              </a:rPr>
              <a:t>89.6% </a:t>
            </a:r>
            <a:endParaRPr lang="en-GB" sz="2800" b="1" dirty="0" smtClean="0">
              <a:latin typeface="Mulish" pitchFamily="2" charset="0"/>
            </a:endParaRPr>
          </a:p>
          <a:p>
            <a:r>
              <a:rPr lang="en-GB" sz="2800" b="1" dirty="0" smtClean="0">
                <a:latin typeface="Mulish" pitchFamily="2" charset="0"/>
              </a:rPr>
              <a:t>at 12 months					</a:t>
            </a:r>
            <a:r>
              <a:rPr lang="en-GB" sz="2800" dirty="0" smtClean="0">
                <a:latin typeface="Mulish" pitchFamily="2" charset="0"/>
              </a:rPr>
              <a:t>Placebo </a:t>
            </a:r>
            <a:r>
              <a:rPr lang="en-GB" sz="2800" dirty="0">
                <a:latin typeface="Mulish" pitchFamily="2" charset="0"/>
              </a:rPr>
              <a:t>90.3%</a:t>
            </a:r>
          </a:p>
          <a:p>
            <a:r>
              <a:rPr lang="en-GB" sz="2800" dirty="0">
                <a:latin typeface="Mulish" pitchFamily="2" charset="0"/>
              </a:rPr>
              <a:t>	</a:t>
            </a:r>
            <a:r>
              <a:rPr lang="en-GB" sz="2800" dirty="0" smtClean="0">
                <a:latin typeface="Mulish" pitchFamily="2" charset="0"/>
              </a:rPr>
              <a:t>						</a:t>
            </a:r>
            <a:endParaRPr lang="en-GB" sz="2800" dirty="0">
              <a:latin typeface="Mulish" pitchFamily="2" charset="0"/>
            </a:endParaRPr>
          </a:p>
          <a:p>
            <a:endParaRPr lang="en-GB" sz="2800" b="1" dirty="0">
              <a:latin typeface="Mulish" pitchFamily="2" charset="0"/>
            </a:endParaRPr>
          </a:p>
          <a:p>
            <a:endParaRPr lang="en-GB" sz="2800" b="1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65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4509120"/>
            <a:ext cx="12192000" cy="1752600"/>
          </a:xfrm>
        </p:spPr>
        <p:txBody>
          <a:bodyPr>
            <a:normAutofit/>
          </a:bodyPr>
          <a:lstStyle/>
          <a:p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Main results (part I)</a:t>
            </a:r>
          </a:p>
          <a:p>
            <a:r>
              <a:rPr lang="en-GB" sz="4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Mulish" pitchFamily="2" charset="0"/>
              </a:rPr>
              <a:t>Primary &amp; kidney disease outcomes</a:t>
            </a:r>
          </a:p>
          <a:p>
            <a:endParaRPr lang="en-GB" sz="4000" b="1" dirty="0" smtClean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08"/>
          <a:stretch/>
        </p:blipFill>
        <p:spPr>
          <a:xfrm>
            <a:off x="119798" y="548680"/>
            <a:ext cx="11952404" cy="371241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86768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Main result: kidney disease progression or cardiovascular death</a:t>
            </a:r>
            <a:endParaRPr dirty="0"/>
          </a:p>
        </p:txBody>
      </p:sp>
      <p:sp>
        <p:nvSpPr>
          <p:cNvPr id="5" name="AutoShape 3"/>
          <p:cNvSpPr>
            <a:spLocks noChangeAspect="1" noChangeArrowheads="1" noTextEdit="1"/>
          </p:cNvSpPr>
          <p:nvPr/>
        </p:nvSpPr>
        <p:spPr bwMode="auto">
          <a:xfrm>
            <a:off x="812800" y="1592263"/>
            <a:ext cx="10548938" cy="452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" name="Line 5"/>
          <p:cNvSpPr>
            <a:spLocks noChangeShapeType="1"/>
          </p:cNvSpPr>
          <p:nvPr/>
        </p:nvSpPr>
        <p:spPr bwMode="auto">
          <a:xfrm>
            <a:off x="1816100" y="5424487"/>
            <a:ext cx="8512175" cy="0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Line 6"/>
          <p:cNvSpPr>
            <a:spLocks noChangeShapeType="1"/>
          </p:cNvSpPr>
          <p:nvPr/>
        </p:nvSpPr>
        <p:spPr bwMode="auto">
          <a:xfrm flipV="1">
            <a:off x="1816100" y="2309812"/>
            <a:ext cx="0" cy="3114675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" name="Line 7"/>
          <p:cNvSpPr>
            <a:spLocks noChangeShapeType="1"/>
          </p:cNvSpPr>
          <p:nvPr/>
        </p:nvSpPr>
        <p:spPr bwMode="auto">
          <a:xfrm>
            <a:off x="1816100" y="5424487"/>
            <a:ext cx="8512175" cy="0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" name="Line 8"/>
          <p:cNvSpPr>
            <a:spLocks noChangeShapeType="1"/>
          </p:cNvSpPr>
          <p:nvPr/>
        </p:nvSpPr>
        <p:spPr bwMode="auto">
          <a:xfrm>
            <a:off x="1816100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" name="Line 9"/>
          <p:cNvSpPr>
            <a:spLocks noChangeShapeType="1"/>
          </p:cNvSpPr>
          <p:nvPr/>
        </p:nvSpPr>
        <p:spPr bwMode="auto">
          <a:xfrm>
            <a:off x="3521075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Line 10"/>
          <p:cNvSpPr>
            <a:spLocks noChangeShapeType="1"/>
          </p:cNvSpPr>
          <p:nvPr/>
        </p:nvSpPr>
        <p:spPr bwMode="auto">
          <a:xfrm>
            <a:off x="3521075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5226050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3" name="Line 12"/>
          <p:cNvSpPr>
            <a:spLocks noChangeShapeType="1"/>
          </p:cNvSpPr>
          <p:nvPr/>
        </p:nvSpPr>
        <p:spPr bwMode="auto">
          <a:xfrm>
            <a:off x="5226050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4" name="Line 13"/>
          <p:cNvSpPr>
            <a:spLocks noChangeShapeType="1"/>
          </p:cNvSpPr>
          <p:nvPr/>
        </p:nvSpPr>
        <p:spPr bwMode="auto">
          <a:xfrm>
            <a:off x="6931025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5" name="Line 14"/>
          <p:cNvSpPr>
            <a:spLocks noChangeShapeType="1"/>
          </p:cNvSpPr>
          <p:nvPr/>
        </p:nvSpPr>
        <p:spPr bwMode="auto">
          <a:xfrm>
            <a:off x="6931025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6" name="Line 15"/>
          <p:cNvSpPr>
            <a:spLocks noChangeShapeType="1"/>
          </p:cNvSpPr>
          <p:nvPr/>
        </p:nvSpPr>
        <p:spPr bwMode="auto">
          <a:xfrm>
            <a:off x="8623300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7" name="Line 16"/>
          <p:cNvSpPr>
            <a:spLocks noChangeShapeType="1"/>
          </p:cNvSpPr>
          <p:nvPr/>
        </p:nvSpPr>
        <p:spPr bwMode="auto">
          <a:xfrm>
            <a:off x="8623300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8" name="Line 17"/>
          <p:cNvSpPr>
            <a:spLocks noChangeShapeType="1"/>
          </p:cNvSpPr>
          <p:nvPr/>
        </p:nvSpPr>
        <p:spPr bwMode="auto">
          <a:xfrm>
            <a:off x="10328275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9" name="Line 18"/>
          <p:cNvSpPr>
            <a:spLocks noChangeShapeType="1"/>
          </p:cNvSpPr>
          <p:nvPr/>
        </p:nvSpPr>
        <p:spPr bwMode="auto">
          <a:xfrm flipV="1">
            <a:off x="1816100" y="2309812"/>
            <a:ext cx="0" cy="3114675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1719262" y="5424487"/>
            <a:ext cx="96838" cy="0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1" name="Line 20"/>
          <p:cNvSpPr>
            <a:spLocks noChangeShapeType="1"/>
          </p:cNvSpPr>
          <p:nvPr/>
        </p:nvSpPr>
        <p:spPr bwMode="auto">
          <a:xfrm flipH="1">
            <a:off x="1719262" y="4645025"/>
            <a:ext cx="96838" cy="0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" name="Line 21"/>
          <p:cNvSpPr>
            <a:spLocks noChangeShapeType="1"/>
          </p:cNvSpPr>
          <p:nvPr/>
        </p:nvSpPr>
        <p:spPr bwMode="auto">
          <a:xfrm flipH="1">
            <a:off x="1719262" y="3867150"/>
            <a:ext cx="96838" cy="0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3" name="Line 22"/>
          <p:cNvSpPr>
            <a:spLocks noChangeShapeType="1"/>
          </p:cNvSpPr>
          <p:nvPr/>
        </p:nvSpPr>
        <p:spPr bwMode="auto">
          <a:xfrm flipH="1">
            <a:off x="1719262" y="3087687"/>
            <a:ext cx="96838" cy="0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4" name="Line 23"/>
          <p:cNvSpPr>
            <a:spLocks noChangeShapeType="1"/>
          </p:cNvSpPr>
          <p:nvPr/>
        </p:nvSpPr>
        <p:spPr bwMode="auto">
          <a:xfrm flipH="1">
            <a:off x="1719262" y="2309812"/>
            <a:ext cx="96838" cy="0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5" name="Rectangle 24"/>
          <p:cNvSpPr>
            <a:spLocks noChangeArrowheads="1"/>
          </p:cNvSpPr>
          <p:nvPr/>
        </p:nvSpPr>
        <p:spPr bwMode="auto">
          <a:xfrm>
            <a:off x="1616075" y="5557837"/>
            <a:ext cx="3778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3186112" y="5557837"/>
            <a:ext cx="6445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0.5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Rectangle 26"/>
          <p:cNvSpPr>
            <a:spLocks noChangeArrowheads="1"/>
          </p:cNvSpPr>
          <p:nvPr/>
        </p:nvSpPr>
        <p:spPr bwMode="auto">
          <a:xfrm>
            <a:off x="5024437" y="5557837"/>
            <a:ext cx="3778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1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6596062" y="5557837"/>
            <a:ext cx="6445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1.5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" name="Rectangle 28"/>
          <p:cNvSpPr>
            <a:spLocks noChangeArrowheads="1"/>
          </p:cNvSpPr>
          <p:nvPr/>
        </p:nvSpPr>
        <p:spPr bwMode="auto">
          <a:xfrm>
            <a:off x="8434387" y="5557837"/>
            <a:ext cx="3778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2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Rectangle 29"/>
          <p:cNvSpPr>
            <a:spLocks noChangeArrowheads="1"/>
          </p:cNvSpPr>
          <p:nvPr/>
        </p:nvSpPr>
        <p:spPr bwMode="auto">
          <a:xfrm>
            <a:off x="10006012" y="5557837"/>
            <a:ext cx="6445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2.5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>
            <a:spLocks noChangeArrowheads="1"/>
          </p:cNvSpPr>
          <p:nvPr/>
        </p:nvSpPr>
        <p:spPr bwMode="auto">
          <a:xfrm>
            <a:off x="1195387" y="5218112"/>
            <a:ext cx="3778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" name="Rectangle 31"/>
          <p:cNvSpPr>
            <a:spLocks noChangeArrowheads="1"/>
          </p:cNvSpPr>
          <p:nvPr/>
        </p:nvSpPr>
        <p:spPr bwMode="auto">
          <a:xfrm>
            <a:off x="1012825" y="4438650"/>
            <a:ext cx="56038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1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" name="Rectangle 32"/>
          <p:cNvSpPr>
            <a:spLocks noChangeArrowheads="1"/>
          </p:cNvSpPr>
          <p:nvPr/>
        </p:nvSpPr>
        <p:spPr bwMode="auto">
          <a:xfrm>
            <a:off x="1012825" y="3660775"/>
            <a:ext cx="56038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2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1012825" y="2881312"/>
            <a:ext cx="56038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3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" name="Rectangle 34"/>
          <p:cNvSpPr>
            <a:spLocks noChangeArrowheads="1"/>
          </p:cNvSpPr>
          <p:nvPr/>
        </p:nvSpPr>
        <p:spPr bwMode="auto">
          <a:xfrm>
            <a:off x="1012825" y="2103437"/>
            <a:ext cx="56038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4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Rectangle 35"/>
          <p:cNvSpPr>
            <a:spLocks noChangeArrowheads="1"/>
          </p:cNvSpPr>
          <p:nvPr/>
        </p:nvSpPr>
        <p:spPr bwMode="auto">
          <a:xfrm>
            <a:off x="4556124" y="5997574"/>
            <a:ext cx="30321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Years of Follow-up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Rectangle 36"/>
          <p:cNvSpPr>
            <a:spLocks noChangeArrowheads="1"/>
          </p:cNvSpPr>
          <p:nvPr/>
        </p:nvSpPr>
        <p:spPr bwMode="auto">
          <a:xfrm rot="16200000">
            <a:off x="-1439863" y="3605212"/>
            <a:ext cx="45053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Participants with Event (%) 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Freeform 37"/>
          <p:cNvSpPr>
            <a:spLocks/>
          </p:cNvSpPr>
          <p:nvPr/>
        </p:nvSpPr>
        <p:spPr bwMode="auto">
          <a:xfrm>
            <a:off x="1816100" y="4341812"/>
            <a:ext cx="6478588" cy="1082675"/>
          </a:xfrm>
          <a:custGeom>
            <a:avLst/>
            <a:gdLst>
              <a:gd name="T0" fmla="*/ 299 w 4081"/>
              <a:gd name="T1" fmla="*/ 674 h 682"/>
              <a:gd name="T2" fmla="*/ 391 w 4081"/>
              <a:gd name="T3" fmla="*/ 667 h 682"/>
              <a:gd name="T4" fmla="*/ 507 w 4081"/>
              <a:gd name="T5" fmla="*/ 659 h 682"/>
              <a:gd name="T6" fmla="*/ 652 w 4081"/>
              <a:gd name="T7" fmla="*/ 651 h 682"/>
              <a:gd name="T8" fmla="*/ 760 w 4081"/>
              <a:gd name="T9" fmla="*/ 651 h 682"/>
              <a:gd name="T10" fmla="*/ 875 w 4081"/>
              <a:gd name="T11" fmla="*/ 644 h 682"/>
              <a:gd name="T12" fmla="*/ 951 w 4081"/>
              <a:gd name="T13" fmla="*/ 636 h 682"/>
              <a:gd name="T14" fmla="*/ 1028 w 4081"/>
              <a:gd name="T15" fmla="*/ 621 h 682"/>
              <a:gd name="T16" fmla="*/ 1105 w 4081"/>
              <a:gd name="T17" fmla="*/ 605 h 682"/>
              <a:gd name="T18" fmla="*/ 1166 w 4081"/>
              <a:gd name="T19" fmla="*/ 598 h 682"/>
              <a:gd name="T20" fmla="*/ 1258 w 4081"/>
              <a:gd name="T21" fmla="*/ 590 h 682"/>
              <a:gd name="T22" fmla="*/ 1412 w 4081"/>
              <a:gd name="T23" fmla="*/ 590 h 682"/>
              <a:gd name="T24" fmla="*/ 1519 w 4081"/>
              <a:gd name="T25" fmla="*/ 582 h 682"/>
              <a:gd name="T26" fmla="*/ 1596 w 4081"/>
              <a:gd name="T27" fmla="*/ 575 h 682"/>
              <a:gd name="T28" fmla="*/ 1688 w 4081"/>
              <a:gd name="T29" fmla="*/ 567 h 682"/>
              <a:gd name="T30" fmla="*/ 1826 w 4081"/>
              <a:gd name="T31" fmla="*/ 559 h 682"/>
              <a:gd name="T32" fmla="*/ 1903 w 4081"/>
              <a:gd name="T33" fmla="*/ 559 h 682"/>
              <a:gd name="T34" fmla="*/ 1964 w 4081"/>
              <a:gd name="T35" fmla="*/ 544 h 682"/>
              <a:gd name="T36" fmla="*/ 2010 w 4081"/>
              <a:gd name="T37" fmla="*/ 521 h 682"/>
              <a:gd name="T38" fmla="*/ 2064 w 4081"/>
              <a:gd name="T39" fmla="*/ 506 h 682"/>
              <a:gd name="T40" fmla="*/ 2110 w 4081"/>
              <a:gd name="T41" fmla="*/ 483 h 682"/>
              <a:gd name="T42" fmla="*/ 2163 w 4081"/>
              <a:gd name="T43" fmla="*/ 460 h 682"/>
              <a:gd name="T44" fmla="*/ 2209 w 4081"/>
              <a:gd name="T45" fmla="*/ 444 h 682"/>
              <a:gd name="T46" fmla="*/ 2255 w 4081"/>
              <a:gd name="T47" fmla="*/ 437 h 682"/>
              <a:gd name="T48" fmla="*/ 2301 w 4081"/>
              <a:gd name="T49" fmla="*/ 429 h 682"/>
              <a:gd name="T50" fmla="*/ 2347 w 4081"/>
              <a:gd name="T51" fmla="*/ 429 h 682"/>
              <a:gd name="T52" fmla="*/ 2409 w 4081"/>
              <a:gd name="T53" fmla="*/ 421 h 682"/>
              <a:gd name="T54" fmla="*/ 2455 w 4081"/>
              <a:gd name="T55" fmla="*/ 414 h 682"/>
              <a:gd name="T56" fmla="*/ 2501 w 4081"/>
              <a:gd name="T57" fmla="*/ 398 h 682"/>
              <a:gd name="T58" fmla="*/ 2547 w 4081"/>
              <a:gd name="T59" fmla="*/ 398 h 682"/>
              <a:gd name="T60" fmla="*/ 2593 w 4081"/>
              <a:gd name="T61" fmla="*/ 398 h 682"/>
              <a:gd name="T62" fmla="*/ 2639 w 4081"/>
              <a:gd name="T63" fmla="*/ 391 h 682"/>
              <a:gd name="T64" fmla="*/ 2693 w 4081"/>
              <a:gd name="T65" fmla="*/ 383 h 682"/>
              <a:gd name="T66" fmla="*/ 2739 w 4081"/>
              <a:gd name="T67" fmla="*/ 375 h 682"/>
              <a:gd name="T68" fmla="*/ 2785 w 4081"/>
              <a:gd name="T69" fmla="*/ 368 h 682"/>
              <a:gd name="T70" fmla="*/ 2831 w 4081"/>
              <a:gd name="T71" fmla="*/ 368 h 682"/>
              <a:gd name="T72" fmla="*/ 2877 w 4081"/>
              <a:gd name="T73" fmla="*/ 360 h 682"/>
              <a:gd name="T74" fmla="*/ 2923 w 4081"/>
              <a:gd name="T75" fmla="*/ 360 h 682"/>
              <a:gd name="T76" fmla="*/ 2969 w 4081"/>
              <a:gd name="T77" fmla="*/ 337 h 682"/>
              <a:gd name="T78" fmla="*/ 3023 w 4081"/>
              <a:gd name="T79" fmla="*/ 329 h 682"/>
              <a:gd name="T80" fmla="*/ 3069 w 4081"/>
              <a:gd name="T81" fmla="*/ 306 h 682"/>
              <a:gd name="T82" fmla="*/ 3115 w 4081"/>
              <a:gd name="T83" fmla="*/ 283 h 682"/>
              <a:gd name="T84" fmla="*/ 3161 w 4081"/>
              <a:gd name="T85" fmla="*/ 260 h 682"/>
              <a:gd name="T86" fmla="*/ 3207 w 4081"/>
              <a:gd name="T87" fmla="*/ 237 h 682"/>
              <a:gd name="T88" fmla="*/ 3253 w 4081"/>
              <a:gd name="T89" fmla="*/ 222 h 682"/>
              <a:gd name="T90" fmla="*/ 3299 w 4081"/>
              <a:gd name="T91" fmla="*/ 184 h 682"/>
              <a:gd name="T92" fmla="*/ 3345 w 4081"/>
              <a:gd name="T93" fmla="*/ 153 h 682"/>
              <a:gd name="T94" fmla="*/ 3398 w 4081"/>
              <a:gd name="T95" fmla="*/ 138 h 682"/>
              <a:gd name="T96" fmla="*/ 3444 w 4081"/>
              <a:gd name="T97" fmla="*/ 122 h 682"/>
              <a:gd name="T98" fmla="*/ 3490 w 4081"/>
              <a:gd name="T99" fmla="*/ 115 h 682"/>
              <a:gd name="T100" fmla="*/ 3536 w 4081"/>
              <a:gd name="T101" fmla="*/ 99 h 682"/>
              <a:gd name="T102" fmla="*/ 3582 w 4081"/>
              <a:gd name="T103" fmla="*/ 84 h 682"/>
              <a:gd name="T104" fmla="*/ 3629 w 4081"/>
              <a:gd name="T105" fmla="*/ 84 h 682"/>
              <a:gd name="T106" fmla="*/ 3675 w 4081"/>
              <a:gd name="T107" fmla="*/ 76 h 682"/>
              <a:gd name="T108" fmla="*/ 3728 w 4081"/>
              <a:gd name="T109" fmla="*/ 69 h 682"/>
              <a:gd name="T110" fmla="*/ 3774 w 4081"/>
              <a:gd name="T111" fmla="*/ 61 h 682"/>
              <a:gd name="T112" fmla="*/ 3820 w 4081"/>
              <a:gd name="T113" fmla="*/ 46 h 682"/>
              <a:gd name="T114" fmla="*/ 3866 w 4081"/>
              <a:gd name="T115" fmla="*/ 38 h 682"/>
              <a:gd name="T116" fmla="*/ 3912 w 4081"/>
              <a:gd name="T117" fmla="*/ 30 h 682"/>
              <a:gd name="T118" fmla="*/ 3958 w 4081"/>
              <a:gd name="T119" fmla="*/ 15 h 682"/>
              <a:gd name="T120" fmla="*/ 4004 w 4081"/>
              <a:gd name="T121" fmla="*/ 15 h 682"/>
              <a:gd name="T122" fmla="*/ 4058 w 4081"/>
              <a:gd name="T123" fmla="*/ 7 h 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081" h="682">
                <a:moveTo>
                  <a:pt x="0" y="682"/>
                </a:moveTo>
                <a:lnTo>
                  <a:pt x="108" y="682"/>
                </a:lnTo>
                <a:lnTo>
                  <a:pt x="108" y="674"/>
                </a:lnTo>
                <a:lnTo>
                  <a:pt x="177" y="674"/>
                </a:lnTo>
                <a:lnTo>
                  <a:pt x="177" y="674"/>
                </a:lnTo>
                <a:lnTo>
                  <a:pt x="223" y="674"/>
                </a:lnTo>
                <a:lnTo>
                  <a:pt x="223" y="674"/>
                </a:lnTo>
                <a:lnTo>
                  <a:pt x="230" y="674"/>
                </a:lnTo>
                <a:lnTo>
                  <a:pt x="230" y="674"/>
                </a:lnTo>
                <a:lnTo>
                  <a:pt x="246" y="674"/>
                </a:lnTo>
                <a:lnTo>
                  <a:pt x="246" y="674"/>
                </a:lnTo>
                <a:lnTo>
                  <a:pt x="253" y="674"/>
                </a:lnTo>
                <a:lnTo>
                  <a:pt x="253" y="674"/>
                </a:lnTo>
                <a:lnTo>
                  <a:pt x="269" y="674"/>
                </a:lnTo>
                <a:lnTo>
                  <a:pt x="269" y="674"/>
                </a:lnTo>
                <a:lnTo>
                  <a:pt x="299" y="674"/>
                </a:lnTo>
                <a:lnTo>
                  <a:pt x="299" y="674"/>
                </a:lnTo>
                <a:lnTo>
                  <a:pt x="322" y="674"/>
                </a:lnTo>
                <a:lnTo>
                  <a:pt x="322" y="674"/>
                </a:lnTo>
                <a:lnTo>
                  <a:pt x="330" y="674"/>
                </a:lnTo>
                <a:lnTo>
                  <a:pt x="330" y="674"/>
                </a:lnTo>
                <a:lnTo>
                  <a:pt x="353" y="674"/>
                </a:lnTo>
                <a:lnTo>
                  <a:pt x="353" y="674"/>
                </a:lnTo>
                <a:lnTo>
                  <a:pt x="368" y="674"/>
                </a:lnTo>
                <a:lnTo>
                  <a:pt x="368" y="667"/>
                </a:lnTo>
                <a:lnTo>
                  <a:pt x="376" y="667"/>
                </a:lnTo>
                <a:lnTo>
                  <a:pt x="376" y="667"/>
                </a:lnTo>
                <a:lnTo>
                  <a:pt x="376" y="667"/>
                </a:lnTo>
                <a:lnTo>
                  <a:pt x="376" y="667"/>
                </a:lnTo>
                <a:lnTo>
                  <a:pt x="384" y="667"/>
                </a:lnTo>
                <a:lnTo>
                  <a:pt x="384" y="667"/>
                </a:lnTo>
                <a:lnTo>
                  <a:pt x="391" y="667"/>
                </a:lnTo>
                <a:lnTo>
                  <a:pt x="391" y="659"/>
                </a:lnTo>
                <a:lnTo>
                  <a:pt x="399" y="659"/>
                </a:lnTo>
                <a:lnTo>
                  <a:pt x="399" y="659"/>
                </a:lnTo>
                <a:lnTo>
                  <a:pt x="399" y="659"/>
                </a:lnTo>
                <a:lnTo>
                  <a:pt x="399" y="659"/>
                </a:lnTo>
                <a:lnTo>
                  <a:pt x="430" y="659"/>
                </a:lnTo>
                <a:lnTo>
                  <a:pt x="430" y="659"/>
                </a:lnTo>
                <a:lnTo>
                  <a:pt x="437" y="659"/>
                </a:lnTo>
                <a:lnTo>
                  <a:pt x="437" y="659"/>
                </a:lnTo>
                <a:lnTo>
                  <a:pt x="445" y="659"/>
                </a:lnTo>
                <a:lnTo>
                  <a:pt x="445" y="659"/>
                </a:lnTo>
                <a:lnTo>
                  <a:pt x="483" y="659"/>
                </a:lnTo>
                <a:lnTo>
                  <a:pt x="483" y="659"/>
                </a:lnTo>
                <a:lnTo>
                  <a:pt x="507" y="659"/>
                </a:lnTo>
                <a:lnTo>
                  <a:pt x="507" y="659"/>
                </a:lnTo>
                <a:lnTo>
                  <a:pt x="507" y="659"/>
                </a:lnTo>
                <a:lnTo>
                  <a:pt x="507" y="659"/>
                </a:lnTo>
                <a:lnTo>
                  <a:pt x="576" y="659"/>
                </a:lnTo>
                <a:lnTo>
                  <a:pt x="576" y="651"/>
                </a:lnTo>
                <a:lnTo>
                  <a:pt x="583" y="651"/>
                </a:lnTo>
                <a:lnTo>
                  <a:pt x="583" y="651"/>
                </a:lnTo>
                <a:lnTo>
                  <a:pt x="599" y="651"/>
                </a:lnTo>
                <a:lnTo>
                  <a:pt x="599" y="651"/>
                </a:lnTo>
                <a:lnTo>
                  <a:pt x="622" y="651"/>
                </a:lnTo>
                <a:lnTo>
                  <a:pt x="622" y="651"/>
                </a:lnTo>
                <a:lnTo>
                  <a:pt x="629" y="651"/>
                </a:lnTo>
                <a:lnTo>
                  <a:pt x="629" y="651"/>
                </a:lnTo>
                <a:lnTo>
                  <a:pt x="645" y="651"/>
                </a:lnTo>
                <a:lnTo>
                  <a:pt x="645" y="651"/>
                </a:lnTo>
                <a:lnTo>
                  <a:pt x="652" y="651"/>
                </a:lnTo>
                <a:lnTo>
                  <a:pt x="652" y="651"/>
                </a:lnTo>
                <a:lnTo>
                  <a:pt x="652" y="651"/>
                </a:lnTo>
                <a:lnTo>
                  <a:pt x="652" y="651"/>
                </a:lnTo>
                <a:lnTo>
                  <a:pt x="675" y="651"/>
                </a:lnTo>
                <a:lnTo>
                  <a:pt x="675" y="651"/>
                </a:lnTo>
                <a:lnTo>
                  <a:pt x="706" y="651"/>
                </a:lnTo>
                <a:lnTo>
                  <a:pt x="706" y="651"/>
                </a:lnTo>
                <a:lnTo>
                  <a:pt x="714" y="651"/>
                </a:lnTo>
                <a:lnTo>
                  <a:pt x="714" y="651"/>
                </a:lnTo>
                <a:lnTo>
                  <a:pt x="721" y="651"/>
                </a:lnTo>
                <a:lnTo>
                  <a:pt x="721" y="651"/>
                </a:lnTo>
                <a:lnTo>
                  <a:pt x="744" y="651"/>
                </a:lnTo>
                <a:lnTo>
                  <a:pt x="744" y="651"/>
                </a:lnTo>
                <a:lnTo>
                  <a:pt x="752" y="651"/>
                </a:lnTo>
                <a:lnTo>
                  <a:pt x="752" y="651"/>
                </a:lnTo>
                <a:lnTo>
                  <a:pt x="752" y="651"/>
                </a:lnTo>
                <a:lnTo>
                  <a:pt x="752" y="651"/>
                </a:lnTo>
                <a:lnTo>
                  <a:pt x="760" y="651"/>
                </a:lnTo>
                <a:lnTo>
                  <a:pt x="760" y="644"/>
                </a:lnTo>
                <a:lnTo>
                  <a:pt x="775" y="644"/>
                </a:lnTo>
                <a:lnTo>
                  <a:pt x="775" y="644"/>
                </a:lnTo>
                <a:lnTo>
                  <a:pt x="783" y="644"/>
                </a:lnTo>
                <a:lnTo>
                  <a:pt x="783" y="644"/>
                </a:lnTo>
                <a:lnTo>
                  <a:pt x="783" y="644"/>
                </a:lnTo>
                <a:lnTo>
                  <a:pt x="783" y="644"/>
                </a:lnTo>
                <a:lnTo>
                  <a:pt x="813" y="644"/>
                </a:lnTo>
                <a:lnTo>
                  <a:pt x="813" y="644"/>
                </a:lnTo>
                <a:lnTo>
                  <a:pt x="829" y="644"/>
                </a:lnTo>
                <a:lnTo>
                  <a:pt x="829" y="644"/>
                </a:lnTo>
                <a:lnTo>
                  <a:pt x="852" y="644"/>
                </a:lnTo>
                <a:lnTo>
                  <a:pt x="852" y="644"/>
                </a:lnTo>
                <a:lnTo>
                  <a:pt x="859" y="644"/>
                </a:lnTo>
                <a:lnTo>
                  <a:pt x="859" y="644"/>
                </a:lnTo>
                <a:lnTo>
                  <a:pt x="875" y="644"/>
                </a:lnTo>
                <a:lnTo>
                  <a:pt x="875" y="644"/>
                </a:lnTo>
                <a:lnTo>
                  <a:pt x="882" y="644"/>
                </a:lnTo>
                <a:lnTo>
                  <a:pt x="882" y="644"/>
                </a:lnTo>
                <a:lnTo>
                  <a:pt x="890" y="644"/>
                </a:lnTo>
                <a:lnTo>
                  <a:pt x="890" y="644"/>
                </a:lnTo>
                <a:lnTo>
                  <a:pt x="905" y="644"/>
                </a:lnTo>
                <a:lnTo>
                  <a:pt x="905" y="636"/>
                </a:lnTo>
                <a:lnTo>
                  <a:pt x="905" y="636"/>
                </a:lnTo>
                <a:lnTo>
                  <a:pt x="905" y="636"/>
                </a:lnTo>
                <a:lnTo>
                  <a:pt x="913" y="636"/>
                </a:lnTo>
                <a:lnTo>
                  <a:pt x="913" y="636"/>
                </a:lnTo>
                <a:lnTo>
                  <a:pt x="921" y="636"/>
                </a:lnTo>
                <a:lnTo>
                  <a:pt x="921" y="636"/>
                </a:lnTo>
                <a:lnTo>
                  <a:pt x="928" y="636"/>
                </a:lnTo>
                <a:lnTo>
                  <a:pt x="928" y="636"/>
                </a:lnTo>
                <a:lnTo>
                  <a:pt x="951" y="636"/>
                </a:lnTo>
                <a:lnTo>
                  <a:pt x="951" y="636"/>
                </a:lnTo>
                <a:lnTo>
                  <a:pt x="959" y="636"/>
                </a:lnTo>
                <a:lnTo>
                  <a:pt x="959" y="636"/>
                </a:lnTo>
                <a:lnTo>
                  <a:pt x="974" y="636"/>
                </a:lnTo>
                <a:lnTo>
                  <a:pt x="974" y="628"/>
                </a:lnTo>
                <a:lnTo>
                  <a:pt x="982" y="628"/>
                </a:lnTo>
                <a:lnTo>
                  <a:pt x="982" y="628"/>
                </a:lnTo>
                <a:lnTo>
                  <a:pt x="982" y="628"/>
                </a:lnTo>
                <a:lnTo>
                  <a:pt x="982" y="628"/>
                </a:lnTo>
                <a:lnTo>
                  <a:pt x="990" y="628"/>
                </a:lnTo>
                <a:lnTo>
                  <a:pt x="990" y="628"/>
                </a:lnTo>
                <a:lnTo>
                  <a:pt x="1005" y="628"/>
                </a:lnTo>
                <a:lnTo>
                  <a:pt x="1005" y="621"/>
                </a:lnTo>
                <a:lnTo>
                  <a:pt x="1020" y="621"/>
                </a:lnTo>
                <a:lnTo>
                  <a:pt x="1020" y="621"/>
                </a:lnTo>
                <a:lnTo>
                  <a:pt x="1028" y="621"/>
                </a:lnTo>
                <a:lnTo>
                  <a:pt x="1028" y="621"/>
                </a:lnTo>
                <a:lnTo>
                  <a:pt x="1028" y="621"/>
                </a:lnTo>
                <a:lnTo>
                  <a:pt x="1028" y="621"/>
                </a:lnTo>
                <a:lnTo>
                  <a:pt x="1036" y="621"/>
                </a:lnTo>
                <a:lnTo>
                  <a:pt x="1036" y="621"/>
                </a:lnTo>
                <a:lnTo>
                  <a:pt x="1043" y="621"/>
                </a:lnTo>
                <a:lnTo>
                  <a:pt x="1043" y="613"/>
                </a:lnTo>
                <a:lnTo>
                  <a:pt x="1059" y="613"/>
                </a:lnTo>
                <a:lnTo>
                  <a:pt x="1059" y="613"/>
                </a:lnTo>
                <a:lnTo>
                  <a:pt x="1066" y="613"/>
                </a:lnTo>
                <a:lnTo>
                  <a:pt x="1066" y="613"/>
                </a:lnTo>
                <a:lnTo>
                  <a:pt x="1074" y="613"/>
                </a:lnTo>
                <a:lnTo>
                  <a:pt x="1074" y="605"/>
                </a:lnTo>
                <a:lnTo>
                  <a:pt x="1082" y="605"/>
                </a:lnTo>
                <a:lnTo>
                  <a:pt x="1082" y="605"/>
                </a:lnTo>
                <a:lnTo>
                  <a:pt x="1105" y="605"/>
                </a:lnTo>
                <a:lnTo>
                  <a:pt x="1105" y="605"/>
                </a:lnTo>
                <a:lnTo>
                  <a:pt x="1105" y="605"/>
                </a:lnTo>
                <a:lnTo>
                  <a:pt x="1105" y="605"/>
                </a:lnTo>
                <a:lnTo>
                  <a:pt x="1128" y="605"/>
                </a:lnTo>
                <a:lnTo>
                  <a:pt x="1128" y="605"/>
                </a:lnTo>
                <a:lnTo>
                  <a:pt x="1136" y="605"/>
                </a:lnTo>
                <a:lnTo>
                  <a:pt x="1136" y="605"/>
                </a:lnTo>
                <a:lnTo>
                  <a:pt x="1143" y="605"/>
                </a:lnTo>
                <a:lnTo>
                  <a:pt x="1143" y="605"/>
                </a:lnTo>
                <a:lnTo>
                  <a:pt x="1151" y="605"/>
                </a:lnTo>
                <a:lnTo>
                  <a:pt x="1151" y="598"/>
                </a:lnTo>
                <a:lnTo>
                  <a:pt x="1159" y="598"/>
                </a:lnTo>
                <a:lnTo>
                  <a:pt x="1159" y="598"/>
                </a:lnTo>
                <a:lnTo>
                  <a:pt x="1159" y="598"/>
                </a:lnTo>
                <a:lnTo>
                  <a:pt x="1159" y="598"/>
                </a:lnTo>
                <a:lnTo>
                  <a:pt x="1166" y="598"/>
                </a:lnTo>
                <a:lnTo>
                  <a:pt x="1166" y="598"/>
                </a:lnTo>
                <a:lnTo>
                  <a:pt x="1182" y="598"/>
                </a:lnTo>
                <a:lnTo>
                  <a:pt x="1182" y="598"/>
                </a:lnTo>
                <a:lnTo>
                  <a:pt x="1197" y="598"/>
                </a:lnTo>
                <a:lnTo>
                  <a:pt x="1197" y="590"/>
                </a:lnTo>
                <a:lnTo>
                  <a:pt x="1205" y="590"/>
                </a:lnTo>
                <a:lnTo>
                  <a:pt x="1205" y="590"/>
                </a:lnTo>
                <a:lnTo>
                  <a:pt x="1205" y="590"/>
                </a:lnTo>
                <a:lnTo>
                  <a:pt x="1205" y="590"/>
                </a:lnTo>
                <a:lnTo>
                  <a:pt x="1220" y="590"/>
                </a:lnTo>
                <a:lnTo>
                  <a:pt x="1220" y="590"/>
                </a:lnTo>
                <a:lnTo>
                  <a:pt x="1228" y="590"/>
                </a:lnTo>
                <a:lnTo>
                  <a:pt x="1228" y="590"/>
                </a:lnTo>
                <a:lnTo>
                  <a:pt x="1235" y="590"/>
                </a:lnTo>
                <a:lnTo>
                  <a:pt x="1235" y="590"/>
                </a:lnTo>
                <a:lnTo>
                  <a:pt x="1258" y="590"/>
                </a:lnTo>
                <a:lnTo>
                  <a:pt x="1258" y="590"/>
                </a:lnTo>
                <a:lnTo>
                  <a:pt x="1289" y="590"/>
                </a:lnTo>
                <a:lnTo>
                  <a:pt x="1289" y="590"/>
                </a:lnTo>
                <a:lnTo>
                  <a:pt x="1304" y="590"/>
                </a:lnTo>
                <a:lnTo>
                  <a:pt x="1304" y="590"/>
                </a:lnTo>
                <a:lnTo>
                  <a:pt x="1335" y="590"/>
                </a:lnTo>
                <a:lnTo>
                  <a:pt x="1335" y="590"/>
                </a:lnTo>
                <a:lnTo>
                  <a:pt x="1350" y="590"/>
                </a:lnTo>
                <a:lnTo>
                  <a:pt x="1350" y="590"/>
                </a:lnTo>
                <a:lnTo>
                  <a:pt x="1358" y="590"/>
                </a:lnTo>
                <a:lnTo>
                  <a:pt x="1358" y="590"/>
                </a:lnTo>
                <a:lnTo>
                  <a:pt x="1358" y="590"/>
                </a:lnTo>
                <a:lnTo>
                  <a:pt x="1358" y="590"/>
                </a:lnTo>
                <a:lnTo>
                  <a:pt x="1404" y="590"/>
                </a:lnTo>
                <a:lnTo>
                  <a:pt x="1404" y="590"/>
                </a:lnTo>
                <a:lnTo>
                  <a:pt x="1412" y="590"/>
                </a:lnTo>
                <a:lnTo>
                  <a:pt x="1412" y="590"/>
                </a:lnTo>
                <a:lnTo>
                  <a:pt x="1419" y="590"/>
                </a:lnTo>
                <a:lnTo>
                  <a:pt x="1419" y="590"/>
                </a:lnTo>
                <a:lnTo>
                  <a:pt x="1442" y="590"/>
                </a:lnTo>
                <a:lnTo>
                  <a:pt x="1442" y="590"/>
                </a:lnTo>
                <a:lnTo>
                  <a:pt x="1458" y="590"/>
                </a:lnTo>
                <a:lnTo>
                  <a:pt x="1458" y="582"/>
                </a:lnTo>
                <a:lnTo>
                  <a:pt x="1458" y="582"/>
                </a:lnTo>
                <a:lnTo>
                  <a:pt x="1458" y="582"/>
                </a:lnTo>
                <a:lnTo>
                  <a:pt x="1496" y="582"/>
                </a:lnTo>
                <a:lnTo>
                  <a:pt x="1496" y="582"/>
                </a:lnTo>
                <a:lnTo>
                  <a:pt x="1511" y="582"/>
                </a:lnTo>
                <a:lnTo>
                  <a:pt x="1511" y="582"/>
                </a:lnTo>
                <a:lnTo>
                  <a:pt x="1511" y="582"/>
                </a:lnTo>
                <a:lnTo>
                  <a:pt x="1511" y="582"/>
                </a:lnTo>
                <a:lnTo>
                  <a:pt x="1519" y="582"/>
                </a:lnTo>
                <a:lnTo>
                  <a:pt x="1519" y="582"/>
                </a:lnTo>
                <a:lnTo>
                  <a:pt x="1534" y="582"/>
                </a:lnTo>
                <a:lnTo>
                  <a:pt x="1534" y="582"/>
                </a:lnTo>
                <a:lnTo>
                  <a:pt x="1542" y="582"/>
                </a:lnTo>
                <a:lnTo>
                  <a:pt x="1542" y="582"/>
                </a:lnTo>
                <a:lnTo>
                  <a:pt x="1550" y="582"/>
                </a:lnTo>
                <a:lnTo>
                  <a:pt x="1550" y="582"/>
                </a:lnTo>
                <a:lnTo>
                  <a:pt x="1557" y="582"/>
                </a:lnTo>
                <a:lnTo>
                  <a:pt x="1557" y="575"/>
                </a:lnTo>
                <a:lnTo>
                  <a:pt x="1557" y="575"/>
                </a:lnTo>
                <a:lnTo>
                  <a:pt x="1557" y="575"/>
                </a:lnTo>
                <a:lnTo>
                  <a:pt x="1573" y="575"/>
                </a:lnTo>
                <a:lnTo>
                  <a:pt x="1573" y="575"/>
                </a:lnTo>
                <a:lnTo>
                  <a:pt x="1588" y="575"/>
                </a:lnTo>
                <a:lnTo>
                  <a:pt x="1588" y="575"/>
                </a:lnTo>
                <a:lnTo>
                  <a:pt x="1596" y="575"/>
                </a:lnTo>
                <a:lnTo>
                  <a:pt x="1596" y="567"/>
                </a:lnTo>
                <a:lnTo>
                  <a:pt x="1603" y="567"/>
                </a:lnTo>
                <a:lnTo>
                  <a:pt x="1603" y="567"/>
                </a:lnTo>
                <a:lnTo>
                  <a:pt x="1611" y="567"/>
                </a:lnTo>
                <a:lnTo>
                  <a:pt x="1611" y="567"/>
                </a:lnTo>
                <a:lnTo>
                  <a:pt x="1611" y="567"/>
                </a:lnTo>
                <a:lnTo>
                  <a:pt x="1611" y="567"/>
                </a:lnTo>
                <a:lnTo>
                  <a:pt x="1619" y="567"/>
                </a:lnTo>
                <a:lnTo>
                  <a:pt x="1619" y="567"/>
                </a:lnTo>
                <a:lnTo>
                  <a:pt x="1657" y="567"/>
                </a:lnTo>
                <a:lnTo>
                  <a:pt x="1657" y="567"/>
                </a:lnTo>
                <a:lnTo>
                  <a:pt x="1665" y="567"/>
                </a:lnTo>
                <a:lnTo>
                  <a:pt x="1665" y="567"/>
                </a:lnTo>
                <a:lnTo>
                  <a:pt x="1688" y="567"/>
                </a:lnTo>
                <a:lnTo>
                  <a:pt x="1688" y="567"/>
                </a:lnTo>
                <a:lnTo>
                  <a:pt x="1688" y="567"/>
                </a:lnTo>
                <a:lnTo>
                  <a:pt x="1688" y="567"/>
                </a:lnTo>
                <a:lnTo>
                  <a:pt x="1711" y="567"/>
                </a:lnTo>
                <a:lnTo>
                  <a:pt x="1711" y="567"/>
                </a:lnTo>
                <a:lnTo>
                  <a:pt x="1711" y="567"/>
                </a:lnTo>
                <a:lnTo>
                  <a:pt x="1711" y="567"/>
                </a:lnTo>
                <a:lnTo>
                  <a:pt x="1742" y="567"/>
                </a:lnTo>
                <a:lnTo>
                  <a:pt x="1742" y="559"/>
                </a:lnTo>
                <a:lnTo>
                  <a:pt x="1765" y="559"/>
                </a:lnTo>
                <a:lnTo>
                  <a:pt x="1765" y="559"/>
                </a:lnTo>
                <a:lnTo>
                  <a:pt x="1788" y="559"/>
                </a:lnTo>
                <a:lnTo>
                  <a:pt x="1788" y="559"/>
                </a:lnTo>
                <a:lnTo>
                  <a:pt x="1811" y="559"/>
                </a:lnTo>
                <a:lnTo>
                  <a:pt x="1811" y="559"/>
                </a:lnTo>
                <a:lnTo>
                  <a:pt x="1818" y="559"/>
                </a:lnTo>
                <a:lnTo>
                  <a:pt x="1818" y="559"/>
                </a:lnTo>
                <a:lnTo>
                  <a:pt x="1826" y="559"/>
                </a:lnTo>
                <a:lnTo>
                  <a:pt x="1826" y="559"/>
                </a:lnTo>
                <a:lnTo>
                  <a:pt x="1834" y="559"/>
                </a:lnTo>
                <a:lnTo>
                  <a:pt x="1834" y="559"/>
                </a:lnTo>
                <a:lnTo>
                  <a:pt x="1864" y="559"/>
                </a:lnTo>
                <a:lnTo>
                  <a:pt x="1864" y="559"/>
                </a:lnTo>
                <a:lnTo>
                  <a:pt x="1864" y="559"/>
                </a:lnTo>
                <a:lnTo>
                  <a:pt x="1864" y="559"/>
                </a:lnTo>
                <a:lnTo>
                  <a:pt x="1872" y="559"/>
                </a:lnTo>
                <a:lnTo>
                  <a:pt x="1872" y="559"/>
                </a:lnTo>
                <a:lnTo>
                  <a:pt x="1887" y="559"/>
                </a:lnTo>
                <a:lnTo>
                  <a:pt x="1887" y="559"/>
                </a:lnTo>
                <a:lnTo>
                  <a:pt x="1887" y="559"/>
                </a:lnTo>
                <a:lnTo>
                  <a:pt x="1887" y="559"/>
                </a:lnTo>
                <a:lnTo>
                  <a:pt x="1895" y="559"/>
                </a:lnTo>
                <a:lnTo>
                  <a:pt x="1895" y="559"/>
                </a:lnTo>
                <a:lnTo>
                  <a:pt x="1903" y="559"/>
                </a:lnTo>
                <a:lnTo>
                  <a:pt x="1903" y="552"/>
                </a:lnTo>
                <a:lnTo>
                  <a:pt x="1910" y="552"/>
                </a:lnTo>
                <a:lnTo>
                  <a:pt x="1910" y="552"/>
                </a:lnTo>
                <a:lnTo>
                  <a:pt x="1910" y="552"/>
                </a:lnTo>
                <a:lnTo>
                  <a:pt x="1910" y="552"/>
                </a:lnTo>
                <a:lnTo>
                  <a:pt x="1941" y="552"/>
                </a:lnTo>
                <a:lnTo>
                  <a:pt x="1941" y="552"/>
                </a:lnTo>
                <a:lnTo>
                  <a:pt x="1941" y="552"/>
                </a:lnTo>
                <a:lnTo>
                  <a:pt x="1941" y="544"/>
                </a:lnTo>
                <a:lnTo>
                  <a:pt x="1949" y="544"/>
                </a:lnTo>
                <a:lnTo>
                  <a:pt x="1949" y="544"/>
                </a:lnTo>
                <a:lnTo>
                  <a:pt x="1956" y="544"/>
                </a:lnTo>
                <a:lnTo>
                  <a:pt x="1956" y="544"/>
                </a:lnTo>
                <a:lnTo>
                  <a:pt x="1964" y="544"/>
                </a:lnTo>
                <a:lnTo>
                  <a:pt x="1964" y="544"/>
                </a:lnTo>
                <a:lnTo>
                  <a:pt x="1964" y="544"/>
                </a:lnTo>
                <a:lnTo>
                  <a:pt x="1964" y="544"/>
                </a:lnTo>
                <a:lnTo>
                  <a:pt x="1972" y="544"/>
                </a:lnTo>
                <a:lnTo>
                  <a:pt x="1972" y="544"/>
                </a:lnTo>
                <a:lnTo>
                  <a:pt x="1979" y="544"/>
                </a:lnTo>
                <a:lnTo>
                  <a:pt x="1979" y="529"/>
                </a:lnTo>
                <a:lnTo>
                  <a:pt x="1987" y="529"/>
                </a:lnTo>
                <a:lnTo>
                  <a:pt x="1987" y="529"/>
                </a:lnTo>
                <a:lnTo>
                  <a:pt x="1987" y="529"/>
                </a:lnTo>
                <a:lnTo>
                  <a:pt x="1987" y="521"/>
                </a:lnTo>
                <a:lnTo>
                  <a:pt x="1995" y="521"/>
                </a:lnTo>
                <a:lnTo>
                  <a:pt x="1995" y="521"/>
                </a:lnTo>
                <a:lnTo>
                  <a:pt x="2002" y="521"/>
                </a:lnTo>
                <a:lnTo>
                  <a:pt x="2002" y="521"/>
                </a:lnTo>
                <a:lnTo>
                  <a:pt x="2010" y="521"/>
                </a:lnTo>
                <a:lnTo>
                  <a:pt x="2010" y="521"/>
                </a:lnTo>
                <a:lnTo>
                  <a:pt x="2010" y="521"/>
                </a:lnTo>
                <a:lnTo>
                  <a:pt x="2010" y="521"/>
                </a:lnTo>
                <a:lnTo>
                  <a:pt x="2018" y="521"/>
                </a:lnTo>
                <a:lnTo>
                  <a:pt x="2018" y="513"/>
                </a:lnTo>
                <a:lnTo>
                  <a:pt x="2025" y="513"/>
                </a:lnTo>
                <a:lnTo>
                  <a:pt x="2025" y="513"/>
                </a:lnTo>
                <a:lnTo>
                  <a:pt x="2033" y="513"/>
                </a:lnTo>
                <a:lnTo>
                  <a:pt x="2033" y="513"/>
                </a:lnTo>
                <a:lnTo>
                  <a:pt x="2041" y="513"/>
                </a:lnTo>
                <a:lnTo>
                  <a:pt x="2041" y="513"/>
                </a:lnTo>
                <a:lnTo>
                  <a:pt x="2041" y="513"/>
                </a:lnTo>
                <a:lnTo>
                  <a:pt x="2041" y="513"/>
                </a:lnTo>
                <a:lnTo>
                  <a:pt x="2048" y="513"/>
                </a:lnTo>
                <a:lnTo>
                  <a:pt x="2048" y="506"/>
                </a:lnTo>
                <a:lnTo>
                  <a:pt x="2056" y="506"/>
                </a:lnTo>
                <a:lnTo>
                  <a:pt x="2056" y="506"/>
                </a:lnTo>
                <a:lnTo>
                  <a:pt x="2064" y="506"/>
                </a:lnTo>
                <a:lnTo>
                  <a:pt x="2064" y="506"/>
                </a:lnTo>
                <a:lnTo>
                  <a:pt x="2064" y="506"/>
                </a:lnTo>
                <a:lnTo>
                  <a:pt x="2064" y="498"/>
                </a:lnTo>
                <a:lnTo>
                  <a:pt x="2071" y="498"/>
                </a:lnTo>
                <a:lnTo>
                  <a:pt x="2071" y="498"/>
                </a:lnTo>
                <a:lnTo>
                  <a:pt x="2079" y="498"/>
                </a:lnTo>
                <a:lnTo>
                  <a:pt x="2079" y="498"/>
                </a:lnTo>
                <a:lnTo>
                  <a:pt x="2087" y="498"/>
                </a:lnTo>
                <a:lnTo>
                  <a:pt x="2087" y="498"/>
                </a:lnTo>
                <a:lnTo>
                  <a:pt x="2087" y="498"/>
                </a:lnTo>
                <a:lnTo>
                  <a:pt x="2087" y="498"/>
                </a:lnTo>
                <a:lnTo>
                  <a:pt x="2094" y="498"/>
                </a:lnTo>
                <a:lnTo>
                  <a:pt x="2094" y="490"/>
                </a:lnTo>
                <a:lnTo>
                  <a:pt x="2102" y="490"/>
                </a:lnTo>
                <a:lnTo>
                  <a:pt x="2102" y="483"/>
                </a:lnTo>
                <a:lnTo>
                  <a:pt x="2110" y="483"/>
                </a:lnTo>
                <a:lnTo>
                  <a:pt x="2110" y="483"/>
                </a:lnTo>
                <a:lnTo>
                  <a:pt x="2117" y="483"/>
                </a:lnTo>
                <a:lnTo>
                  <a:pt x="2117" y="483"/>
                </a:lnTo>
                <a:lnTo>
                  <a:pt x="2117" y="483"/>
                </a:lnTo>
                <a:lnTo>
                  <a:pt x="2117" y="475"/>
                </a:lnTo>
                <a:lnTo>
                  <a:pt x="2125" y="475"/>
                </a:lnTo>
                <a:lnTo>
                  <a:pt x="2125" y="475"/>
                </a:lnTo>
                <a:lnTo>
                  <a:pt x="2140" y="475"/>
                </a:lnTo>
                <a:lnTo>
                  <a:pt x="2140" y="475"/>
                </a:lnTo>
                <a:lnTo>
                  <a:pt x="2140" y="475"/>
                </a:lnTo>
                <a:lnTo>
                  <a:pt x="2140" y="460"/>
                </a:lnTo>
                <a:lnTo>
                  <a:pt x="2148" y="460"/>
                </a:lnTo>
                <a:lnTo>
                  <a:pt x="2148" y="460"/>
                </a:lnTo>
                <a:lnTo>
                  <a:pt x="2156" y="460"/>
                </a:lnTo>
                <a:lnTo>
                  <a:pt x="2156" y="460"/>
                </a:lnTo>
                <a:lnTo>
                  <a:pt x="2163" y="460"/>
                </a:lnTo>
                <a:lnTo>
                  <a:pt x="2163" y="460"/>
                </a:lnTo>
                <a:lnTo>
                  <a:pt x="2163" y="460"/>
                </a:lnTo>
                <a:lnTo>
                  <a:pt x="2163" y="460"/>
                </a:lnTo>
                <a:lnTo>
                  <a:pt x="2171" y="460"/>
                </a:lnTo>
                <a:lnTo>
                  <a:pt x="2171" y="460"/>
                </a:lnTo>
                <a:lnTo>
                  <a:pt x="2179" y="460"/>
                </a:lnTo>
                <a:lnTo>
                  <a:pt x="2179" y="452"/>
                </a:lnTo>
                <a:lnTo>
                  <a:pt x="2186" y="452"/>
                </a:lnTo>
                <a:lnTo>
                  <a:pt x="2186" y="452"/>
                </a:lnTo>
                <a:lnTo>
                  <a:pt x="2186" y="452"/>
                </a:lnTo>
                <a:lnTo>
                  <a:pt x="2186" y="444"/>
                </a:lnTo>
                <a:lnTo>
                  <a:pt x="2194" y="444"/>
                </a:lnTo>
                <a:lnTo>
                  <a:pt x="2194" y="444"/>
                </a:lnTo>
                <a:lnTo>
                  <a:pt x="2202" y="444"/>
                </a:lnTo>
                <a:lnTo>
                  <a:pt x="2202" y="444"/>
                </a:lnTo>
                <a:lnTo>
                  <a:pt x="2209" y="444"/>
                </a:lnTo>
                <a:lnTo>
                  <a:pt x="2209" y="444"/>
                </a:lnTo>
                <a:lnTo>
                  <a:pt x="2217" y="444"/>
                </a:lnTo>
                <a:lnTo>
                  <a:pt x="2217" y="444"/>
                </a:lnTo>
                <a:lnTo>
                  <a:pt x="2217" y="444"/>
                </a:lnTo>
                <a:lnTo>
                  <a:pt x="2217" y="437"/>
                </a:lnTo>
                <a:lnTo>
                  <a:pt x="2225" y="437"/>
                </a:lnTo>
                <a:lnTo>
                  <a:pt x="2225" y="437"/>
                </a:lnTo>
                <a:lnTo>
                  <a:pt x="2232" y="437"/>
                </a:lnTo>
                <a:lnTo>
                  <a:pt x="2232" y="437"/>
                </a:lnTo>
                <a:lnTo>
                  <a:pt x="2240" y="437"/>
                </a:lnTo>
                <a:lnTo>
                  <a:pt x="2240" y="437"/>
                </a:lnTo>
                <a:lnTo>
                  <a:pt x="2240" y="437"/>
                </a:lnTo>
                <a:lnTo>
                  <a:pt x="2240" y="437"/>
                </a:lnTo>
                <a:lnTo>
                  <a:pt x="2248" y="437"/>
                </a:lnTo>
                <a:lnTo>
                  <a:pt x="2248" y="437"/>
                </a:lnTo>
                <a:lnTo>
                  <a:pt x="2255" y="437"/>
                </a:lnTo>
                <a:lnTo>
                  <a:pt x="2255" y="437"/>
                </a:lnTo>
                <a:lnTo>
                  <a:pt x="2263" y="437"/>
                </a:lnTo>
                <a:lnTo>
                  <a:pt x="2263" y="437"/>
                </a:lnTo>
                <a:lnTo>
                  <a:pt x="2263" y="437"/>
                </a:lnTo>
                <a:lnTo>
                  <a:pt x="2263" y="429"/>
                </a:lnTo>
                <a:lnTo>
                  <a:pt x="2271" y="429"/>
                </a:lnTo>
                <a:lnTo>
                  <a:pt x="2271" y="429"/>
                </a:lnTo>
                <a:lnTo>
                  <a:pt x="2278" y="429"/>
                </a:lnTo>
                <a:lnTo>
                  <a:pt x="2278" y="429"/>
                </a:lnTo>
                <a:lnTo>
                  <a:pt x="2286" y="429"/>
                </a:lnTo>
                <a:lnTo>
                  <a:pt x="2286" y="429"/>
                </a:lnTo>
                <a:lnTo>
                  <a:pt x="2294" y="429"/>
                </a:lnTo>
                <a:lnTo>
                  <a:pt x="2294" y="429"/>
                </a:lnTo>
                <a:lnTo>
                  <a:pt x="2294" y="429"/>
                </a:lnTo>
                <a:lnTo>
                  <a:pt x="2294" y="429"/>
                </a:lnTo>
                <a:lnTo>
                  <a:pt x="2301" y="429"/>
                </a:lnTo>
                <a:lnTo>
                  <a:pt x="2301" y="429"/>
                </a:lnTo>
                <a:lnTo>
                  <a:pt x="2309" y="429"/>
                </a:lnTo>
                <a:lnTo>
                  <a:pt x="2309" y="429"/>
                </a:lnTo>
                <a:lnTo>
                  <a:pt x="2317" y="429"/>
                </a:lnTo>
                <a:lnTo>
                  <a:pt x="2317" y="429"/>
                </a:lnTo>
                <a:lnTo>
                  <a:pt x="2317" y="429"/>
                </a:lnTo>
                <a:lnTo>
                  <a:pt x="2317" y="429"/>
                </a:lnTo>
                <a:lnTo>
                  <a:pt x="2324" y="429"/>
                </a:lnTo>
                <a:lnTo>
                  <a:pt x="2324" y="429"/>
                </a:lnTo>
                <a:lnTo>
                  <a:pt x="2332" y="429"/>
                </a:lnTo>
                <a:lnTo>
                  <a:pt x="2332" y="429"/>
                </a:lnTo>
                <a:lnTo>
                  <a:pt x="2340" y="429"/>
                </a:lnTo>
                <a:lnTo>
                  <a:pt x="2340" y="429"/>
                </a:lnTo>
                <a:lnTo>
                  <a:pt x="2340" y="429"/>
                </a:lnTo>
                <a:lnTo>
                  <a:pt x="2340" y="429"/>
                </a:lnTo>
                <a:lnTo>
                  <a:pt x="2347" y="429"/>
                </a:lnTo>
                <a:lnTo>
                  <a:pt x="2347" y="421"/>
                </a:lnTo>
                <a:lnTo>
                  <a:pt x="2355" y="421"/>
                </a:lnTo>
                <a:lnTo>
                  <a:pt x="2355" y="421"/>
                </a:lnTo>
                <a:lnTo>
                  <a:pt x="2363" y="421"/>
                </a:lnTo>
                <a:lnTo>
                  <a:pt x="2363" y="421"/>
                </a:lnTo>
                <a:lnTo>
                  <a:pt x="2378" y="421"/>
                </a:lnTo>
                <a:lnTo>
                  <a:pt x="2378" y="421"/>
                </a:lnTo>
                <a:lnTo>
                  <a:pt x="2386" y="421"/>
                </a:lnTo>
                <a:lnTo>
                  <a:pt x="2386" y="421"/>
                </a:lnTo>
                <a:lnTo>
                  <a:pt x="2394" y="421"/>
                </a:lnTo>
                <a:lnTo>
                  <a:pt x="2394" y="421"/>
                </a:lnTo>
                <a:lnTo>
                  <a:pt x="2394" y="421"/>
                </a:lnTo>
                <a:lnTo>
                  <a:pt x="2394" y="421"/>
                </a:lnTo>
                <a:lnTo>
                  <a:pt x="2401" y="421"/>
                </a:lnTo>
                <a:lnTo>
                  <a:pt x="2401" y="421"/>
                </a:lnTo>
                <a:lnTo>
                  <a:pt x="2409" y="421"/>
                </a:lnTo>
                <a:lnTo>
                  <a:pt x="2409" y="421"/>
                </a:lnTo>
                <a:lnTo>
                  <a:pt x="2417" y="421"/>
                </a:lnTo>
                <a:lnTo>
                  <a:pt x="2417" y="421"/>
                </a:lnTo>
                <a:lnTo>
                  <a:pt x="2417" y="421"/>
                </a:lnTo>
                <a:lnTo>
                  <a:pt x="2417" y="421"/>
                </a:lnTo>
                <a:lnTo>
                  <a:pt x="2424" y="421"/>
                </a:lnTo>
                <a:lnTo>
                  <a:pt x="2424" y="414"/>
                </a:lnTo>
                <a:lnTo>
                  <a:pt x="2432" y="414"/>
                </a:lnTo>
                <a:lnTo>
                  <a:pt x="2432" y="414"/>
                </a:lnTo>
                <a:lnTo>
                  <a:pt x="2440" y="414"/>
                </a:lnTo>
                <a:lnTo>
                  <a:pt x="2440" y="414"/>
                </a:lnTo>
                <a:lnTo>
                  <a:pt x="2440" y="414"/>
                </a:lnTo>
                <a:lnTo>
                  <a:pt x="2440" y="414"/>
                </a:lnTo>
                <a:lnTo>
                  <a:pt x="2447" y="414"/>
                </a:lnTo>
                <a:lnTo>
                  <a:pt x="2447" y="414"/>
                </a:lnTo>
                <a:lnTo>
                  <a:pt x="2455" y="414"/>
                </a:lnTo>
                <a:lnTo>
                  <a:pt x="2455" y="414"/>
                </a:lnTo>
                <a:lnTo>
                  <a:pt x="2463" y="414"/>
                </a:lnTo>
                <a:lnTo>
                  <a:pt x="2463" y="414"/>
                </a:lnTo>
                <a:lnTo>
                  <a:pt x="2470" y="414"/>
                </a:lnTo>
                <a:lnTo>
                  <a:pt x="2470" y="406"/>
                </a:lnTo>
                <a:lnTo>
                  <a:pt x="2470" y="406"/>
                </a:lnTo>
                <a:lnTo>
                  <a:pt x="2470" y="406"/>
                </a:lnTo>
                <a:lnTo>
                  <a:pt x="2478" y="406"/>
                </a:lnTo>
                <a:lnTo>
                  <a:pt x="2478" y="398"/>
                </a:lnTo>
                <a:lnTo>
                  <a:pt x="2486" y="398"/>
                </a:lnTo>
                <a:lnTo>
                  <a:pt x="2486" y="398"/>
                </a:lnTo>
                <a:lnTo>
                  <a:pt x="2493" y="398"/>
                </a:lnTo>
                <a:lnTo>
                  <a:pt x="2493" y="398"/>
                </a:lnTo>
                <a:lnTo>
                  <a:pt x="2493" y="398"/>
                </a:lnTo>
                <a:lnTo>
                  <a:pt x="2493" y="398"/>
                </a:lnTo>
                <a:lnTo>
                  <a:pt x="2501" y="398"/>
                </a:lnTo>
                <a:lnTo>
                  <a:pt x="2501" y="398"/>
                </a:lnTo>
                <a:lnTo>
                  <a:pt x="2509" y="398"/>
                </a:lnTo>
                <a:lnTo>
                  <a:pt x="2509" y="398"/>
                </a:lnTo>
                <a:lnTo>
                  <a:pt x="2516" y="398"/>
                </a:lnTo>
                <a:lnTo>
                  <a:pt x="2516" y="398"/>
                </a:lnTo>
                <a:lnTo>
                  <a:pt x="2516" y="398"/>
                </a:lnTo>
                <a:lnTo>
                  <a:pt x="2516" y="398"/>
                </a:lnTo>
                <a:lnTo>
                  <a:pt x="2524" y="398"/>
                </a:lnTo>
                <a:lnTo>
                  <a:pt x="2524" y="398"/>
                </a:lnTo>
                <a:lnTo>
                  <a:pt x="2532" y="398"/>
                </a:lnTo>
                <a:lnTo>
                  <a:pt x="2532" y="398"/>
                </a:lnTo>
                <a:lnTo>
                  <a:pt x="2539" y="398"/>
                </a:lnTo>
                <a:lnTo>
                  <a:pt x="2539" y="398"/>
                </a:lnTo>
                <a:lnTo>
                  <a:pt x="2539" y="398"/>
                </a:lnTo>
                <a:lnTo>
                  <a:pt x="2539" y="398"/>
                </a:lnTo>
                <a:lnTo>
                  <a:pt x="2547" y="398"/>
                </a:lnTo>
                <a:lnTo>
                  <a:pt x="2547" y="398"/>
                </a:lnTo>
                <a:lnTo>
                  <a:pt x="2555" y="398"/>
                </a:lnTo>
                <a:lnTo>
                  <a:pt x="2555" y="398"/>
                </a:lnTo>
                <a:lnTo>
                  <a:pt x="2562" y="398"/>
                </a:lnTo>
                <a:lnTo>
                  <a:pt x="2562" y="398"/>
                </a:lnTo>
                <a:lnTo>
                  <a:pt x="2570" y="398"/>
                </a:lnTo>
                <a:lnTo>
                  <a:pt x="2570" y="398"/>
                </a:lnTo>
                <a:lnTo>
                  <a:pt x="2570" y="398"/>
                </a:lnTo>
                <a:lnTo>
                  <a:pt x="2570" y="398"/>
                </a:lnTo>
                <a:lnTo>
                  <a:pt x="2578" y="398"/>
                </a:lnTo>
                <a:lnTo>
                  <a:pt x="2578" y="398"/>
                </a:lnTo>
                <a:lnTo>
                  <a:pt x="2585" y="398"/>
                </a:lnTo>
                <a:lnTo>
                  <a:pt x="2585" y="398"/>
                </a:lnTo>
                <a:lnTo>
                  <a:pt x="2593" y="398"/>
                </a:lnTo>
                <a:lnTo>
                  <a:pt x="2593" y="398"/>
                </a:lnTo>
                <a:lnTo>
                  <a:pt x="2593" y="398"/>
                </a:lnTo>
                <a:lnTo>
                  <a:pt x="2593" y="398"/>
                </a:lnTo>
                <a:lnTo>
                  <a:pt x="2601" y="398"/>
                </a:lnTo>
                <a:lnTo>
                  <a:pt x="2601" y="398"/>
                </a:lnTo>
                <a:lnTo>
                  <a:pt x="2608" y="398"/>
                </a:lnTo>
                <a:lnTo>
                  <a:pt x="2608" y="398"/>
                </a:lnTo>
                <a:lnTo>
                  <a:pt x="2616" y="398"/>
                </a:lnTo>
                <a:lnTo>
                  <a:pt x="2616" y="398"/>
                </a:lnTo>
                <a:lnTo>
                  <a:pt x="2616" y="398"/>
                </a:lnTo>
                <a:lnTo>
                  <a:pt x="2616" y="391"/>
                </a:lnTo>
                <a:lnTo>
                  <a:pt x="2624" y="391"/>
                </a:lnTo>
                <a:lnTo>
                  <a:pt x="2624" y="391"/>
                </a:lnTo>
                <a:lnTo>
                  <a:pt x="2631" y="391"/>
                </a:lnTo>
                <a:lnTo>
                  <a:pt x="2631" y="391"/>
                </a:lnTo>
                <a:lnTo>
                  <a:pt x="2639" y="391"/>
                </a:lnTo>
                <a:lnTo>
                  <a:pt x="2639" y="391"/>
                </a:lnTo>
                <a:lnTo>
                  <a:pt x="2639" y="391"/>
                </a:lnTo>
                <a:lnTo>
                  <a:pt x="2639" y="391"/>
                </a:lnTo>
                <a:lnTo>
                  <a:pt x="2647" y="391"/>
                </a:lnTo>
                <a:lnTo>
                  <a:pt x="2647" y="391"/>
                </a:lnTo>
                <a:lnTo>
                  <a:pt x="2654" y="391"/>
                </a:lnTo>
                <a:lnTo>
                  <a:pt x="2654" y="391"/>
                </a:lnTo>
                <a:lnTo>
                  <a:pt x="2662" y="391"/>
                </a:lnTo>
                <a:lnTo>
                  <a:pt x="2662" y="391"/>
                </a:lnTo>
                <a:lnTo>
                  <a:pt x="2670" y="391"/>
                </a:lnTo>
                <a:lnTo>
                  <a:pt x="2670" y="391"/>
                </a:lnTo>
                <a:lnTo>
                  <a:pt x="2670" y="391"/>
                </a:lnTo>
                <a:lnTo>
                  <a:pt x="2670" y="391"/>
                </a:lnTo>
                <a:lnTo>
                  <a:pt x="2677" y="391"/>
                </a:lnTo>
                <a:lnTo>
                  <a:pt x="2677" y="383"/>
                </a:lnTo>
                <a:lnTo>
                  <a:pt x="2685" y="383"/>
                </a:lnTo>
                <a:lnTo>
                  <a:pt x="2685" y="383"/>
                </a:lnTo>
                <a:lnTo>
                  <a:pt x="2693" y="383"/>
                </a:lnTo>
                <a:lnTo>
                  <a:pt x="2693" y="375"/>
                </a:lnTo>
                <a:lnTo>
                  <a:pt x="2693" y="375"/>
                </a:lnTo>
                <a:lnTo>
                  <a:pt x="2693" y="375"/>
                </a:lnTo>
                <a:lnTo>
                  <a:pt x="2700" y="375"/>
                </a:lnTo>
                <a:lnTo>
                  <a:pt x="2700" y="375"/>
                </a:lnTo>
                <a:lnTo>
                  <a:pt x="2708" y="375"/>
                </a:lnTo>
                <a:lnTo>
                  <a:pt x="2708" y="375"/>
                </a:lnTo>
                <a:lnTo>
                  <a:pt x="2716" y="375"/>
                </a:lnTo>
                <a:lnTo>
                  <a:pt x="2716" y="375"/>
                </a:lnTo>
                <a:lnTo>
                  <a:pt x="2716" y="375"/>
                </a:lnTo>
                <a:lnTo>
                  <a:pt x="2716" y="375"/>
                </a:lnTo>
                <a:lnTo>
                  <a:pt x="2723" y="375"/>
                </a:lnTo>
                <a:lnTo>
                  <a:pt x="2723" y="375"/>
                </a:lnTo>
                <a:lnTo>
                  <a:pt x="2731" y="375"/>
                </a:lnTo>
                <a:lnTo>
                  <a:pt x="2731" y="375"/>
                </a:lnTo>
                <a:lnTo>
                  <a:pt x="2739" y="375"/>
                </a:lnTo>
                <a:lnTo>
                  <a:pt x="2739" y="375"/>
                </a:lnTo>
                <a:lnTo>
                  <a:pt x="2746" y="375"/>
                </a:lnTo>
                <a:lnTo>
                  <a:pt x="2746" y="375"/>
                </a:lnTo>
                <a:lnTo>
                  <a:pt x="2746" y="375"/>
                </a:lnTo>
                <a:lnTo>
                  <a:pt x="2746" y="368"/>
                </a:lnTo>
                <a:lnTo>
                  <a:pt x="2754" y="368"/>
                </a:lnTo>
                <a:lnTo>
                  <a:pt x="2754" y="368"/>
                </a:lnTo>
                <a:lnTo>
                  <a:pt x="2762" y="368"/>
                </a:lnTo>
                <a:lnTo>
                  <a:pt x="2762" y="368"/>
                </a:lnTo>
                <a:lnTo>
                  <a:pt x="2769" y="368"/>
                </a:lnTo>
                <a:lnTo>
                  <a:pt x="2769" y="368"/>
                </a:lnTo>
                <a:lnTo>
                  <a:pt x="2769" y="368"/>
                </a:lnTo>
                <a:lnTo>
                  <a:pt x="2769" y="368"/>
                </a:lnTo>
                <a:lnTo>
                  <a:pt x="2777" y="368"/>
                </a:lnTo>
                <a:lnTo>
                  <a:pt x="2777" y="368"/>
                </a:lnTo>
                <a:lnTo>
                  <a:pt x="2785" y="368"/>
                </a:lnTo>
                <a:lnTo>
                  <a:pt x="2785" y="368"/>
                </a:lnTo>
                <a:lnTo>
                  <a:pt x="2792" y="368"/>
                </a:lnTo>
                <a:lnTo>
                  <a:pt x="2792" y="368"/>
                </a:lnTo>
                <a:lnTo>
                  <a:pt x="2792" y="368"/>
                </a:lnTo>
                <a:lnTo>
                  <a:pt x="2792" y="368"/>
                </a:lnTo>
                <a:lnTo>
                  <a:pt x="2800" y="368"/>
                </a:lnTo>
                <a:lnTo>
                  <a:pt x="2800" y="368"/>
                </a:lnTo>
                <a:lnTo>
                  <a:pt x="2808" y="368"/>
                </a:lnTo>
                <a:lnTo>
                  <a:pt x="2808" y="368"/>
                </a:lnTo>
                <a:lnTo>
                  <a:pt x="2815" y="368"/>
                </a:lnTo>
                <a:lnTo>
                  <a:pt x="2815" y="368"/>
                </a:lnTo>
                <a:lnTo>
                  <a:pt x="2815" y="368"/>
                </a:lnTo>
                <a:lnTo>
                  <a:pt x="2815" y="368"/>
                </a:lnTo>
                <a:lnTo>
                  <a:pt x="2823" y="368"/>
                </a:lnTo>
                <a:lnTo>
                  <a:pt x="2823" y="368"/>
                </a:lnTo>
                <a:lnTo>
                  <a:pt x="2831" y="368"/>
                </a:lnTo>
                <a:lnTo>
                  <a:pt x="2831" y="368"/>
                </a:lnTo>
                <a:lnTo>
                  <a:pt x="2838" y="368"/>
                </a:lnTo>
                <a:lnTo>
                  <a:pt x="2838" y="368"/>
                </a:lnTo>
                <a:lnTo>
                  <a:pt x="2846" y="368"/>
                </a:lnTo>
                <a:lnTo>
                  <a:pt x="2846" y="360"/>
                </a:lnTo>
                <a:lnTo>
                  <a:pt x="2846" y="360"/>
                </a:lnTo>
                <a:lnTo>
                  <a:pt x="2846" y="360"/>
                </a:lnTo>
                <a:lnTo>
                  <a:pt x="2854" y="360"/>
                </a:lnTo>
                <a:lnTo>
                  <a:pt x="2854" y="360"/>
                </a:lnTo>
                <a:lnTo>
                  <a:pt x="2861" y="360"/>
                </a:lnTo>
                <a:lnTo>
                  <a:pt x="2861" y="360"/>
                </a:lnTo>
                <a:lnTo>
                  <a:pt x="2869" y="360"/>
                </a:lnTo>
                <a:lnTo>
                  <a:pt x="2869" y="360"/>
                </a:lnTo>
                <a:lnTo>
                  <a:pt x="2869" y="360"/>
                </a:lnTo>
                <a:lnTo>
                  <a:pt x="2869" y="360"/>
                </a:lnTo>
                <a:lnTo>
                  <a:pt x="2877" y="360"/>
                </a:lnTo>
                <a:lnTo>
                  <a:pt x="2877" y="360"/>
                </a:lnTo>
                <a:lnTo>
                  <a:pt x="2884" y="360"/>
                </a:lnTo>
                <a:lnTo>
                  <a:pt x="2884" y="360"/>
                </a:lnTo>
                <a:lnTo>
                  <a:pt x="2892" y="360"/>
                </a:lnTo>
                <a:lnTo>
                  <a:pt x="2892" y="360"/>
                </a:lnTo>
                <a:lnTo>
                  <a:pt x="2892" y="360"/>
                </a:lnTo>
                <a:lnTo>
                  <a:pt x="2892" y="360"/>
                </a:lnTo>
                <a:lnTo>
                  <a:pt x="2900" y="360"/>
                </a:lnTo>
                <a:lnTo>
                  <a:pt x="2900" y="360"/>
                </a:lnTo>
                <a:lnTo>
                  <a:pt x="2907" y="360"/>
                </a:lnTo>
                <a:lnTo>
                  <a:pt x="2907" y="360"/>
                </a:lnTo>
                <a:lnTo>
                  <a:pt x="2915" y="360"/>
                </a:lnTo>
                <a:lnTo>
                  <a:pt x="2915" y="360"/>
                </a:lnTo>
                <a:lnTo>
                  <a:pt x="2923" y="360"/>
                </a:lnTo>
                <a:lnTo>
                  <a:pt x="2923" y="360"/>
                </a:lnTo>
                <a:lnTo>
                  <a:pt x="2923" y="360"/>
                </a:lnTo>
                <a:lnTo>
                  <a:pt x="2923" y="352"/>
                </a:lnTo>
                <a:lnTo>
                  <a:pt x="2930" y="352"/>
                </a:lnTo>
                <a:lnTo>
                  <a:pt x="2930" y="352"/>
                </a:lnTo>
                <a:lnTo>
                  <a:pt x="2938" y="352"/>
                </a:lnTo>
                <a:lnTo>
                  <a:pt x="2938" y="352"/>
                </a:lnTo>
                <a:lnTo>
                  <a:pt x="2946" y="352"/>
                </a:lnTo>
                <a:lnTo>
                  <a:pt x="2946" y="352"/>
                </a:lnTo>
                <a:lnTo>
                  <a:pt x="2946" y="352"/>
                </a:lnTo>
                <a:lnTo>
                  <a:pt x="2946" y="352"/>
                </a:lnTo>
                <a:lnTo>
                  <a:pt x="2953" y="352"/>
                </a:lnTo>
                <a:lnTo>
                  <a:pt x="2953" y="352"/>
                </a:lnTo>
                <a:lnTo>
                  <a:pt x="2961" y="352"/>
                </a:lnTo>
                <a:lnTo>
                  <a:pt x="2961" y="345"/>
                </a:lnTo>
                <a:lnTo>
                  <a:pt x="2969" y="345"/>
                </a:lnTo>
                <a:lnTo>
                  <a:pt x="2969" y="337"/>
                </a:lnTo>
                <a:lnTo>
                  <a:pt x="2969" y="337"/>
                </a:lnTo>
                <a:lnTo>
                  <a:pt x="2969" y="337"/>
                </a:lnTo>
                <a:lnTo>
                  <a:pt x="2976" y="337"/>
                </a:lnTo>
                <a:lnTo>
                  <a:pt x="2976" y="337"/>
                </a:lnTo>
                <a:lnTo>
                  <a:pt x="2984" y="337"/>
                </a:lnTo>
                <a:lnTo>
                  <a:pt x="2984" y="337"/>
                </a:lnTo>
                <a:lnTo>
                  <a:pt x="2992" y="337"/>
                </a:lnTo>
                <a:lnTo>
                  <a:pt x="2992" y="337"/>
                </a:lnTo>
                <a:lnTo>
                  <a:pt x="2992" y="337"/>
                </a:lnTo>
                <a:lnTo>
                  <a:pt x="2992" y="329"/>
                </a:lnTo>
                <a:lnTo>
                  <a:pt x="3000" y="329"/>
                </a:lnTo>
                <a:lnTo>
                  <a:pt x="3000" y="329"/>
                </a:lnTo>
                <a:lnTo>
                  <a:pt x="3007" y="329"/>
                </a:lnTo>
                <a:lnTo>
                  <a:pt x="3007" y="329"/>
                </a:lnTo>
                <a:lnTo>
                  <a:pt x="3015" y="329"/>
                </a:lnTo>
                <a:lnTo>
                  <a:pt x="3015" y="329"/>
                </a:lnTo>
                <a:lnTo>
                  <a:pt x="3023" y="329"/>
                </a:lnTo>
                <a:lnTo>
                  <a:pt x="3023" y="329"/>
                </a:lnTo>
                <a:lnTo>
                  <a:pt x="3023" y="329"/>
                </a:lnTo>
                <a:lnTo>
                  <a:pt x="3023" y="322"/>
                </a:lnTo>
                <a:lnTo>
                  <a:pt x="3030" y="322"/>
                </a:lnTo>
                <a:lnTo>
                  <a:pt x="3030" y="322"/>
                </a:lnTo>
                <a:lnTo>
                  <a:pt x="3038" y="322"/>
                </a:lnTo>
                <a:lnTo>
                  <a:pt x="3038" y="322"/>
                </a:lnTo>
                <a:lnTo>
                  <a:pt x="3046" y="322"/>
                </a:lnTo>
                <a:lnTo>
                  <a:pt x="3046" y="314"/>
                </a:lnTo>
                <a:lnTo>
                  <a:pt x="3046" y="314"/>
                </a:lnTo>
                <a:lnTo>
                  <a:pt x="3046" y="306"/>
                </a:lnTo>
                <a:lnTo>
                  <a:pt x="3053" y="306"/>
                </a:lnTo>
                <a:lnTo>
                  <a:pt x="3053" y="306"/>
                </a:lnTo>
                <a:lnTo>
                  <a:pt x="3061" y="306"/>
                </a:lnTo>
                <a:lnTo>
                  <a:pt x="3061" y="306"/>
                </a:lnTo>
                <a:lnTo>
                  <a:pt x="3069" y="306"/>
                </a:lnTo>
                <a:lnTo>
                  <a:pt x="3069" y="306"/>
                </a:lnTo>
                <a:lnTo>
                  <a:pt x="3069" y="306"/>
                </a:lnTo>
                <a:lnTo>
                  <a:pt x="3069" y="306"/>
                </a:lnTo>
                <a:lnTo>
                  <a:pt x="3076" y="306"/>
                </a:lnTo>
                <a:lnTo>
                  <a:pt x="3076" y="299"/>
                </a:lnTo>
                <a:lnTo>
                  <a:pt x="3084" y="299"/>
                </a:lnTo>
                <a:lnTo>
                  <a:pt x="3084" y="299"/>
                </a:lnTo>
                <a:lnTo>
                  <a:pt x="3092" y="299"/>
                </a:lnTo>
                <a:lnTo>
                  <a:pt x="3092" y="291"/>
                </a:lnTo>
                <a:lnTo>
                  <a:pt x="3099" y="291"/>
                </a:lnTo>
                <a:lnTo>
                  <a:pt x="3099" y="291"/>
                </a:lnTo>
                <a:lnTo>
                  <a:pt x="3099" y="291"/>
                </a:lnTo>
                <a:lnTo>
                  <a:pt x="3099" y="283"/>
                </a:lnTo>
                <a:lnTo>
                  <a:pt x="3107" y="283"/>
                </a:lnTo>
                <a:lnTo>
                  <a:pt x="3107" y="283"/>
                </a:lnTo>
                <a:lnTo>
                  <a:pt x="3115" y="283"/>
                </a:lnTo>
                <a:lnTo>
                  <a:pt x="3115" y="283"/>
                </a:lnTo>
                <a:lnTo>
                  <a:pt x="3122" y="283"/>
                </a:lnTo>
                <a:lnTo>
                  <a:pt x="3122" y="283"/>
                </a:lnTo>
                <a:lnTo>
                  <a:pt x="3122" y="283"/>
                </a:lnTo>
                <a:lnTo>
                  <a:pt x="3122" y="283"/>
                </a:lnTo>
                <a:lnTo>
                  <a:pt x="3130" y="283"/>
                </a:lnTo>
                <a:lnTo>
                  <a:pt x="3130" y="276"/>
                </a:lnTo>
                <a:lnTo>
                  <a:pt x="3138" y="276"/>
                </a:lnTo>
                <a:lnTo>
                  <a:pt x="3138" y="276"/>
                </a:lnTo>
                <a:lnTo>
                  <a:pt x="3145" y="276"/>
                </a:lnTo>
                <a:lnTo>
                  <a:pt x="3145" y="268"/>
                </a:lnTo>
                <a:lnTo>
                  <a:pt x="3145" y="268"/>
                </a:lnTo>
                <a:lnTo>
                  <a:pt x="3145" y="268"/>
                </a:lnTo>
                <a:lnTo>
                  <a:pt x="3153" y="268"/>
                </a:lnTo>
                <a:lnTo>
                  <a:pt x="3153" y="260"/>
                </a:lnTo>
                <a:lnTo>
                  <a:pt x="3161" y="260"/>
                </a:lnTo>
                <a:lnTo>
                  <a:pt x="3161" y="260"/>
                </a:lnTo>
                <a:lnTo>
                  <a:pt x="3168" y="260"/>
                </a:lnTo>
                <a:lnTo>
                  <a:pt x="3168" y="260"/>
                </a:lnTo>
                <a:lnTo>
                  <a:pt x="3168" y="260"/>
                </a:lnTo>
                <a:lnTo>
                  <a:pt x="3168" y="260"/>
                </a:lnTo>
                <a:lnTo>
                  <a:pt x="3176" y="260"/>
                </a:lnTo>
                <a:lnTo>
                  <a:pt x="3176" y="253"/>
                </a:lnTo>
                <a:lnTo>
                  <a:pt x="3184" y="253"/>
                </a:lnTo>
                <a:lnTo>
                  <a:pt x="3184" y="253"/>
                </a:lnTo>
                <a:lnTo>
                  <a:pt x="3191" y="253"/>
                </a:lnTo>
                <a:lnTo>
                  <a:pt x="3191" y="245"/>
                </a:lnTo>
                <a:lnTo>
                  <a:pt x="3199" y="245"/>
                </a:lnTo>
                <a:lnTo>
                  <a:pt x="3199" y="245"/>
                </a:lnTo>
                <a:lnTo>
                  <a:pt x="3199" y="245"/>
                </a:lnTo>
                <a:lnTo>
                  <a:pt x="3199" y="237"/>
                </a:lnTo>
                <a:lnTo>
                  <a:pt x="3207" y="237"/>
                </a:lnTo>
                <a:lnTo>
                  <a:pt x="3207" y="237"/>
                </a:lnTo>
                <a:lnTo>
                  <a:pt x="3214" y="237"/>
                </a:lnTo>
                <a:lnTo>
                  <a:pt x="3214" y="237"/>
                </a:lnTo>
                <a:lnTo>
                  <a:pt x="3222" y="237"/>
                </a:lnTo>
                <a:lnTo>
                  <a:pt x="3222" y="230"/>
                </a:lnTo>
                <a:lnTo>
                  <a:pt x="3222" y="230"/>
                </a:lnTo>
                <a:lnTo>
                  <a:pt x="3222" y="230"/>
                </a:lnTo>
                <a:lnTo>
                  <a:pt x="3230" y="230"/>
                </a:lnTo>
                <a:lnTo>
                  <a:pt x="3230" y="230"/>
                </a:lnTo>
                <a:lnTo>
                  <a:pt x="3237" y="230"/>
                </a:lnTo>
                <a:lnTo>
                  <a:pt x="3237" y="230"/>
                </a:lnTo>
                <a:lnTo>
                  <a:pt x="3245" y="230"/>
                </a:lnTo>
                <a:lnTo>
                  <a:pt x="3245" y="222"/>
                </a:lnTo>
                <a:lnTo>
                  <a:pt x="3245" y="222"/>
                </a:lnTo>
                <a:lnTo>
                  <a:pt x="3245" y="222"/>
                </a:lnTo>
                <a:lnTo>
                  <a:pt x="3253" y="222"/>
                </a:lnTo>
                <a:lnTo>
                  <a:pt x="3253" y="207"/>
                </a:lnTo>
                <a:lnTo>
                  <a:pt x="3260" y="207"/>
                </a:lnTo>
                <a:lnTo>
                  <a:pt x="3260" y="207"/>
                </a:lnTo>
                <a:lnTo>
                  <a:pt x="3268" y="207"/>
                </a:lnTo>
                <a:lnTo>
                  <a:pt x="3268" y="199"/>
                </a:lnTo>
                <a:lnTo>
                  <a:pt x="3276" y="199"/>
                </a:lnTo>
                <a:lnTo>
                  <a:pt x="3276" y="199"/>
                </a:lnTo>
                <a:lnTo>
                  <a:pt x="3276" y="199"/>
                </a:lnTo>
                <a:lnTo>
                  <a:pt x="3276" y="199"/>
                </a:lnTo>
                <a:lnTo>
                  <a:pt x="3283" y="199"/>
                </a:lnTo>
                <a:lnTo>
                  <a:pt x="3283" y="199"/>
                </a:lnTo>
                <a:lnTo>
                  <a:pt x="3291" y="199"/>
                </a:lnTo>
                <a:lnTo>
                  <a:pt x="3291" y="191"/>
                </a:lnTo>
                <a:lnTo>
                  <a:pt x="3299" y="191"/>
                </a:lnTo>
                <a:lnTo>
                  <a:pt x="3299" y="184"/>
                </a:lnTo>
                <a:lnTo>
                  <a:pt x="3299" y="184"/>
                </a:lnTo>
                <a:lnTo>
                  <a:pt x="3299" y="176"/>
                </a:lnTo>
                <a:lnTo>
                  <a:pt x="3306" y="176"/>
                </a:lnTo>
                <a:lnTo>
                  <a:pt x="3306" y="176"/>
                </a:lnTo>
                <a:lnTo>
                  <a:pt x="3314" y="176"/>
                </a:lnTo>
                <a:lnTo>
                  <a:pt x="3314" y="176"/>
                </a:lnTo>
                <a:lnTo>
                  <a:pt x="3322" y="176"/>
                </a:lnTo>
                <a:lnTo>
                  <a:pt x="3322" y="176"/>
                </a:lnTo>
                <a:lnTo>
                  <a:pt x="3322" y="176"/>
                </a:lnTo>
                <a:lnTo>
                  <a:pt x="3322" y="168"/>
                </a:lnTo>
                <a:lnTo>
                  <a:pt x="3329" y="168"/>
                </a:lnTo>
                <a:lnTo>
                  <a:pt x="3329" y="168"/>
                </a:lnTo>
                <a:lnTo>
                  <a:pt x="3337" y="168"/>
                </a:lnTo>
                <a:lnTo>
                  <a:pt x="3337" y="161"/>
                </a:lnTo>
                <a:lnTo>
                  <a:pt x="3345" y="161"/>
                </a:lnTo>
                <a:lnTo>
                  <a:pt x="3345" y="153"/>
                </a:lnTo>
                <a:lnTo>
                  <a:pt x="3345" y="153"/>
                </a:lnTo>
                <a:lnTo>
                  <a:pt x="3345" y="153"/>
                </a:lnTo>
                <a:lnTo>
                  <a:pt x="3352" y="153"/>
                </a:lnTo>
                <a:lnTo>
                  <a:pt x="3352" y="153"/>
                </a:lnTo>
                <a:lnTo>
                  <a:pt x="3360" y="153"/>
                </a:lnTo>
                <a:lnTo>
                  <a:pt x="3360" y="153"/>
                </a:lnTo>
                <a:lnTo>
                  <a:pt x="3368" y="153"/>
                </a:lnTo>
                <a:lnTo>
                  <a:pt x="3368" y="153"/>
                </a:lnTo>
                <a:lnTo>
                  <a:pt x="3375" y="153"/>
                </a:lnTo>
                <a:lnTo>
                  <a:pt x="3375" y="153"/>
                </a:lnTo>
                <a:lnTo>
                  <a:pt x="3375" y="153"/>
                </a:lnTo>
                <a:lnTo>
                  <a:pt x="3375" y="138"/>
                </a:lnTo>
                <a:lnTo>
                  <a:pt x="3383" y="138"/>
                </a:lnTo>
                <a:lnTo>
                  <a:pt x="3383" y="138"/>
                </a:lnTo>
                <a:lnTo>
                  <a:pt x="3391" y="138"/>
                </a:lnTo>
                <a:lnTo>
                  <a:pt x="3391" y="138"/>
                </a:lnTo>
                <a:lnTo>
                  <a:pt x="3398" y="138"/>
                </a:lnTo>
                <a:lnTo>
                  <a:pt x="3398" y="138"/>
                </a:lnTo>
                <a:lnTo>
                  <a:pt x="3398" y="138"/>
                </a:lnTo>
                <a:lnTo>
                  <a:pt x="3398" y="138"/>
                </a:lnTo>
                <a:lnTo>
                  <a:pt x="3406" y="138"/>
                </a:lnTo>
                <a:lnTo>
                  <a:pt x="3406" y="130"/>
                </a:lnTo>
                <a:lnTo>
                  <a:pt x="3414" y="130"/>
                </a:lnTo>
                <a:lnTo>
                  <a:pt x="3414" y="130"/>
                </a:lnTo>
                <a:lnTo>
                  <a:pt x="3421" y="130"/>
                </a:lnTo>
                <a:lnTo>
                  <a:pt x="3421" y="122"/>
                </a:lnTo>
                <a:lnTo>
                  <a:pt x="3421" y="122"/>
                </a:lnTo>
                <a:lnTo>
                  <a:pt x="3421" y="122"/>
                </a:lnTo>
                <a:lnTo>
                  <a:pt x="3429" y="122"/>
                </a:lnTo>
                <a:lnTo>
                  <a:pt x="3429" y="122"/>
                </a:lnTo>
                <a:lnTo>
                  <a:pt x="3437" y="122"/>
                </a:lnTo>
                <a:lnTo>
                  <a:pt x="3437" y="122"/>
                </a:lnTo>
                <a:lnTo>
                  <a:pt x="3444" y="122"/>
                </a:lnTo>
                <a:lnTo>
                  <a:pt x="3444" y="122"/>
                </a:lnTo>
                <a:lnTo>
                  <a:pt x="3444" y="122"/>
                </a:lnTo>
                <a:lnTo>
                  <a:pt x="3444" y="115"/>
                </a:lnTo>
                <a:lnTo>
                  <a:pt x="3452" y="115"/>
                </a:lnTo>
                <a:lnTo>
                  <a:pt x="3452" y="115"/>
                </a:lnTo>
                <a:lnTo>
                  <a:pt x="3460" y="115"/>
                </a:lnTo>
                <a:lnTo>
                  <a:pt x="3460" y="115"/>
                </a:lnTo>
                <a:lnTo>
                  <a:pt x="3467" y="115"/>
                </a:lnTo>
                <a:lnTo>
                  <a:pt x="3467" y="115"/>
                </a:lnTo>
                <a:lnTo>
                  <a:pt x="3475" y="115"/>
                </a:lnTo>
                <a:lnTo>
                  <a:pt x="3475" y="115"/>
                </a:lnTo>
                <a:lnTo>
                  <a:pt x="3475" y="115"/>
                </a:lnTo>
                <a:lnTo>
                  <a:pt x="3475" y="115"/>
                </a:lnTo>
                <a:lnTo>
                  <a:pt x="3483" y="115"/>
                </a:lnTo>
                <a:lnTo>
                  <a:pt x="3483" y="115"/>
                </a:lnTo>
                <a:lnTo>
                  <a:pt x="3490" y="115"/>
                </a:lnTo>
                <a:lnTo>
                  <a:pt x="3490" y="107"/>
                </a:lnTo>
                <a:lnTo>
                  <a:pt x="3498" y="107"/>
                </a:lnTo>
                <a:lnTo>
                  <a:pt x="3498" y="107"/>
                </a:lnTo>
                <a:lnTo>
                  <a:pt x="3498" y="107"/>
                </a:lnTo>
                <a:lnTo>
                  <a:pt x="3498" y="107"/>
                </a:lnTo>
                <a:lnTo>
                  <a:pt x="3506" y="107"/>
                </a:lnTo>
                <a:lnTo>
                  <a:pt x="3506" y="107"/>
                </a:lnTo>
                <a:lnTo>
                  <a:pt x="3513" y="107"/>
                </a:lnTo>
                <a:lnTo>
                  <a:pt x="3513" y="107"/>
                </a:lnTo>
                <a:lnTo>
                  <a:pt x="3521" y="107"/>
                </a:lnTo>
                <a:lnTo>
                  <a:pt x="3521" y="99"/>
                </a:lnTo>
                <a:lnTo>
                  <a:pt x="3521" y="99"/>
                </a:lnTo>
                <a:lnTo>
                  <a:pt x="3521" y="99"/>
                </a:lnTo>
                <a:lnTo>
                  <a:pt x="3529" y="99"/>
                </a:lnTo>
                <a:lnTo>
                  <a:pt x="3529" y="99"/>
                </a:lnTo>
                <a:lnTo>
                  <a:pt x="3536" y="99"/>
                </a:lnTo>
                <a:lnTo>
                  <a:pt x="3536" y="92"/>
                </a:lnTo>
                <a:lnTo>
                  <a:pt x="3544" y="92"/>
                </a:lnTo>
                <a:lnTo>
                  <a:pt x="3544" y="92"/>
                </a:lnTo>
                <a:lnTo>
                  <a:pt x="3552" y="92"/>
                </a:lnTo>
                <a:lnTo>
                  <a:pt x="3552" y="92"/>
                </a:lnTo>
                <a:lnTo>
                  <a:pt x="3552" y="92"/>
                </a:lnTo>
                <a:lnTo>
                  <a:pt x="3552" y="92"/>
                </a:lnTo>
                <a:lnTo>
                  <a:pt x="3559" y="92"/>
                </a:lnTo>
                <a:lnTo>
                  <a:pt x="3559" y="84"/>
                </a:lnTo>
                <a:lnTo>
                  <a:pt x="3567" y="84"/>
                </a:lnTo>
                <a:lnTo>
                  <a:pt x="3567" y="84"/>
                </a:lnTo>
                <a:lnTo>
                  <a:pt x="3575" y="84"/>
                </a:lnTo>
                <a:lnTo>
                  <a:pt x="3575" y="84"/>
                </a:lnTo>
                <a:lnTo>
                  <a:pt x="3575" y="84"/>
                </a:lnTo>
                <a:lnTo>
                  <a:pt x="3575" y="84"/>
                </a:lnTo>
                <a:lnTo>
                  <a:pt x="3582" y="84"/>
                </a:lnTo>
                <a:lnTo>
                  <a:pt x="3582" y="84"/>
                </a:lnTo>
                <a:lnTo>
                  <a:pt x="3590" y="84"/>
                </a:lnTo>
                <a:lnTo>
                  <a:pt x="3590" y="84"/>
                </a:lnTo>
                <a:lnTo>
                  <a:pt x="3598" y="84"/>
                </a:lnTo>
                <a:lnTo>
                  <a:pt x="3598" y="84"/>
                </a:lnTo>
                <a:lnTo>
                  <a:pt x="3598" y="84"/>
                </a:lnTo>
                <a:lnTo>
                  <a:pt x="3598" y="84"/>
                </a:lnTo>
                <a:lnTo>
                  <a:pt x="3606" y="84"/>
                </a:lnTo>
                <a:lnTo>
                  <a:pt x="3606" y="84"/>
                </a:lnTo>
                <a:lnTo>
                  <a:pt x="3613" y="84"/>
                </a:lnTo>
                <a:lnTo>
                  <a:pt x="3613" y="84"/>
                </a:lnTo>
                <a:lnTo>
                  <a:pt x="3621" y="84"/>
                </a:lnTo>
                <a:lnTo>
                  <a:pt x="3621" y="84"/>
                </a:lnTo>
                <a:lnTo>
                  <a:pt x="3621" y="84"/>
                </a:lnTo>
                <a:lnTo>
                  <a:pt x="3621" y="84"/>
                </a:lnTo>
                <a:lnTo>
                  <a:pt x="3629" y="84"/>
                </a:lnTo>
                <a:lnTo>
                  <a:pt x="3629" y="84"/>
                </a:lnTo>
                <a:lnTo>
                  <a:pt x="3636" y="84"/>
                </a:lnTo>
                <a:lnTo>
                  <a:pt x="3636" y="76"/>
                </a:lnTo>
                <a:lnTo>
                  <a:pt x="3644" y="76"/>
                </a:lnTo>
                <a:lnTo>
                  <a:pt x="3644" y="76"/>
                </a:lnTo>
                <a:lnTo>
                  <a:pt x="3652" y="76"/>
                </a:lnTo>
                <a:lnTo>
                  <a:pt x="3652" y="76"/>
                </a:lnTo>
                <a:lnTo>
                  <a:pt x="3652" y="76"/>
                </a:lnTo>
                <a:lnTo>
                  <a:pt x="3652" y="76"/>
                </a:lnTo>
                <a:lnTo>
                  <a:pt x="3659" y="76"/>
                </a:lnTo>
                <a:lnTo>
                  <a:pt x="3659" y="76"/>
                </a:lnTo>
                <a:lnTo>
                  <a:pt x="3667" y="76"/>
                </a:lnTo>
                <a:lnTo>
                  <a:pt x="3667" y="76"/>
                </a:lnTo>
                <a:lnTo>
                  <a:pt x="3675" y="76"/>
                </a:lnTo>
                <a:lnTo>
                  <a:pt x="3675" y="76"/>
                </a:lnTo>
                <a:lnTo>
                  <a:pt x="3675" y="76"/>
                </a:lnTo>
                <a:lnTo>
                  <a:pt x="3675" y="76"/>
                </a:lnTo>
                <a:lnTo>
                  <a:pt x="3682" y="76"/>
                </a:lnTo>
                <a:lnTo>
                  <a:pt x="3682" y="76"/>
                </a:lnTo>
                <a:lnTo>
                  <a:pt x="3690" y="76"/>
                </a:lnTo>
                <a:lnTo>
                  <a:pt x="3690" y="76"/>
                </a:lnTo>
                <a:lnTo>
                  <a:pt x="3698" y="76"/>
                </a:lnTo>
                <a:lnTo>
                  <a:pt x="3698" y="76"/>
                </a:lnTo>
                <a:lnTo>
                  <a:pt x="3698" y="76"/>
                </a:lnTo>
                <a:lnTo>
                  <a:pt x="3698" y="69"/>
                </a:lnTo>
                <a:lnTo>
                  <a:pt x="3705" y="69"/>
                </a:lnTo>
                <a:lnTo>
                  <a:pt x="3705" y="69"/>
                </a:lnTo>
                <a:lnTo>
                  <a:pt x="3713" y="69"/>
                </a:lnTo>
                <a:lnTo>
                  <a:pt x="3713" y="69"/>
                </a:lnTo>
                <a:lnTo>
                  <a:pt x="3721" y="69"/>
                </a:lnTo>
                <a:lnTo>
                  <a:pt x="3721" y="69"/>
                </a:lnTo>
                <a:lnTo>
                  <a:pt x="3728" y="69"/>
                </a:lnTo>
                <a:lnTo>
                  <a:pt x="3728" y="69"/>
                </a:lnTo>
                <a:lnTo>
                  <a:pt x="3728" y="69"/>
                </a:lnTo>
                <a:lnTo>
                  <a:pt x="3728" y="61"/>
                </a:lnTo>
                <a:lnTo>
                  <a:pt x="3736" y="61"/>
                </a:lnTo>
                <a:lnTo>
                  <a:pt x="3736" y="61"/>
                </a:lnTo>
                <a:lnTo>
                  <a:pt x="3744" y="61"/>
                </a:lnTo>
                <a:lnTo>
                  <a:pt x="3744" y="61"/>
                </a:lnTo>
                <a:lnTo>
                  <a:pt x="3751" y="61"/>
                </a:lnTo>
                <a:lnTo>
                  <a:pt x="3751" y="61"/>
                </a:lnTo>
                <a:lnTo>
                  <a:pt x="3751" y="61"/>
                </a:lnTo>
                <a:lnTo>
                  <a:pt x="3751" y="61"/>
                </a:lnTo>
                <a:lnTo>
                  <a:pt x="3759" y="61"/>
                </a:lnTo>
                <a:lnTo>
                  <a:pt x="3759" y="61"/>
                </a:lnTo>
                <a:lnTo>
                  <a:pt x="3767" y="61"/>
                </a:lnTo>
                <a:lnTo>
                  <a:pt x="3767" y="61"/>
                </a:lnTo>
                <a:lnTo>
                  <a:pt x="3774" y="61"/>
                </a:lnTo>
                <a:lnTo>
                  <a:pt x="3774" y="61"/>
                </a:lnTo>
                <a:lnTo>
                  <a:pt x="3774" y="61"/>
                </a:lnTo>
                <a:lnTo>
                  <a:pt x="3774" y="61"/>
                </a:lnTo>
                <a:lnTo>
                  <a:pt x="3782" y="61"/>
                </a:lnTo>
                <a:lnTo>
                  <a:pt x="3782" y="53"/>
                </a:lnTo>
                <a:lnTo>
                  <a:pt x="3790" y="53"/>
                </a:lnTo>
                <a:lnTo>
                  <a:pt x="3790" y="53"/>
                </a:lnTo>
                <a:lnTo>
                  <a:pt x="3797" y="53"/>
                </a:lnTo>
                <a:lnTo>
                  <a:pt x="3797" y="46"/>
                </a:lnTo>
                <a:lnTo>
                  <a:pt x="3797" y="46"/>
                </a:lnTo>
                <a:lnTo>
                  <a:pt x="3797" y="46"/>
                </a:lnTo>
                <a:lnTo>
                  <a:pt x="3805" y="46"/>
                </a:lnTo>
                <a:lnTo>
                  <a:pt x="3805" y="46"/>
                </a:lnTo>
                <a:lnTo>
                  <a:pt x="3813" y="46"/>
                </a:lnTo>
                <a:lnTo>
                  <a:pt x="3813" y="46"/>
                </a:lnTo>
                <a:lnTo>
                  <a:pt x="3820" y="46"/>
                </a:lnTo>
                <a:lnTo>
                  <a:pt x="3820" y="38"/>
                </a:lnTo>
                <a:lnTo>
                  <a:pt x="3828" y="38"/>
                </a:lnTo>
                <a:lnTo>
                  <a:pt x="3828" y="38"/>
                </a:lnTo>
                <a:lnTo>
                  <a:pt x="3828" y="38"/>
                </a:lnTo>
                <a:lnTo>
                  <a:pt x="3828" y="38"/>
                </a:lnTo>
                <a:lnTo>
                  <a:pt x="3836" y="38"/>
                </a:lnTo>
                <a:lnTo>
                  <a:pt x="3836" y="38"/>
                </a:lnTo>
                <a:lnTo>
                  <a:pt x="3843" y="38"/>
                </a:lnTo>
                <a:lnTo>
                  <a:pt x="3843" y="38"/>
                </a:lnTo>
                <a:lnTo>
                  <a:pt x="3851" y="38"/>
                </a:lnTo>
                <a:lnTo>
                  <a:pt x="3851" y="38"/>
                </a:lnTo>
                <a:lnTo>
                  <a:pt x="3851" y="38"/>
                </a:lnTo>
                <a:lnTo>
                  <a:pt x="3851" y="38"/>
                </a:lnTo>
                <a:lnTo>
                  <a:pt x="3859" y="38"/>
                </a:lnTo>
                <a:lnTo>
                  <a:pt x="3859" y="38"/>
                </a:lnTo>
                <a:lnTo>
                  <a:pt x="3866" y="38"/>
                </a:lnTo>
                <a:lnTo>
                  <a:pt x="3866" y="38"/>
                </a:lnTo>
                <a:lnTo>
                  <a:pt x="3874" y="38"/>
                </a:lnTo>
                <a:lnTo>
                  <a:pt x="3874" y="38"/>
                </a:lnTo>
                <a:lnTo>
                  <a:pt x="3874" y="38"/>
                </a:lnTo>
                <a:lnTo>
                  <a:pt x="3874" y="38"/>
                </a:lnTo>
                <a:lnTo>
                  <a:pt x="3882" y="38"/>
                </a:lnTo>
                <a:lnTo>
                  <a:pt x="3882" y="38"/>
                </a:lnTo>
                <a:lnTo>
                  <a:pt x="3889" y="38"/>
                </a:lnTo>
                <a:lnTo>
                  <a:pt x="3889" y="30"/>
                </a:lnTo>
                <a:lnTo>
                  <a:pt x="3897" y="30"/>
                </a:lnTo>
                <a:lnTo>
                  <a:pt x="3897" y="30"/>
                </a:lnTo>
                <a:lnTo>
                  <a:pt x="3905" y="30"/>
                </a:lnTo>
                <a:lnTo>
                  <a:pt x="3905" y="30"/>
                </a:lnTo>
                <a:lnTo>
                  <a:pt x="3905" y="30"/>
                </a:lnTo>
                <a:lnTo>
                  <a:pt x="3905" y="30"/>
                </a:lnTo>
                <a:lnTo>
                  <a:pt x="3912" y="30"/>
                </a:lnTo>
                <a:lnTo>
                  <a:pt x="3912" y="23"/>
                </a:lnTo>
                <a:lnTo>
                  <a:pt x="3920" y="23"/>
                </a:lnTo>
                <a:lnTo>
                  <a:pt x="3920" y="23"/>
                </a:lnTo>
                <a:lnTo>
                  <a:pt x="3928" y="23"/>
                </a:lnTo>
                <a:lnTo>
                  <a:pt x="3928" y="23"/>
                </a:lnTo>
                <a:lnTo>
                  <a:pt x="3928" y="23"/>
                </a:lnTo>
                <a:lnTo>
                  <a:pt x="3928" y="15"/>
                </a:lnTo>
                <a:lnTo>
                  <a:pt x="3935" y="15"/>
                </a:lnTo>
                <a:lnTo>
                  <a:pt x="3935" y="15"/>
                </a:lnTo>
                <a:lnTo>
                  <a:pt x="3943" y="15"/>
                </a:lnTo>
                <a:lnTo>
                  <a:pt x="3943" y="15"/>
                </a:lnTo>
                <a:lnTo>
                  <a:pt x="3951" y="15"/>
                </a:lnTo>
                <a:lnTo>
                  <a:pt x="3951" y="15"/>
                </a:lnTo>
                <a:lnTo>
                  <a:pt x="3951" y="15"/>
                </a:lnTo>
                <a:lnTo>
                  <a:pt x="3951" y="15"/>
                </a:lnTo>
                <a:lnTo>
                  <a:pt x="3958" y="15"/>
                </a:lnTo>
                <a:lnTo>
                  <a:pt x="3958" y="15"/>
                </a:lnTo>
                <a:lnTo>
                  <a:pt x="3966" y="15"/>
                </a:lnTo>
                <a:lnTo>
                  <a:pt x="3966" y="15"/>
                </a:lnTo>
                <a:lnTo>
                  <a:pt x="3974" y="15"/>
                </a:lnTo>
                <a:lnTo>
                  <a:pt x="3974" y="15"/>
                </a:lnTo>
                <a:lnTo>
                  <a:pt x="3974" y="15"/>
                </a:lnTo>
                <a:lnTo>
                  <a:pt x="3974" y="15"/>
                </a:lnTo>
                <a:lnTo>
                  <a:pt x="3981" y="15"/>
                </a:lnTo>
                <a:lnTo>
                  <a:pt x="3981" y="15"/>
                </a:lnTo>
                <a:lnTo>
                  <a:pt x="3989" y="15"/>
                </a:lnTo>
                <a:lnTo>
                  <a:pt x="3989" y="15"/>
                </a:lnTo>
                <a:lnTo>
                  <a:pt x="3997" y="15"/>
                </a:lnTo>
                <a:lnTo>
                  <a:pt x="3997" y="15"/>
                </a:lnTo>
                <a:lnTo>
                  <a:pt x="4004" y="15"/>
                </a:lnTo>
                <a:lnTo>
                  <a:pt x="4004" y="15"/>
                </a:lnTo>
                <a:lnTo>
                  <a:pt x="4004" y="15"/>
                </a:lnTo>
                <a:lnTo>
                  <a:pt x="4004" y="15"/>
                </a:lnTo>
                <a:lnTo>
                  <a:pt x="4012" y="15"/>
                </a:lnTo>
                <a:lnTo>
                  <a:pt x="4012" y="15"/>
                </a:lnTo>
                <a:lnTo>
                  <a:pt x="4020" y="15"/>
                </a:lnTo>
                <a:lnTo>
                  <a:pt x="4020" y="15"/>
                </a:lnTo>
                <a:lnTo>
                  <a:pt x="4027" y="15"/>
                </a:lnTo>
                <a:lnTo>
                  <a:pt x="4027" y="7"/>
                </a:lnTo>
                <a:lnTo>
                  <a:pt x="4035" y="7"/>
                </a:lnTo>
                <a:lnTo>
                  <a:pt x="4035" y="7"/>
                </a:lnTo>
                <a:lnTo>
                  <a:pt x="4043" y="7"/>
                </a:lnTo>
                <a:lnTo>
                  <a:pt x="4043" y="7"/>
                </a:lnTo>
                <a:lnTo>
                  <a:pt x="4050" y="7"/>
                </a:lnTo>
                <a:lnTo>
                  <a:pt x="4050" y="7"/>
                </a:lnTo>
                <a:lnTo>
                  <a:pt x="4050" y="7"/>
                </a:lnTo>
                <a:lnTo>
                  <a:pt x="4050" y="7"/>
                </a:lnTo>
                <a:lnTo>
                  <a:pt x="4058" y="7"/>
                </a:lnTo>
                <a:lnTo>
                  <a:pt x="4058" y="7"/>
                </a:lnTo>
                <a:lnTo>
                  <a:pt x="4066" y="7"/>
                </a:lnTo>
                <a:lnTo>
                  <a:pt x="4066" y="7"/>
                </a:lnTo>
                <a:lnTo>
                  <a:pt x="4073" y="7"/>
                </a:lnTo>
                <a:lnTo>
                  <a:pt x="4073" y="7"/>
                </a:lnTo>
                <a:lnTo>
                  <a:pt x="4081" y="7"/>
                </a:lnTo>
                <a:lnTo>
                  <a:pt x="4081" y="0"/>
                </a:lnTo>
                <a:lnTo>
                  <a:pt x="4081" y="0"/>
                </a:lnTo>
                <a:lnTo>
                  <a:pt x="4081" y="0"/>
                </a:lnTo>
              </a:path>
            </a:pathLst>
          </a:custGeom>
          <a:noFill/>
          <a:ln w="25400" cap="sq">
            <a:solidFill>
              <a:srgbClr val="0B0B45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9" name="Freeform 38"/>
          <p:cNvSpPr>
            <a:spLocks/>
          </p:cNvSpPr>
          <p:nvPr/>
        </p:nvSpPr>
        <p:spPr bwMode="auto">
          <a:xfrm>
            <a:off x="8294687" y="3551237"/>
            <a:ext cx="2033588" cy="790575"/>
          </a:xfrm>
          <a:custGeom>
            <a:avLst/>
            <a:gdLst>
              <a:gd name="T0" fmla="*/ 23 w 1281"/>
              <a:gd name="T1" fmla="*/ 490 h 498"/>
              <a:gd name="T2" fmla="*/ 46 w 1281"/>
              <a:gd name="T3" fmla="*/ 482 h 498"/>
              <a:gd name="T4" fmla="*/ 61 w 1281"/>
              <a:gd name="T5" fmla="*/ 482 h 498"/>
              <a:gd name="T6" fmla="*/ 84 w 1281"/>
              <a:gd name="T7" fmla="*/ 475 h 498"/>
              <a:gd name="T8" fmla="*/ 100 w 1281"/>
              <a:gd name="T9" fmla="*/ 467 h 498"/>
              <a:gd name="T10" fmla="*/ 123 w 1281"/>
              <a:gd name="T11" fmla="*/ 459 h 498"/>
              <a:gd name="T12" fmla="*/ 146 w 1281"/>
              <a:gd name="T13" fmla="*/ 452 h 498"/>
              <a:gd name="T14" fmla="*/ 169 w 1281"/>
              <a:gd name="T15" fmla="*/ 444 h 498"/>
              <a:gd name="T16" fmla="*/ 184 w 1281"/>
              <a:gd name="T17" fmla="*/ 429 h 498"/>
              <a:gd name="T18" fmla="*/ 207 w 1281"/>
              <a:gd name="T19" fmla="*/ 414 h 498"/>
              <a:gd name="T20" fmla="*/ 223 w 1281"/>
              <a:gd name="T21" fmla="*/ 406 h 498"/>
              <a:gd name="T22" fmla="*/ 246 w 1281"/>
              <a:gd name="T23" fmla="*/ 391 h 498"/>
              <a:gd name="T24" fmla="*/ 269 w 1281"/>
              <a:gd name="T25" fmla="*/ 383 h 498"/>
              <a:gd name="T26" fmla="*/ 292 w 1281"/>
              <a:gd name="T27" fmla="*/ 375 h 498"/>
              <a:gd name="T28" fmla="*/ 307 w 1281"/>
              <a:gd name="T29" fmla="*/ 375 h 498"/>
              <a:gd name="T30" fmla="*/ 330 w 1281"/>
              <a:gd name="T31" fmla="*/ 368 h 498"/>
              <a:gd name="T32" fmla="*/ 345 w 1281"/>
              <a:gd name="T33" fmla="*/ 360 h 498"/>
              <a:gd name="T34" fmla="*/ 376 w 1281"/>
              <a:gd name="T35" fmla="*/ 360 h 498"/>
              <a:gd name="T36" fmla="*/ 391 w 1281"/>
              <a:gd name="T37" fmla="*/ 360 h 498"/>
              <a:gd name="T38" fmla="*/ 414 w 1281"/>
              <a:gd name="T39" fmla="*/ 337 h 498"/>
              <a:gd name="T40" fmla="*/ 430 w 1281"/>
              <a:gd name="T41" fmla="*/ 337 h 498"/>
              <a:gd name="T42" fmla="*/ 453 w 1281"/>
              <a:gd name="T43" fmla="*/ 329 h 498"/>
              <a:gd name="T44" fmla="*/ 476 w 1281"/>
              <a:gd name="T45" fmla="*/ 329 h 498"/>
              <a:gd name="T46" fmla="*/ 499 w 1281"/>
              <a:gd name="T47" fmla="*/ 322 h 498"/>
              <a:gd name="T48" fmla="*/ 514 w 1281"/>
              <a:gd name="T49" fmla="*/ 322 h 498"/>
              <a:gd name="T50" fmla="*/ 537 w 1281"/>
              <a:gd name="T51" fmla="*/ 322 h 498"/>
              <a:gd name="T52" fmla="*/ 552 w 1281"/>
              <a:gd name="T53" fmla="*/ 314 h 498"/>
              <a:gd name="T54" fmla="*/ 575 w 1281"/>
              <a:gd name="T55" fmla="*/ 314 h 498"/>
              <a:gd name="T56" fmla="*/ 598 w 1281"/>
              <a:gd name="T57" fmla="*/ 299 h 498"/>
              <a:gd name="T58" fmla="*/ 621 w 1281"/>
              <a:gd name="T59" fmla="*/ 299 h 498"/>
              <a:gd name="T60" fmla="*/ 637 w 1281"/>
              <a:gd name="T61" fmla="*/ 299 h 498"/>
              <a:gd name="T62" fmla="*/ 660 w 1281"/>
              <a:gd name="T63" fmla="*/ 291 h 498"/>
              <a:gd name="T64" fmla="*/ 683 w 1281"/>
              <a:gd name="T65" fmla="*/ 291 h 498"/>
              <a:gd name="T66" fmla="*/ 706 w 1281"/>
              <a:gd name="T67" fmla="*/ 283 h 498"/>
              <a:gd name="T68" fmla="*/ 729 w 1281"/>
              <a:gd name="T69" fmla="*/ 283 h 498"/>
              <a:gd name="T70" fmla="*/ 752 w 1281"/>
              <a:gd name="T71" fmla="*/ 283 h 498"/>
              <a:gd name="T72" fmla="*/ 767 w 1281"/>
              <a:gd name="T73" fmla="*/ 276 h 498"/>
              <a:gd name="T74" fmla="*/ 790 w 1281"/>
              <a:gd name="T75" fmla="*/ 268 h 498"/>
              <a:gd name="T76" fmla="*/ 806 w 1281"/>
              <a:gd name="T77" fmla="*/ 260 h 498"/>
              <a:gd name="T78" fmla="*/ 829 w 1281"/>
              <a:gd name="T79" fmla="*/ 260 h 498"/>
              <a:gd name="T80" fmla="*/ 852 w 1281"/>
              <a:gd name="T81" fmla="*/ 253 h 498"/>
              <a:gd name="T82" fmla="*/ 875 w 1281"/>
              <a:gd name="T83" fmla="*/ 253 h 498"/>
              <a:gd name="T84" fmla="*/ 890 w 1281"/>
              <a:gd name="T85" fmla="*/ 245 h 498"/>
              <a:gd name="T86" fmla="*/ 913 w 1281"/>
              <a:gd name="T87" fmla="*/ 230 h 498"/>
              <a:gd name="T88" fmla="*/ 928 w 1281"/>
              <a:gd name="T89" fmla="*/ 230 h 498"/>
              <a:gd name="T90" fmla="*/ 951 w 1281"/>
              <a:gd name="T91" fmla="*/ 222 h 498"/>
              <a:gd name="T92" fmla="*/ 974 w 1281"/>
              <a:gd name="T93" fmla="*/ 222 h 498"/>
              <a:gd name="T94" fmla="*/ 997 w 1281"/>
              <a:gd name="T95" fmla="*/ 207 h 498"/>
              <a:gd name="T96" fmla="*/ 1013 w 1281"/>
              <a:gd name="T97" fmla="*/ 191 h 498"/>
              <a:gd name="T98" fmla="*/ 1036 w 1281"/>
              <a:gd name="T99" fmla="*/ 184 h 498"/>
              <a:gd name="T100" fmla="*/ 1051 w 1281"/>
              <a:gd name="T101" fmla="*/ 176 h 498"/>
              <a:gd name="T102" fmla="*/ 1082 w 1281"/>
              <a:gd name="T103" fmla="*/ 168 h 498"/>
              <a:gd name="T104" fmla="*/ 1097 w 1281"/>
              <a:gd name="T105" fmla="*/ 161 h 498"/>
              <a:gd name="T106" fmla="*/ 1120 w 1281"/>
              <a:gd name="T107" fmla="*/ 153 h 498"/>
              <a:gd name="T108" fmla="*/ 1135 w 1281"/>
              <a:gd name="T109" fmla="*/ 122 h 498"/>
              <a:gd name="T110" fmla="*/ 1158 w 1281"/>
              <a:gd name="T111" fmla="*/ 92 h 498"/>
              <a:gd name="T112" fmla="*/ 1181 w 1281"/>
              <a:gd name="T113" fmla="*/ 84 h 498"/>
              <a:gd name="T114" fmla="*/ 1204 w 1281"/>
              <a:gd name="T115" fmla="*/ 76 h 498"/>
              <a:gd name="T116" fmla="*/ 1220 w 1281"/>
              <a:gd name="T117" fmla="*/ 53 h 498"/>
              <a:gd name="T118" fmla="*/ 1243 w 1281"/>
              <a:gd name="T119" fmla="*/ 30 h 498"/>
              <a:gd name="T120" fmla="*/ 1258 w 1281"/>
              <a:gd name="T121" fmla="*/ 23 h 498"/>
              <a:gd name="T122" fmla="*/ 1281 w 1281"/>
              <a:gd name="T123" fmla="*/ 7 h 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81" h="498">
                <a:moveTo>
                  <a:pt x="0" y="498"/>
                </a:moveTo>
                <a:lnTo>
                  <a:pt x="8" y="498"/>
                </a:lnTo>
                <a:lnTo>
                  <a:pt x="8" y="498"/>
                </a:lnTo>
                <a:lnTo>
                  <a:pt x="15" y="498"/>
                </a:lnTo>
                <a:lnTo>
                  <a:pt x="15" y="498"/>
                </a:lnTo>
                <a:lnTo>
                  <a:pt x="23" y="498"/>
                </a:lnTo>
                <a:lnTo>
                  <a:pt x="23" y="490"/>
                </a:lnTo>
                <a:lnTo>
                  <a:pt x="23" y="490"/>
                </a:lnTo>
                <a:lnTo>
                  <a:pt x="23" y="490"/>
                </a:lnTo>
                <a:lnTo>
                  <a:pt x="31" y="490"/>
                </a:lnTo>
                <a:lnTo>
                  <a:pt x="31" y="490"/>
                </a:lnTo>
                <a:lnTo>
                  <a:pt x="38" y="490"/>
                </a:lnTo>
                <a:lnTo>
                  <a:pt x="38" y="482"/>
                </a:lnTo>
                <a:lnTo>
                  <a:pt x="46" y="482"/>
                </a:lnTo>
                <a:lnTo>
                  <a:pt x="46" y="482"/>
                </a:lnTo>
                <a:lnTo>
                  <a:pt x="46" y="482"/>
                </a:lnTo>
                <a:lnTo>
                  <a:pt x="46" y="482"/>
                </a:lnTo>
                <a:lnTo>
                  <a:pt x="54" y="482"/>
                </a:lnTo>
                <a:lnTo>
                  <a:pt x="54" y="482"/>
                </a:lnTo>
                <a:lnTo>
                  <a:pt x="61" y="482"/>
                </a:lnTo>
                <a:lnTo>
                  <a:pt x="61" y="482"/>
                </a:lnTo>
                <a:lnTo>
                  <a:pt x="69" y="482"/>
                </a:lnTo>
                <a:lnTo>
                  <a:pt x="69" y="482"/>
                </a:lnTo>
                <a:lnTo>
                  <a:pt x="69" y="482"/>
                </a:lnTo>
                <a:lnTo>
                  <a:pt x="69" y="475"/>
                </a:lnTo>
                <a:lnTo>
                  <a:pt x="77" y="475"/>
                </a:lnTo>
                <a:lnTo>
                  <a:pt x="77" y="475"/>
                </a:lnTo>
                <a:lnTo>
                  <a:pt x="84" y="475"/>
                </a:lnTo>
                <a:lnTo>
                  <a:pt x="84" y="475"/>
                </a:lnTo>
                <a:lnTo>
                  <a:pt x="92" y="475"/>
                </a:lnTo>
                <a:lnTo>
                  <a:pt x="92" y="467"/>
                </a:lnTo>
                <a:lnTo>
                  <a:pt x="100" y="467"/>
                </a:lnTo>
                <a:lnTo>
                  <a:pt x="100" y="467"/>
                </a:lnTo>
                <a:lnTo>
                  <a:pt x="100" y="467"/>
                </a:lnTo>
                <a:lnTo>
                  <a:pt x="100" y="467"/>
                </a:lnTo>
                <a:lnTo>
                  <a:pt x="107" y="467"/>
                </a:lnTo>
                <a:lnTo>
                  <a:pt x="107" y="459"/>
                </a:lnTo>
                <a:lnTo>
                  <a:pt x="115" y="459"/>
                </a:lnTo>
                <a:lnTo>
                  <a:pt x="115" y="459"/>
                </a:lnTo>
                <a:lnTo>
                  <a:pt x="123" y="459"/>
                </a:lnTo>
                <a:lnTo>
                  <a:pt x="123" y="459"/>
                </a:lnTo>
                <a:lnTo>
                  <a:pt x="123" y="459"/>
                </a:lnTo>
                <a:lnTo>
                  <a:pt x="123" y="452"/>
                </a:lnTo>
                <a:lnTo>
                  <a:pt x="130" y="452"/>
                </a:lnTo>
                <a:lnTo>
                  <a:pt x="130" y="452"/>
                </a:lnTo>
                <a:lnTo>
                  <a:pt x="138" y="452"/>
                </a:lnTo>
                <a:lnTo>
                  <a:pt x="138" y="452"/>
                </a:lnTo>
                <a:lnTo>
                  <a:pt x="146" y="452"/>
                </a:lnTo>
                <a:lnTo>
                  <a:pt x="146" y="452"/>
                </a:lnTo>
                <a:lnTo>
                  <a:pt x="146" y="452"/>
                </a:lnTo>
                <a:lnTo>
                  <a:pt x="146" y="452"/>
                </a:lnTo>
                <a:lnTo>
                  <a:pt x="154" y="452"/>
                </a:lnTo>
                <a:lnTo>
                  <a:pt x="154" y="444"/>
                </a:lnTo>
                <a:lnTo>
                  <a:pt x="161" y="444"/>
                </a:lnTo>
                <a:lnTo>
                  <a:pt x="161" y="444"/>
                </a:lnTo>
                <a:lnTo>
                  <a:pt x="169" y="444"/>
                </a:lnTo>
                <a:lnTo>
                  <a:pt x="169" y="444"/>
                </a:lnTo>
                <a:lnTo>
                  <a:pt x="169" y="444"/>
                </a:lnTo>
                <a:lnTo>
                  <a:pt x="169" y="436"/>
                </a:lnTo>
                <a:lnTo>
                  <a:pt x="177" y="436"/>
                </a:lnTo>
                <a:lnTo>
                  <a:pt x="177" y="436"/>
                </a:lnTo>
                <a:lnTo>
                  <a:pt x="184" y="436"/>
                </a:lnTo>
                <a:lnTo>
                  <a:pt x="184" y="429"/>
                </a:lnTo>
                <a:lnTo>
                  <a:pt x="192" y="429"/>
                </a:lnTo>
                <a:lnTo>
                  <a:pt x="192" y="429"/>
                </a:lnTo>
                <a:lnTo>
                  <a:pt x="200" y="429"/>
                </a:lnTo>
                <a:lnTo>
                  <a:pt x="200" y="429"/>
                </a:lnTo>
                <a:lnTo>
                  <a:pt x="200" y="429"/>
                </a:lnTo>
                <a:lnTo>
                  <a:pt x="200" y="414"/>
                </a:lnTo>
                <a:lnTo>
                  <a:pt x="207" y="414"/>
                </a:lnTo>
                <a:lnTo>
                  <a:pt x="207" y="414"/>
                </a:lnTo>
                <a:lnTo>
                  <a:pt x="215" y="414"/>
                </a:lnTo>
                <a:lnTo>
                  <a:pt x="215" y="406"/>
                </a:lnTo>
                <a:lnTo>
                  <a:pt x="223" y="406"/>
                </a:lnTo>
                <a:lnTo>
                  <a:pt x="223" y="406"/>
                </a:lnTo>
                <a:lnTo>
                  <a:pt x="223" y="406"/>
                </a:lnTo>
                <a:lnTo>
                  <a:pt x="223" y="406"/>
                </a:lnTo>
                <a:lnTo>
                  <a:pt x="230" y="406"/>
                </a:lnTo>
                <a:lnTo>
                  <a:pt x="230" y="406"/>
                </a:lnTo>
                <a:lnTo>
                  <a:pt x="238" y="406"/>
                </a:lnTo>
                <a:lnTo>
                  <a:pt x="238" y="406"/>
                </a:lnTo>
                <a:lnTo>
                  <a:pt x="246" y="406"/>
                </a:lnTo>
                <a:lnTo>
                  <a:pt x="246" y="391"/>
                </a:lnTo>
                <a:lnTo>
                  <a:pt x="246" y="391"/>
                </a:lnTo>
                <a:lnTo>
                  <a:pt x="246" y="391"/>
                </a:lnTo>
                <a:lnTo>
                  <a:pt x="253" y="391"/>
                </a:lnTo>
                <a:lnTo>
                  <a:pt x="253" y="391"/>
                </a:lnTo>
                <a:lnTo>
                  <a:pt x="261" y="391"/>
                </a:lnTo>
                <a:lnTo>
                  <a:pt x="261" y="383"/>
                </a:lnTo>
                <a:lnTo>
                  <a:pt x="269" y="383"/>
                </a:lnTo>
                <a:lnTo>
                  <a:pt x="269" y="383"/>
                </a:lnTo>
                <a:lnTo>
                  <a:pt x="276" y="383"/>
                </a:lnTo>
                <a:lnTo>
                  <a:pt x="276" y="383"/>
                </a:lnTo>
                <a:lnTo>
                  <a:pt x="276" y="383"/>
                </a:lnTo>
                <a:lnTo>
                  <a:pt x="276" y="375"/>
                </a:lnTo>
                <a:lnTo>
                  <a:pt x="284" y="375"/>
                </a:lnTo>
                <a:lnTo>
                  <a:pt x="284" y="375"/>
                </a:lnTo>
                <a:lnTo>
                  <a:pt x="292" y="375"/>
                </a:lnTo>
                <a:lnTo>
                  <a:pt x="292" y="375"/>
                </a:lnTo>
                <a:lnTo>
                  <a:pt x="299" y="375"/>
                </a:lnTo>
                <a:lnTo>
                  <a:pt x="299" y="375"/>
                </a:lnTo>
                <a:lnTo>
                  <a:pt x="299" y="375"/>
                </a:lnTo>
                <a:lnTo>
                  <a:pt x="299" y="375"/>
                </a:lnTo>
                <a:lnTo>
                  <a:pt x="307" y="375"/>
                </a:lnTo>
                <a:lnTo>
                  <a:pt x="307" y="375"/>
                </a:lnTo>
                <a:lnTo>
                  <a:pt x="315" y="375"/>
                </a:lnTo>
                <a:lnTo>
                  <a:pt x="315" y="375"/>
                </a:lnTo>
                <a:lnTo>
                  <a:pt x="322" y="375"/>
                </a:lnTo>
                <a:lnTo>
                  <a:pt x="322" y="375"/>
                </a:lnTo>
                <a:lnTo>
                  <a:pt x="322" y="375"/>
                </a:lnTo>
                <a:lnTo>
                  <a:pt x="322" y="368"/>
                </a:lnTo>
                <a:lnTo>
                  <a:pt x="330" y="368"/>
                </a:lnTo>
                <a:lnTo>
                  <a:pt x="330" y="360"/>
                </a:lnTo>
                <a:lnTo>
                  <a:pt x="338" y="360"/>
                </a:lnTo>
                <a:lnTo>
                  <a:pt x="338" y="360"/>
                </a:lnTo>
                <a:lnTo>
                  <a:pt x="345" y="360"/>
                </a:lnTo>
                <a:lnTo>
                  <a:pt x="345" y="360"/>
                </a:lnTo>
                <a:lnTo>
                  <a:pt x="345" y="360"/>
                </a:lnTo>
                <a:lnTo>
                  <a:pt x="345" y="360"/>
                </a:lnTo>
                <a:lnTo>
                  <a:pt x="353" y="360"/>
                </a:lnTo>
                <a:lnTo>
                  <a:pt x="353" y="360"/>
                </a:lnTo>
                <a:lnTo>
                  <a:pt x="361" y="360"/>
                </a:lnTo>
                <a:lnTo>
                  <a:pt x="361" y="360"/>
                </a:lnTo>
                <a:lnTo>
                  <a:pt x="368" y="360"/>
                </a:lnTo>
                <a:lnTo>
                  <a:pt x="368" y="360"/>
                </a:lnTo>
                <a:lnTo>
                  <a:pt x="376" y="360"/>
                </a:lnTo>
                <a:lnTo>
                  <a:pt x="376" y="360"/>
                </a:lnTo>
                <a:lnTo>
                  <a:pt x="376" y="360"/>
                </a:lnTo>
                <a:lnTo>
                  <a:pt x="376" y="360"/>
                </a:lnTo>
                <a:lnTo>
                  <a:pt x="384" y="360"/>
                </a:lnTo>
                <a:lnTo>
                  <a:pt x="384" y="360"/>
                </a:lnTo>
                <a:lnTo>
                  <a:pt x="391" y="360"/>
                </a:lnTo>
                <a:lnTo>
                  <a:pt x="391" y="360"/>
                </a:lnTo>
                <a:lnTo>
                  <a:pt x="399" y="360"/>
                </a:lnTo>
                <a:lnTo>
                  <a:pt x="399" y="352"/>
                </a:lnTo>
                <a:lnTo>
                  <a:pt x="399" y="352"/>
                </a:lnTo>
                <a:lnTo>
                  <a:pt x="399" y="352"/>
                </a:lnTo>
                <a:lnTo>
                  <a:pt x="407" y="352"/>
                </a:lnTo>
                <a:lnTo>
                  <a:pt x="407" y="337"/>
                </a:lnTo>
                <a:lnTo>
                  <a:pt x="414" y="337"/>
                </a:lnTo>
                <a:lnTo>
                  <a:pt x="414" y="337"/>
                </a:lnTo>
                <a:lnTo>
                  <a:pt x="422" y="337"/>
                </a:lnTo>
                <a:lnTo>
                  <a:pt x="422" y="337"/>
                </a:lnTo>
                <a:lnTo>
                  <a:pt x="422" y="337"/>
                </a:lnTo>
                <a:lnTo>
                  <a:pt x="422" y="337"/>
                </a:lnTo>
                <a:lnTo>
                  <a:pt x="430" y="337"/>
                </a:lnTo>
                <a:lnTo>
                  <a:pt x="430" y="337"/>
                </a:lnTo>
                <a:lnTo>
                  <a:pt x="437" y="337"/>
                </a:lnTo>
                <a:lnTo>
                  <a:pt x="437" y="337"/>
                </a:lnTo>
                <a:lnTo>
                  <a:pt x="445" y="337"/>
                </a:lnTo>
                <a:lnTo>
                  <a:pt x="445" y="329"/>
                </a:lnTo>
                <a:lnTo>
                  <a:pt x="453" y="329"/>
                </a:lnTo>
                <a:lnTo>
                  <a:pt x="453" y="329"/>
                </a:lnTo>
                <a:lnTo>
                  <a:pt x="453" y="329"/>
                </a:lnTo>
                <a:lnTo>
                  <a:pt x="453" y="329"/>
                </a:lnTo>
                <a:lnTo>
                  <a:pt x="460" y="329"/>
                </a:lnTo>
                <a:lnTo>
                  <a:pt x="460" y="329"/>
                </a:lnTo>
                <a:lnTo>
                  <a:pt x="468" y="329"/>
                </a:lnTo>
                <a:lnTo>
                  <a:pt x="468" y="329"/>
                </a:lnTo>
                <a:lnTo>
                  <a:pt x="476" y="329"/>
                </a:lnTo>
                <a:lnTo>
                  <a:pt x="476" y="329"/>
                </a:lnTo>
                <a:lnTo>
                  <a:pt x="476" y="329"/>
                </a:lnTo>
                <a:lnTo>
                  <a:pt x="476" y="329"/>
                </a:lnTo>
                <a:lnTo>
                  <a:pt x="483" y="329"/>
                </a:lnTo>
                <a:lnTo>
                  <a:pt x="483" y="322"/>
                </a:lnTo>
                <a:lnTo>
                  <a:pt x="491" y="322"/>
                </a:lnTo>
                <a:lnTo>
                  <a:pt x="491" y="322"/>
                </a:lnTo>
                <a:lnTo>
                  <a:pt x="499" y="322"/>
                </a:lnTo>
                <a:lnTo>
                  <a:pt x="499" y="322"/>
                </a:lnTo>
                <a:lnTo>
                  <a:pt x="499" y="322"/>
                </a:lnTo>
                <a:lnTo>
                  <a:pt x="499" y="322"/>
                </a:lnTo>
                <a:lnTo>
                  <a:pt x="506" y="322"/>
                </a:lnTo>
                <a:lnTo>
                  <a:pt x="506" y="322"/>
                </a:lnTo>
                <a:lnTo>
                  <a:pt x="514" y="322"/>
                </a:lnTo>
                <a:lnTo>
                  <a:pt x="514" y="322"/>
                </a:lnTo>
                <a:lnTo>
                  <a:pt x="522" y="322"/>
                </a:lnTo>
                <a:lnTo>
                  <a:pt x="522" y="322"/>
                </a:lnTo>
                <a:lnTo>
                  <a:pt x="522" y="322"/>
                </a:lnTo>
                <a:lnTo>
                  <a:pt x="522" y="322"/>
                </a:lnTo>
                <a:lnTo>
                  <a:pt x="529" y="322"/>
                </a:lnTo>
                <a:lnTo>
                  <a:pt x="529" y="322"/>
                </a:lnTo>
                <a:lnTo>
                  <a:pt x="537" y="322"/>
                </a:lnTo>
                <a:lnTo>
                  <a:pt x="537" y="322"/>
                </a:lnTo>
                <a:lnTo>
                  <a:pt x="545" y="322"/>
                </a:lnTo>
                <a:lnTo>
                  <a:pt x="545" y="314"/>
                </a:lnTo>
                <a:lnTo>
                  <a:pt x="552" y="314"/>
                </a:lnTo>
                <a:lnTo>
                  <a:pt x="552" y="314"/>
                </a:lnTo>
                <a:lnTo>
                  <a:pt x="552" y="314"/>
                </a:lnTo>
                <a:lnTo>
                  <a:pt x="552" y="314"/>
                </a:lnTo>
                <a:lnTo>
                  <a:pt x="560" y="314"/>
                </a:lnTo>
                <a:lnTo>
                  <a:pt x="560" y="314"/>
                </a:lnTo>
                <a:lnTo>
                  <a:pt x="568" y="314"/>
                </a:lnTo>
                <a:lnTo>
                  <a:pt x="568" y="314"/>
                </a:lnTo>
                <a:lnTo>
                  <a:pt x="575" y="314"/>
                </a:lnTo>
                <a:lnTo>
                  <a:pt x="575" y="314"/>
                </a:lnTo>
                <a:lnTo>
                  <a:pt x="575" y="314"/>
                </a:lnTo>
                <a:lnTo>
                  <a:pt x="575" y="306"/>
                </a:lnTo>
                <a:lnTo>
                  <a:pt x="583" y="306"/>
                </a:lnTo>
                <a:lnTo>
                  <a:pt x="583" y="306"/>
                </a:lnTo>
                <a:lnTo>
                  <a:pt x="591" y="306"/>
                </a:lnTo>
                <a:lnTo>
                  <a:pt x="591" y="299"/>
                </a:lnTo>
                <a:lnTo>
                  <a:pt x="598" y="299"/>
                </a:lnTo>
                <a:lnTo>
                  <a:pt x="598" y="299"/>
                </a:lnTo>
                <a:lnTo>
                  <a:pt x="598" y="299"/>
                </a:lnTo>
                <a:lnTo>
                  <a:pt x="598" y="299"/>
                </a:lnTo>
                <a:lnTo>
                  <a:pt x="606" y="299"/>
                </a:lnTo>
                <a:lnTo>
                  <a:pt x="606" y="299"/>
                </a:lnTo>
                <a:lnTo>
                  <a:pt x="614" y="299"/>
                </a:lnTo>
                <a:lnTo>
                  <a:pt x="614" y="299"/>
                </a:lnTo>
                <a:lnTo>
                  <a:pt x="621" y="299"/>
                </a:lnTo>
                <a:lnTo>
                  <a:pt x="621" y="299"/>
                </a:lnTo>
                <a:lnTo>
                  <a:pt x="629" y="299"/>
                </a:lnTo>
                <a:lnTo>
                  <a:pt x="629" y="299"/>
                </a:lnTo>
                <a:lnTo>
                  <a:pt x="629" y="299"/>
                </a:lnTo>
                <a:lnTo>
                  <a:pt x="629" y="299"/>
                </a:lnTo>
                <a:lnTo>
                  <a:pt x="637" y="299"/>
                </a:lnTo>
                <a:lnTo>
                  <a:pt x="637" y="299"/>
                </a:lnTo>
                <a:lnTo>
                  <a:pt x="644" y="299"/>
                </a:lnTo>
                <a:lnTo>
                  <a:pt x="644" y="299"/>
                </a:lnTo>
                <a:lnTo>
                  <a:pt x="652" y="299"/>
                </a:lnTo>
                <a:lnTo>
                  <a:pt x="652" y="299"/>
                </a:lnTo>
                <a:lnTo>
                  <a:pt x="652" y="299"/>
                </a:lnTo>
                <a:lnTo>
                  <a:pt x="652" y="291"/>
                </a:lnTo>
                <a:lnTo>
                  <a:pt x="660" y="291"/>
                </a:lnTo>
                <a:lnTo>
                  <a:pt x="660" y="291"/>
                </a:lnTo>
                <a:lnTo>
                  <a:pt x="667" y="291"/>
                </a:lnTo>
                <a:lnTo>
                  <a:pt x="667" y="291"/>
                </a:lnTo>
                <a:lnTo>
                  <a:pt x="675" y="291"/>
                </a:lnTo>
                <a:lnTo>
                  <a:pt x="675" y="291"/>
                </a:lnTo>
                <a:lnTo>
                  <a:pt x="683" y="291"/>
                </a:lnTo>
                <a:lnTo>
                  <a:pt x="683" y="291"/>
                </a:lnTo>
                <a:lnTo>
                  <a:pt x="690" y="291"/>
                </a:lnTo>
                <a:lnTo>
                  <a:pt x="690" y="291"/>
                </a:lnTo>
                <a:lnTo>
                  <a:pt x="698" y="291"/>
                </a:lnTo>
                <a:lnTo>
                  <a:pt x="698" y="291"/>
                </a:lnTo>
                <a:lnTo>
                  <a:pt x="698" y="291"/>
                </a:lnTo>
                <a:lnTo>
                  <a:pt x="698" y="283"/>
                </a:lnTo>
                <a:lnTo>
                  <a:pt x="706" y="283"/>
                </a:lnTo>
                <a:lnTo>
                  <a:pt x="706" y="283"/>
                </a:lnTo>
                <a:lnTo>
                  <a:pt x="713" y="283"/>
                </a:lnTo>
                <a:lnTo>
                  <a:pt x="713" y="283"/>
                </a:lnTo>
                <a:lnTo>
                  <a:pt x="721" y="283"/>
                </a:lnTo>
                <a:lnTo>
                  <a:pt x="721" y="283"/>
                </a:lnTo>
                <a:lnTo>
                  <a:pt x="729" y="283"/>
                </a:lnTo>
                <a:lnTo>
                  <a:pt x="729" y="283"/>
                </a:lnTo>
                <a:lnTo>
                  <a:pt x="729" y="283"/>
                </a:lnTo>
                <a:lnTo>
                  <a:pt x="729" y="283"/>
                </a:lnTo>
                <a:lnTo>
                  <a:pt x="736" y="283"/>
                </a:lnTo>
                <a:lnTo>
                  <a:pt x="736" y="283"/>
                </a:lnTo>
                <a:lnTo>
                  <a:pt x="744" y="283"/>
                </a:lnTo>
                <a:lnTo>
                  <a:pt x="744" y="283"/>
                </a:lnTo>
                <a:lnTo>
                  <a:pt x="752" y="283"/>
                </a:lnTo>
                <a:lnTo>
                  <a:pt x="752" y="283"/>
                </a:lnTo>
                <a:lnTo>
                  <a:pt x="752" y="283"/>
                </a:lnTo>
                <a:lnTo>
                  <a:pt x="752" y="283"/>
                </a:lnTo>
                <a:lnTo>
                  <a:pt x="759" y="283"/>
                </a:lnTo>
                <a:lnTo>
                  <a:pt x="759" y="283"/>
                </a:lnTo>
                <a:lnTo>
                  <a:pt x="767" y="283"/>
                </a:lnTo>
                <a:lnTo>
                  <a:pt x="767" y="276"/>
                </a:lnTo>
                <a:lnTo>
                  <a:pt x="775" y="276"/>
                </a:lnTo>
                <a:lnTo>
                  <a:pt x="775" y="276"/>
                </a:lnTo>
                <a:lnTo>
                  <a:pt x="775" y="276"/>
                </a:lnTo>
                <a:lnTo>
                  <a:pt x="775" y="268"/>
                </a:lnTo>
                <a:lnTo>
                  <a:pt x="783" y="268"/>
                </a:lnTo>
                <a:lnTo>
                  <a:pt x="783" y="268"/>
                </a:lnTo>
                <a:lnTo>
                  <a:pt x="790" y="268"/>
                </a:lnTo>
                <a:lnTo>
                  <a:pt x="790" y="268"/>
                </a:lnTo>
                <a:lnTo>
                  <a:pt x="798" y="268"/>
                </a:lnTo>
                <a:lnTo>
                  <a:pt x="798" y="268"/>
                </a:lnTo>
                <a:lnTo>
                  <a:pt x="806" y="268"/>
                </a:lnTo>
                <a:lnTo>
                  <a:pt x="806" y="260"/>
                </a:lnTo>
                <a:lnTo>
                  <a:pt x="806" y="260"/>
                </a:lnTo>
                <a:lnTo>
                  <a:pt x="806" y="260"/>
                </a:lnTo>
                <a:lnTo>
                  <a:pt x="813" y="260"/>
                </a:lnTo>
                <a:lnTo>
                  <a:pt x="813" y="260"/>
                </a:lnTo>
                <a:lnTo>
                  <a:pt x="821" y="260"/>
                </a:lnTo>
                <a:lnTo>
                  <a:pt x="821" y="260"/>
                </a:lnTo>
                <a:lnTo>
                  <a:pt x="829" y="260"/>
                </a:lnTo>
                <a:lnTo>
                  <a:pt x="829" y="260"/>
                </a:lnTo>
                <a:lnTo>
                  <a:pt x="829" y="260"/>
                </a:lnTo>
                <a:lnTo>
                  <a:pt x="829" y="260"/>
                </a:lnTo>
                <a:lnTo>
                  <a:pt x="836" y="260"/>
                </a:lnTo>
                <a:lnTo>
                  <a:pt x="836" y="260"/>
                </a:lnTo>
                <a:lnTo>
                  <a:pt x="844" y="260"/>
                </a:lnTo>
                <a:lnTo>
                  <a:pt x="844" y="253"/>
                </a:lnTo>
                <a:lnTo>
                  <a:pt x="852" y="253"/>
                </a:lnTo>
                <a:lnTo>
                  <a:pt x="852" y="253"/>
                </a:lnTo>
                <a:lnTo>
                  <a:pt x="852" y="253"/>
                </a:lnTo>
                <a:lnTo>
                  <a:pt x="852" y="253"/>
                </a:lnTo>
                <a:lnTo>
                  <a:pt x="859" y="253"/>
                </a:lnTo>
                <a:lnTo>
                  <a:pt x="859" y="253"/>
                </a:lnTo>
                <a:lnTo>
                  <a:pt x="867" y="253"/>
                </a:lnTo>
                <a:lnTo>
                  <a:pt x="867" y="253"/>
                </a:lnTo>
                <a:lnTo>
                  <a:pt x="875" y="253"/>
                </a:lnTo>
                <a:lnTo>
                  <a:pt x="875" y="253"/>
                </a:lnTo>
                <a:lnTo>
                  <a:pt x="875" y="253"/>
                </a:lnTo>
                <a:lnTo>
                  <a:pt x="875" y="253"/>
                </a:lnTo>
                <a:lnTo>
                  <a:pt x="882" y="253"/>
                </a:lnTo>
                <a:lnTo>
                  <a:pt x="882" y="253"/>
                </a:lnTo>
                <a:lnTo>
                  <a:pt x="890" y="253"/>
                </a:lnTo>
                <a:lnTo>
                  <a:pt x="890" y="245"/>
                </a:lnTo>
                <a:lnTo>
                  <a:pt x="898" y="245"/>
                </a:lnTo>
                <a:lnTo>
                  <a:pt x="898" y="245"/>
                </a:lnTo>
                <a:lnTo>
                  <a:pt x="905" y="245"/>
                </a:lnTo>
                <a:lnTo>
                  <a:pt x="905" y="230"/>
                </a:lnTo>
                <a:lnTo>
                  <a:pt x="905" y="230"/>
                </a:lnTo>
                <a:lnTo>
                  <a:pt x="905" y="230"/>
                </a:lnTo>
                <a:lnTo>
                  <a:pt x="913" y="230"/>
                </a:lnTo>
                <a:lnTo>
                  <a:pt x="913" y="230"/>
                </a:lnTo>
                <a:lnTo>
                  <a:pt x="921" y="230"/>
                </a:lnTo>
                <a:lnTo>
                  <a:pt x="921" y="230"/>
                </a:lnTo>
                <a:lnTo>
                  <a:pt x="928" y="230"/>
                </a:lnTo>
                <a:lnTo>
                  <a:pt x="928" y="230"/>
                </a:lnTo>
                <a:lnTo>
                  <a:pt x="928" y="230"/>
                </a:lnTo>
                <a:lnTo>
                  <a:pt x="928" y="230"/>
                </a:lnTo>
                <a:lnTo>
                  <a:pt x="936" y="230"/>
                </a:lnTo>
                <a:lnTo>
                  <a:pt x="936" y="230"/>
                </a:lnTo>
                <a:lnTo>
                  <a:pt x="944" y="230"/>
                </a:lnTo>
                <a:lnTo>
                  <a:pt x="944" y="222"/>
                </a:lnTo>
                <a:lnTo>
                  <a:pt x="951" y="222"/>
                </a:lnTo>
                <a:lnTo>
                  <a:pt x="951" y="222"/>
                </a:lnTo>
                <a:lnTo>
                  <a:pt x="951" y="222"/>
                </a:lnTo>
                <a:lnTo>
                  <a:pt x="951" y="222"/>
                </a:lnTo>
                <a:lnTo>
                  <a:pt x="959" y="222"/>
                </a:lnTo>
                <a:lnTo>
                  <a:pt x="959" y="222"/>
                </a:lnTo>
                <a:lnTo>
                  <a:pt x="967" y="222"/>
                </a:lnTo>
                <a:lnTo>
                  <a:pt x="967" y="222"/>
                </a:lnTo>
                <a:lnTo>
                  <a:pt x="974" y="222"/>
                </a:lnTo>
                <a:lnTo>
                  <a:pt x="974" y="222"/>
                </a:lnTo>
                <a:lnTo>
                  <a:pt x="974" y="222"/>
                </a:lnTo>
                <a:lnTo>
                  <a:pt x="974" y="222"/>
                </a:lnTo>
                <a:lnTo>
                  <a:pt x="982" y="222"/>
                </a:lnTo>
                <a:lnTo>
                  <a:pt x="982" y="207"/>
                </a:lnTo>
                <a:lnTo>
                  <a:pt x="990" y="207"/>
                </a:lnTo>
                <a:lnTo>
                  <a:pt x="990" y="207"/>
                </a:lnTo>
                <a:lnTo>
                  <a:pt x="997" y="207"/>
                </a:lnTo>
                <a:lnTo>
                  <a:pt x="997" y="199"/>
                </a:lnTo>
                <a:lnTo>
                  <a:pt x="1005" y="199"/>
                </a:lnTo>
                <a:lnTo>
                  <a:pt x="1005" y="199"/>
                </a:lnTo>
                <a:lnTo>
                  <a:pt x="1005" y="199"/>
                </a:lnTo>
                <a:lnTo>
                  <a:pt x="1005" y="199"/>
                </a:lnTo>
                <a:lnTo>
                  <a:pt x="1013" y="199"/>
                </a:lnTo>
                <a:lnTo>
                  <a:pt x="1013" y="191"/>
                </a:lnTo>
                <a:lnTo>
                  <a:pt x="1020" y="191"/>
                </a:lnTo>
                <a:lnTo>
                  <a:pt x="1020" y="191"/>
                </a:lnTo>
                <a:lnTo>
                  <a:pt x="1028" y="191"/>
                </a:lnTo>
                <a:lnTo>
                  <a:pt x="1028" y="191"/>
                </a:lnTo>
                <a:lnTo>
                  <a:pt x="1028" y="191"/>
                </a:lnTo>
                <a:lnTo>
                  <a:pt x="1028" y="184"/>
                </a:lnTo>
                <a:lnTo>
                  <a:pt x="1036" y="184"/>
                </a:lnTo>
                <a:lnTo>
                  <a:pt x="1036" y="184"/>
                </a:lnTo>
                <a:lnTo>
                  <a:pt x="1043" y="184"/>
                </a:lnTo>
                <a:lnTo>
                  <a:pt x="1043" y="184"/>
                </a:lnTo>
                <a:lnTo>
                  <a:pt x="1051" y="184"/>
                </a:lnTo>
                <a:lnTo>
                  <a:pt x="1051" y="184"/>
                </a:lnTo>
                <a:lnTo>
                  <a:pt x="1051" y="184"/>
                </a:lnTo>
                <a:lnTo>
                  <a:pt x="1051" y="176"/>
                </a:lnTo>
                <a:lnTo>
                  <a:pt x="1059" y="176"/>
                </a:lnTo>
                <a:lnTo>
                  <a:pt x="1059" y="176"/>
                </a:lnTo>
                <a:lnTo>
                  <a:pt x="1066" y="176"/>
                </a:lnTo>
                <a:lnTo>
                  <a:pt x="1066" y="176"/>
                </a:lnTo>
                <a:lnTo>
                  <a:pt x="1074" y="176"/>
                </a:lnTo>
                <a:lnTo>
                  <a:pt x="1074" y="168"/>
                </a:lnTo>
                <a:lnTo>
                  <a:pt x="1082" y="168"/>
                </a:lnTo>
                <a:lnTo>
                  <a:pt x="1082" y="168"/>
                </a:lnTo>
                <a:lnTo>
                  <a:pt x="1082" y="168"/>
                </a:lnTo>
                <a:lnTo>
                  <a:pt x="1082" y="168"/>
                </a:lnTo>
                <a:lnTo>
                  <a:pt x="1089" y="168"/>
                </a:lnTo>
                <a:lnTo>
                  <a:pt x="1089" y="161"/>
                </a:lnTo>
                <a:lnTo>
                  <a:pt x="1097" y="161"/>
                </a:lnTo>
                <a:lnTo>
                  <a:pt x="1097" y="161"/>
                </a:lnTo>
                <a:lnTo>
                  <a:pt x="1105" y="161"/>
                </a:lnTo>
                <a:lnTo>
                  <a:pt x="1105" y="153"/>
                </a:lnTo>
                <a:lnTo>
                  <a:pt x="1105" y="153"/>
                </a:lnTo>
                <a:lnTo>
                  <a:pt x="1105" y="153"/>
                </a:lnTo>
                <a:lnTo>
                  <a:pt x="1112" y="153"/>
                </a:lnTo>
                <a:lnTo>
                  <a:pt x="1112" y="153"/>
                </a:lnTo>
                <a:lnTo>
                  <a:pt x="1120" y="153"/>
                </a:lnTo>
                <a:lnTo>
                  <a:pt x="1120" y="138"/>
                </a:lnTo>
                <a:lnTo>
                  <a:pt x="1128" y="138"/>
                </a:lnTo>
                <a:lnTo>
                  <a:pt x="1128" y="138"/>
                </a:lnTo>
                <a:lnTo>
                  <a:pt x="1128" y="138"/>
                </a:lnTo>
                <a:lnTo>
                  <a:pt x="1128" y="138"/>
                </a:lnTo>
                <a:lnTo>
                  <a:pt x="1135" y="138"/>
                </a:lnTo>
                <a:lnTo>
                  <a:pt x="1135" y="122"/>
                </a:lnTo>
                <a:lnTo>
                  <a:pt x="1143" y="122"/>
                </a:lnTo>
                <a:lnTo>
                  <a:pt x="1143" y="115"/>
                </a:lnTo>
                <a:lnTo>
                  <a:pt x="1151" y="115"/>
                </a:lnTo>
                <a:lnTo>
                  <a:pt x="1151" y="92"/>
                </a:lnTo>
                <a:lnTo>
                  <a:pt x="1151" y="92"/>
                </a:lnTo>
                <a:lnTo>
                  <a:pt x="1151" y="92"/>
                </a:lnTo>
                <a:lnTo>
                  <a:pt x="1158" y="92"/>
                </a:lnTo>
                <a:lnTo>
                  <a:pt x="1158" y="92"/>
                </a:lnTo>
                <a:lnTo>
                  <a:pt x="1166" y="92"/>
                </a:lnTo>
                <a:lnTo>
                  <a:pt x="1166" y="92"/>
                </a:lnTo>
                <a:lnTo>
                  <a:pt x="1174" y="92"/>
                </a:lnTo>
                <a:lnTo>
                  <a:pt x="1174" y="84"/>
                </a:lnTo>
                <a:lnTo>
                  <a:pt x="1181" y="84"/>
                </a:lnTo>
                <a:lnTo>
                  <a:pt x="1181" y="84"/>
                </a:lnTo>
                <a:lnTo>
                  <a:pt x="1181" y="84"/>
                </a:lnTo>
                <a:lnTo>
                  <a:pt x="1181" y="84"/>
                </a:lnTo>
                <a:lnTo>
                  <a:pt x="1189" y="84"/>
                </a:lnTo>
                <a:lnTo>
                  <a:pt x="1189" y="76"/>
                </a:lnTo>
                <a:lnTo>
                  <a:pt x="1197" y="76"/>
                </a:lnTo>
                <a:lnTo>
                  <a:pt x="1197" y="76"/>
                </a:lnTo>
                <a:lnTo>
                  <a:pt x="1204" y="76"/>
                </a:lnTo>
                <a:lnTo>
                  <a:pt x="1204" y="76"/>
                </a:lnTo>
                <a:lnTo>
                  <a:pt x="1204" y="76"/>
                </a:lnTo>
                <a:lnTo>
                  <a:pt x="1204" y="69"/>
                </a:lnTo>
                <a:lnTo>
                  <a:pt x="1212" y="69"/>
                </a:lnTo>
                <a:lnTo>
                  <a:pt x="1212" y="53"/>
                </a:lnTo>
                <a:lnTo>
                  <a:pt x="1220" y="53"/>
                </a:lnTo>
                <a:lnTo>
                  <a:pt x="1220" y="53"/>
                </a:lnTo>
                <a:lnTo>
                  <a:pt x="1227" y="53"/>
                </a:lnTo>
                <a:lnTo>
                  <a:pt x="1227" y="53"/>
                </a:lnTo>
                <a:lnTo>
                  <a:pt x="1227" y="53"/>
                </a:lnTo>
                <a:lnTo>
                  <a:pt x="1227" y="38"/>
                </a:lnTo>
                <a:lnTo>
                  <a:pt x="1235" y="38"/>
                </a:lnTo>
                <a:lnTo>
                  <a:pt x="1235" y="30"/>
                </a:lnTo>
                <a:lnTo>
                  <a:pt x="1243" y="30"/>
                </a:lnTo>
                <a:lnTo>
                  <a:pt x="1243" y="30"/>
                </a:lnTo>
                <a:lnTo>
                  <a:pt x="1250" y="30"/>
                </a:lnTo>
                <a:lnTo>
                  <a:pt x="1250" y="23"/>
                </a:lnTo>
                <a:lnTo>
                  <a:pt x="1258" y="23"/>
                </a:lnTo>
                <a:lnTo>
                  <a:pt x="1258" y="23"/>
                </a:lnTo>
                <a:lnTo>
                  <a:pt x="1258" y="23"/>
                </a:lnTo>
                <a:lnTo>
                  <a:pt x="1258" y="23"/>
                </a:lnTo>
                <a:lnTo>
                  <a:pt x="1266" y="23"/>
                </a:lnTo>
                <a:lnTo>
                  <a:pt x="1266" y="15"/>
                </a:lnTo>
                <a:lnTo>
                  <a:pt x="1273" y="15"/>
                </a:lnTo>
                <a:lnTo>
                  <a:pt x="1273" y="7"/>
                </a:lnTo>
                <a:lnTo>
                  <a:pt x="1281" y="7"/>
                </a:lnTo>
                <a:lnTo>
                  <a:pt x="1281" y="7"/>
                </a:lnTo>
                <a:lnTo>
                  <a:pt x="1281" y="7"/>
                </a:lnTo>
                <a:lnTo>
                  <a:pt x="1281" y="0"/>
                </a:lnTo>
              </a:path>
            </a:pathLst>
          </a:custGeom>
          <a:noFill/>
          <a:ln w="25400" cap="sq">
            <a:solidFill>
              <a:srgbClr val="0B0B45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0" name="Rectangle 39"/>
          <p:cNvSpPr>
            <a:spLocks noChangeArrowheads="1"/>
          </p:cNvSpPr>
          <p:nvPr/>
        </p:nvSpPr>
        <p:spPr bwMode="auto">
          <a:xfrm>
            <a:off x="8539162" y="3429000"/>
            <a:ext cx="26828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Rectangle 42"/>
          <p:cNvSpPr>
            <a:spLocks noChangeArrowheads="1"/>
          </p:cNvSpPr>
          <p:nvPr/>
        </p:nvSpPr>
        <p:spPr bwMode="auto">
          <a:xfrm>
            <a:off x="8623300" y="4913312"/>
            <a:ext cx="26828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DF536B"/>
                </a:solidFill>
                <a:effectLst/>
                <a:latin typeface="Mulish" pitchFamily="2" charset="0"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9" name="Rectangle 48"/>
          <p:cNvSpPr>
            <a:spLocks noChangeArrowheads="1"/>
          </p:cNvSpPr>
          <p:nvPr/>
        </p:nvSpPr>
        <p:spPr bwMode="auto">
          <a:xfrm>
            <a:off x="1962149" y="1601787"/>
            <a:ext cx="8803692" cy="2215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In those allocated to </a:t>
            </a: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PLACEBO</a:t>
            </a: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400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</a:t>
            </a:r>
            <a:r>
              <a:rPr lang="en-US" altLang="en-US" sz="2400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   </a:t>
            </a: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558</a:t>
            </a:r>
            <a:r>
              <a:rPr kumimoji="0" lang="en-US" altLang="en-US" sz="2400" b="0" i="0" u="none" strike="noStrike" cap="none" normalizeH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 out of </a:t>
            </a: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3305 people (16.9%) had one of these outcomes</a:t>
            </a:r>
          </a:p>
          <a:p>
            <a:pPr lvl="0"/>
            <a:endParaRPr lang="en-US" altLang="en-US" sz="2400" dirty="0" smtClean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  <a:p>
            <a:pPr lvl="0"/>
            <a:endParaRPr lang="en-US" altLang="en-US" sz="2400" dirty="0">
              <a:solidFill>
                <a:schemeClr val="tx2">
                  <a:lumMod val="50000"/>
                </a:schemeClr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400" b="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Mulish" pitchFamily="2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400" b="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980363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Main result: kidney disease progression or cardiovascular death</a:t>
            </a:r>
            <a:endParaRPr dirty="0"/>
          </a:p>
        </p:txBody>
      </p:sp>
      <p:sp>
        <p:nvSpPr>
          <p:cNvPr id="5" name="AutoShape 3"/>
          <p:cNvSpPr>
            <a:spLocks noChangeAspect="1" noChangeArrowheads="1" noTextEdit="1"/>
          </p:cNvSpPr>
          <p:nvPr/>
        </p:nvSpPr>
        <p:spPr bwMode="auto">
          <a:xfrm>
            <a:off x="812800" y="1592263"/>
            <a:ext cx="10548938" cy="452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" name="Line 5"/>
          <p:cNvSpPr>
            <a:spLocks noChangeShapeType="1"/>
          </p:cNvSpPr>
          <p:nvPr/>
        </p:nvSpPr>
        <p:spPr bwMode="auto">
          <a:xfrm>
            <a:off x="1816100" y="5424487"/>
            <a:ext cx="8512175" cy="0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Line 6"/>
          <p:cNvSpPr>
            <a:spLocks noChangeShapeType="1"/>
          </p:cNvSpPr>
          <p:nvPr/>
        </p:nvSpPr>
        <p:spPr bwMode="auto">
          <a:xfrm flipV="1">
            <a:off x="1816100" y="2309812"/>
            <a:ext cx="0" cy="3114675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" name="Line 7"/>
          <p:cNvSpPr>
            <a:spLocks noChangeShapeType="1"/>
          </p:cNvSpPr>
          <p:nvPr/>
        </p:nvSpPr>
        <p:spPr bwMode="auto">
          <a:xfrm>
            <a:off x="1816100" y="5424487"/>
            <a:ext cx="8512175" cy="0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" name="Line 8"/>
          <p:cNvSpPr>
            <a:spLocks noChangeShapeType="1"/>
          </p:cNvSpPr>
          <p:nvPr/>
        </p:nvSpPr>
        <p:spPr bwMode="auto">
          <a:xfrm>
            <a:off x="1816100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" name="Line 9"/>
          <p:cNvSpPr>
            <a:spLocks noChangeShapeType="1"/>
          </p:cNvSpPr>
          <p:nvPr/>
        </p:nvSpPr>
        <p:spPr bwMode="auto">
          <a:xfrm>
            <a:off x="3521075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Line 10"/>
          <p:cNvSpPr>
            <a:spLocks noChangeShapeType="1"/>
          </p:cNvSpPr>
          <p:nvPr/>
        </p:nvSpPr>
        <p:spPr bwMode="auto">
          <a:xfrm>
            <a:off x="3521075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5226050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3" name="Line 12"/>
          <p:cNvSpPr>
            <a:spLocks noChangeShapeType="1"/>
          </p:cNvSpPr>
          <p:nvPr/>
        </p:nvSpPr>
        <p:spPr bwMode="auto">
          <a:xfrm>
            <a:off x="5226050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4" name="Line 13"/>
          <p:cNvSpPr>
            <a:spLocks noChangeShapeType="1"/>
          </p:cNvSpPr>
          <p:nvPr/>
        </p:nvSpPr>
        <p:spPr bwMode="auto">
          <a:xfrm>
            <a:off x="6931025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5" name="Line 14"/>
          <p:cNvSpPr>
            <a:spLocks noChangeShapeType="1"/>
          </p:cNvSpPr>
          <p:nvPr/>
        </p:nvSpPr>
        <p:spPr bwMode="auto">
          <a:xfrm>
            <a:off x="6931025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6" name="Line 15"/>
          <p:cNvSpPr>
            <a:spLocks noChangeShapeType="1"/>
          </p:cNvSpPr>
          <p:nvPr/>
        </p:nvSpPr>
        <p:spPr bwMode="auto">
          <a:xfrm>
            <a:off x="8623300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7" name="Line 16"/>
          <p:cNvSpPr>
            <a:spLocks noChangeShapeType="1"/>
          </p:cNvSpPr>
          <p:nvPr/>
        </p:nvSpPr>
        <p:spPr bwMode="auto">
          <a:xfrm>
            <a:off x="8623300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8" name="Line 17"/>
          <p:cNvSpPr>
            <a:spLocks noChangeShapeType="1"/>
          </p:cNvSpPr>
          <p:nvPr/>
        </p:nvSpPr>
        <p:spPr bwMode="auto">
          <a:xfrm>
            <a:off x="10328275" y="5424487"/>
            <a:ext cx="0" cy="96838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9" name="Line 18"/>
          <p:cNvSpPr>
            <a:spLocks noChangeShapeType="1"/>
          </p:cNvSpPr>
          <p:nvPr/>
        </p:nvSpPr>
        <p:spPr bwMode="auto">
          <a:xfrm flipV="1">
            <a:off x="1816100" y="2309812"/>
            <a:ext cx="0" cy="3114675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1719262" y="5424487"/>
            <a:ext cx="96838" cy="0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1" name="Line 20"/>
          <p:cNvSpPr>
            <a:spLocks noChangeShapeType="1"/>
          </p:cNvSpPr>
          <p:nvPr/>
        </p:nvSpPr>
        <p:spPr bwMode="auto">
          <a:xfrm flipH="1">
            <a:off x="1719262" y="4645025"/>
            <a:ext cx="96838" cy="0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" name="Line 21"/>
          <p:cNvSpPr>
            <a:spLocks noChangeShapeType="1"/>
          </p:cNvSpPr>
          <p:nvPr/>
        </p:nvSpPr>
        <p:spPr bwMode="auto">
          <a:xfrm flipH="1">
            <a:off x="1719262" y="3867150"/>
            <a:ext cx="96838" cy="0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3" name="Line 22"/>
          <p:cNvSpPr>
            <a:spLocks noChangeShapeType="1"/>
          </p:cNvSpPr>
          <p:nvPr/>
        </p:nvSpPr>
        <p:spPr bwMode="auto">
          <a:xfrm flipH="1">
            <a:off x="1719262" y="3087687"/>
            <a:ext cx="96838" cy="0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4" name="Line 23"/>
          <p:cNvSpPr>
            <a:spLocks noChangeShapeType="1"/>
          </p:cNvSpPr>
          <p:nvPr/>
        </p:nvSpPr>
        <p:spPr bwMode="auto">
          <a:xfrm flipH="1">
            <a:off x="1719262" y="2309812"/>
            <a:ext cx="96838" cy="0"/>
          </a:xfrm>
          <a:prstGeom prst="line">
            <a:avLst/>
          </a:prstGeom>
          <a:noFill/>
          <a:ln w="23813" cap="sq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5" name="Rectangle 24"/>
          <p:cNvSpPr>
            <a:spLocks noChangeArrowheads="1"/>
          </p:cNvSpPr>
          <p:nvPr/>
        </p:nvSpPr>
        <p:spPr bwMode="auto">
          <a:xfrm>
            <a:off x="1616075" y="5557837"/>
            <a:ext cx="3778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3186112" y="5557837"/>
            <a:ext cx="6445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0.5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Rectangle 26"/>
          <p:cNvSpPr>
            <a:spLocks noChangeArrowheads="1"/>
          </p:cNvSpPr>
          <p:nvPr/>
        </p:nvSpPr>
        <p:spPr bwMode="auto">
          <a:xfrm>
            <a:off x="5024437" y="5557837"/>
            <a:ext cx="3778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1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6596062" y="5557837"/>
            <a:ext cx="6445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1.5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" name="Rectangle 28"/>
          <p:cNvSpPr>
            <a:spLocks noChangeArrowheads="1"/>
          </p:cNvSpPr>
          <p:nvPr/>
        </p:nvSpPr>
        <p:spPr bwMode="auto">
          <a:xfrm>
            <a:off x="8434387" y="5557837"/>
            <a:ext cx="3778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2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Rectangle 29"/>
          <p:cNvSpPr>
            <a:spLocks noChangeArrowheads="1"/>
          </p:cNvSpPr>
          <p:nvPr/>
        </p:nvSpPr>
        <p:spPr bwMode="auto">
          <a:xfrm>
            <a:off x="10006012" y="5557837"/>
            <a:ext cx="6445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2.5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>
            <a:spLocks noChangeArrowheads="1"/>
          </p:cNvSpPr>
          <p:nvPr/>
        </p:nvSpPr>
        <p:spPr bwMode="auto">
          <a:xfrm>
            <a:off x="1195387" y="5218112"/>
            <a:ext cx="3778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" name="Rectangle 31"/>
          <p:cNvSpPr>
            <a:spLocks noChangeArrowheads="1"/>
          </p:cNvSpPr>
          <p:nvPr/>
        </p:nvSpPr>
        <p:spPr bwMode="auto">
          <a:xfrm>
            <a:off x="1012825" y="4438650"/>
            <a:ext cx="56038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1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" name="Rectangle 32"/>
          <p:cNvSpPr>
            <a:spLocks noChangeArrowheads="1"/>
          </p:cNvSpPr>
          <p:nvPr/>
        </p:nvSpPr>
        <p:spPr bwMode="auto">
          <a:xfrm>
            <a:off x="1012825" y="3660775"/>
            <a:ext cx="56038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2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1012825" y="2881312"/>
            <a:ext cx="56038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3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" name="Rectangle 34"/>
          <p:cNvSpPr>
            <a:spLocks noChangeArrowheads="1"/>
          </p:cNvSpPr>
          <p:nvPr/>
        </p:nvSpPr>
        <p:spPr bwMode="auto">
          <a:xfrm>
            <a:off x="1012825" y="2103437"/>
            <a:ext cx="56038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4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Rectangle 35"/>
          <p:cNvSpPr>
            <a:spLocks noChangeArrowheads="1"/>
          </p:cNvSpPr>
          <p:nvPr/>
        </p:nvSpPr>
        <p:spPr bwMode="auto">
          <a:xfrm>
            <a:off x="4556124" y="5997574"/>
            <a:ext cx="30321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Years of Follow-up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Rectangle 36"/>
          <p:cNvSpPr>
            <a:spLocks noChangeArrowheads="1"/>
          </p:cNvSpPr>
          <p:nvPr/>
        </p:nvSpPr>
        <p:spPr bwMode="auto">
          <a:xfrm rot="16200000">
            <a:off x="-1439863" y="3605212"/>
            <a:ext cx="45053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Participants with Event (%) 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Freeform 37"/>
          <p:cNvSpPr>
            <a:spLocks/>
          </p:cNvSpPr>
          <p:nvPr/>
        </p:nvSpPr>
        <p:spPr bwMode="auto">
          <a:xfrm>
            <a:off x="1816100" y="4341812"/>
            <a:ext cx="6478588" cy="1082675"/>
          </a:xfrm>
          <a:custGeom>
            <a:avLst/>
            <a:gdLst>
              <a:gd name="T0" fmla="*/ 299 w 4081"/>
              <a:gd name="T1" fmla="*/ 674 h 682"/>
              <a:gd name="T2" fmla="*/ 391 w 4081"/>
              <a:gd name="T3" fmla="*/ 667 h 682"/>
              <a:gd name="T4" fmla="*/ 507 w 4081"/>
              <a:gd name="T5" fmla="*/ 659 h 682"/>
              <a:gd name="T6" fmla="*/ 652 w 4081"/>
              <a:gd name="T7" fmla="*/ 651 h 682"/>
              <a:gd name="T8" fmla="*/ 760 w 4081"/>
              <a:gd name="T9" fmla="*/ 651 h 682"/>
              <a:gd name="T10" fmla="*/ 875 w 4081"/>
              <a:gd name="T11" fmla="*/ 644 h 682"/>
              <a:gd name="T12" fmla="*/ 951 w 4081"/>
              <a:gd name="T13" fmla="*/ 636 h 682"/>
              <a:gd name="T14" fmla="*/ 1028 w 4081"/>
              <a:gd name="T15" fmla="*/ 621 h 682"/>
              <a:gd name="T16" fmla="*/ 1105 w 4081"/>
              <a:gd name="T17" fmla="*/ 605 h 682"/>
              <a:gd name="T18" fmla="*/ 1166 w 4081"/>
              <a:gd name="T19" fmla="*/ 598 h 682"/>
              <a:gd name="T20" fmla="*/ 1258 w 4081"/>
              <a:gd name="T21" fmla="*/ 590 h 682"/>
              <a:gd name="T22" fmla="*/ 1412 w 4081"/>
              <a:gd name="T23" fmla="*/ 590 h 682"/>
              <a:gd name="T24" fmla="*/ 1519 w 4081"/>
              <a:gd name="T25" fmla="*/ 582 h 682"/>
              <a:gd name="T26" fmla="*/ 1596 w 4081"/>
              <a:gd name="T27" fmla="*/ 575 h 682"/>
              <a:gd name="T28" fmla="*/ 1688 w 4081"/>
              <a:gd name="T29" fmla="*/ 567 h 682"/>
              <a:gd name="T30" fmla="*/ 1826 w 4081"/>
              <a:gd name="T31" fmla="*/ 559 h 682"/>
              <a:gd name="T32" fmla="*/ 1903 w 4081"/>
              <a:gd name="T33" fmla="*/ 559 h 682"/>
              <a:gd name="T34" fmla="*/ 1964 w 4081"/>
              <a:gd name="T35" fmla="*/ 544 h 682"/>
              <a:gd name="T36" fmla="*/ 2010 w 4081"/>
              <a:gd name="T37" fmla="*/ 521 h 682"/>
              <a:gd name="T38" fmla="*/ 2064 w 4081"/>
              <a:gd name="T39" fmla="*/ 506 h 682"/>
              <a:gd name="T40" fmla="*/ 2110 w 4081"/>
              <a:gd name="T41" fmla="*/ 483 h 682"/>
              <a:gd name="T42" fmla="*/ 2163 w 4081"/>
              <a:gd name="T43" fmla="*/ 460 h 682"/>
              <a:gd name="T44" fmla="*/ 2209 w 4081"/>
              <a:gd name="T45" fmla="*/ 444 h 682"/>
              <a:gd name="T46" fmla="*/ 2255 w 4081"/>
              <a:gd name="T47" fmla="*/ 437 h 682"/>
              <a:gd name="T48" fmla="*/ 2301 w 4081"/>
              <a:gd name="T49" fmla="*/ 429 h 682"/>
              <a:gd name="T50" fmla="*/ 2347 w 4081"/>
              <a:gd name="T51" fmla="*/ 429 h 682"/>
              <a:gd name="T52" fmla="*/ 2409 w 4081"/>
              <a:gd name="T53" fmla="*/ 421 h 682"/>
              <a:gd name="T54" fmla="*/ 2455 w 4081"/>
              <a:gd name="T55" fmla="*/ 414 h 682"/>
              <a:gd name="T56" fmla="*/ 2501 w 4081"/>
              <a:gd name="T57" fmla="*/ 398 h 682"/>
              <a:gd name="T58" fmla="*/ 2547 w 4081"/>
              <a:gd name="T59" fmla="*/ 398 h 682"/>
              <a:gd name="T60" fmla="*/ 2593 w 4081"/>
              <a:gd name="T61" fmla="*/ 398 h 682"/>
              <a:gd name="T62" fmla="*/ 2639 w 4081"/>
              <a:gd name="T63" fmla="*/ 391 h 682"/>
              <a:gd name="T64" fmla="*/ 2693 w 4081"/>
              <a:gd name="T65" fmla="*/ 383 h 682"/>
              <a:gd name="T66" fmla="*/ 2739 w 4081"/>
              <a:gd name="T67" fmla="*/ 375 h 682"/>
              <a:gd name="T68" fmla="*/ 2785 w 4081"/>
              <a:gd name="T69" fmla="*/ 368 h 682"/>
              <a:gd name="T70" fmla="*/ 2831 w 4081"/>
              <a:gd name="T71" fmla="*/ 368 h 682"/>
              <a:gd name="T72" fmla="*/ 2877 w 4081"/>
              <a:gd name="T73" fmla="*/ 360 h 682"/>
              <a:gd name="T74" fmla="*/ 2923 w 4081"/>
              <a:gd name="T75" fmla="*/ 360 h 682"/>
              <a:gd name="T76" fmla="*/ 2969 w 4081"/>
              <a:gd name="T77" fmla="*/ 337 h 682"/>
              <a:gd name="T78" fmla="*/ 3023 w 4081"/>
              <a:gd name="T79" fmla="*/ 329 h 682"/>
              <a:gd name="T80" fmla="*/ 3069 w 4081"/>
              <a:gd name="T81" fmla="*/ 306 h 682"/>
              <a:gd name="T82" fmla="*/ 3115 w 4081"/>
              <a:gd name="T83" fmla="*/ 283 h 682"/>
              <a:gd name="T84" fmla="*/ 3161 w 4081"/>
              <a:gd name="T85" fmla="*/ 260 h 682"/>
              <a:gd name="T86" fmla="*/ 3207 w 4081"/>
              <a:gd name="T87" fmla="*/ 237 h 682"/>
              <a:gd name="T88" fmla="*/ 3253 w 4081"/>
              <a:gd name="T89" fmla="*/ 222 h 682"/>
              <a:gd name="T90" fmla="*/ 3299 w 4081"/>
              <a:gd name="T91" fmla="*/ 184 h 682"/>
              <a:gd name="T92" fmla="*/ 3345 w 4081"/>
              <a:gd name="T93" fmla="*/ 153 h 682"/>
              <a:gd name="T94" fmla="*/ 3398 w 4081"/>
              <a:gd name="T95" fmla="*/ 138 h 682"/>
              <a:gd name="T96" fmla="*/ 3444 w 4081"/>
              <a:gd name="T97" fmla="*/ 122 h 682"/>
              <a:gd name="T98" fmla="*/ 3490 w 4081"/>
              <a:gd name="T99" fmla="*/ 115 h 682"/>
              <a:gd name="T100" fmla="*/ 3536 w 4081"/>
              <a:gd name="T101" fmla="*/ 99 h 682"/>
              <a:gd name="T102" fmla="*/ 3582 w 4081"/>
              <a:gd name="T103" fmla="*/ 84 h 682"/>
              <a:gd name="T104" fmla="*/ 3629 w 4081"/>
              <a:gd name="T105" fmla="*/ 84 h 682"/>
              <a:gd name="T106" fmla="*/ 3675 w 4081"/>
              <a:gd name="T107" fmla="*/ 76 h 682"/>
              <a:gd name="T108" fmla="*/ 3728 w 4081"/>
              <a:gd name="T109" fmla="*/ 69 h 682"/>
              <a:gd name="T110" fmla="*/ 3774 w 4081"/>
              <a:gd name="T111" fmla="*/ 61 h 682"/>
              <a:gd name="T112" fmla="*/ 3820 w 4081"/>
              <a:gd name="T113" fmla="*/ 46 h 682"/>
              <a:gd name="T114" fmla="*/ 3866 w 4081"/>
              <a:gd name="T115" fmla="*/ 38 h 682"/>
              <a:gd name="T116" fmla="*/ 3912 w 4081"/>
              <a:gd name="T117" fmla="*/ 30 h 682"/>
              <a:gd name="T118" fmla="*/ 3958 w 4081"/>
              <a:gd name="T119" fmla="*/ 15 h 682"/>
              <a:gd name="T120" fmla="*/ 4004 w 4081"/>
              <a:gd name="T121" fmla="*/ 15 h 682"/>
              <a:gd name="T122" fmla="*/ 4058 w 4081"/>
              <a:gd name="T123" fmla="*/ 7 h 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081" h="682">
                <a:moveTo>
                  <a:pt x="0" y="682"/>
                </a:moveTo>
                <a:lnTo>
                  <a:pt x="108" y="682"/>
                </a:lnTo>
                <a:lnTo>
                  <a:pt x="108" y="674"/>
                </a:lnTo>
                <a:lnTo>
                  <a:pt x="177" y="674"/>
                </a:lnTo>
                <a:lnTo>
                  <a:pt x="177" y="674"/>
                </a:lnTo>
                <a:lnTo>
                  <a:pt x="223" y="674"/>
                </a:lnTo>
                <a:lnTo>
                  <a:pt x="223" y="674"/>
                </a:lnTo>
                <a:lnTo>
                  <a:pt x="230" y="674"/>
                </a:lnTo>
                <a:lnTo>
                  <a:pt x="230" y="674"/>
                </a:lnTo>
                <a:lnTo>
                  <a:pt x="246" y="674"/>
                </a:lnTo>
                <a:lnTo>
                  <a:pt x="246" y="674"/>
                </a:lnTo>
                <a:lnTo>
                  <a:pt x="253" y="674"/>
                </a:lnTo>
                <a:lnTo>
                  <a:pt x="253" y="674"/>
                </a:lnTo>
                <a:lnTo>
                  <a:pt x="269" y="674"/>
                </a:lnTo>
                <a:lnTo>
                  <a:pt x="269" y="674"/>
                </a:lnTo>
                <a:lnTo>
                  <a:pt x="299" y="674"/>
                </a:lnTo>
                <a:lnTo>
                  <a:pt x="299" y="674"/>
                </a:lnTo>
                <a:lnTo>
                  <a:pt x="322" y="674"/>
                </a:lnTo>
                <a:lnTo>
                  <a:pt x="322" y="674"/>
                </a:lnTo>
                <a:lnTo>
                  <a:pt x="330" y="674"/>
                </a:lnTo>
                <a:lnTo>
                  <a:pt x="330" y="674"/>
                </a:lnTo>
                <a:lnTo>
                  <a:pt x="353" y="674"/>
                </a:lnTo>
                <a:lnTo>
                  <a:pt x="353" y="674"/>
                </a:lnTo>
                <a:lnTo>
                  <a:pt x="368" y="674"/>
                </a:lnTo>
                <a:lnTo>
                  <a:pt x="368" y="667"/>
                </a:lnTo>
                <a:lnTo>
                  <a:pt x="376" y="667"/>
                </a:lnTo>
                <a:lnTo>
                  <a:pt x="376" y="667"/>
                </a:lnTo>
                <a:lnTo>
                  <a:pt x="376" y="667"/>
                </a:lnTo>
                <a:lnTo>
                  <a:pt x="376" y="667"/>
                </a:lnTo>
                <a:lnTo>
                  <a:pt x="384" y="667"/>
                </a:lnTo>
                <a:lnTo>
                  <a:pt x="384" y="667"/>
                </a:lnTo>
                <a:lnTo>
                  <a:pt x="391" y="667"/>
                </a:lnTo>
                <a:lnTo>
                  <a:pt x="391" y="659"/>
                </a:lnTo>
                <a:lnTo>
                  <a:pt x="399" y="659"/>
                </a:lnTo>
                <a:lnTo>
                  <a:pt x="399" y="659"/>
                </a:lnTo>
                <a:lnTo>
                  <a:pt x="399" y="659"/>
                </a:lnTo>
                <a:lnTo>
                  <a:pt x="399" y="659"/>
                </a:lnTo>
                <a:lnTo>
                  <a:pt x="430" y="659"/>
                </a:lnTo>
                <a:lnTo>
                  <a:pt x="430" y="659"/>
                </a:lnTo>
                <a:lnTo>
                  <a:pt x="437" y="659"/>
                </a:lnTo>
                <a:lnTo>
                  <a:pt x="437" y="659"/>
                </a:lnTo>
                <a:lnTo>
                  <a:pt x="445" y="659"/>
                </a:lnTo>
                <a:lnTo>
                  <a:pt x="445" y="659"/>
                </a:lnTo>
                <a:lnTo>
                  <a:pt x="483" y="659"/>
                </a:lnTo>
                <a:lnTo>
                  <a:pt x="483" y="659"/>
                </a:lnTo>
                <a:lnTo>
                  <a:pt x="507" y="659"/>
                </a:lnTo>
                <a:lnTo>
                  <a:pt x="507" y="659"/>
                </a:lnTo>
                <a:lnTo>
                  <a:pt x="507" y="659"/>
                </a:lnTo>
                <a:lnTo>
                  <a:pt x="507" y="659"/>
                </a:lnTo>
                <a:lnTo>
                  <a:pt x="576" y="659"/>
                </a:lnTo>
                <a:lnTo>
                  <a:pt x="576" y="651"/>
                </a:lnTo>
                <a:lnTo>
                  <a:pt x="583" y="651"/>
                </a:lnTo>
                <a:lnTo>
                  <a:pt x="583" y="651"/>
                </a:lnTo>
                <a:lnTo>
                  <a:pt x="599" y="651"/>
                </a:lnTo>
                <a:lnTo>
                  <a:pt x="599" y="651"/>
                </a:lnTo>
                <a:lnTo>
                  <a:pt x="622" y="651"/>
                </a:lnTo>
                <a:lnTo>
                  <a:pt x="622" y="651"/>
                </a:lnTo>
                <a:lnTo>
                  <a:pt x="629" y="651"/>
                </a:lnTo>
                <a:lnTo>
                  <a:pt x="629" y="651"/>
                </a:lnTo>
                <a:lnTo>
                  <a:pt x="645" y="651"/>
                </a:lnTo>
                <a:lnTo>
                  <a:pt x="645" y="651"/>
                </a:lnTo>
                <a:lnTo>
                  <a:pt x="652" y="651"/>
                </a:lnTo>
                <a:lnTo>
                  <a:pt x="652" y="651"/>
                </a:lnTo>
                <a:lnTo>
                  <a:pt x="652" y="651"/>
                </a:lnTo>
                <a:lnTo>
                  <a:pt x="652" y="651"/>
                </a:lnTo>
                <a:lnTo>
                  <a:pt x="675" y="651"/>
                </a:lnTo>
                <a:lnTo>
                  <a:pt x="675" y="651"/>
                </a:lnTo>
                <a:lnTo>
                  <a:pt x="706" y="651"/>
                </a:lnTo>
                <a:lnTo>
                  <a:pt x="706" y="651"/>
                </a:lnTo>
                <a:lnTo>
                  <a:pt x="714" y="651"/>
                </a:lnTo>
                <a:lnTo>
                  <a:pt x="714" y="651"/>
                </a:lnTo>
                <a:lnTo>
                  <a:pt x="721" y="651"/>
                </a:lnTo>
                <a:lnTo>
                  <a:pt x="721" y="651"/>
                </a:lnTo>
                <a:lnTo>
                  <a:pt x="744" y="651"/>
                </a:lnTo>
                <a:lnTo>
                  <a:pt x="744" y="651"/>
                </a:lnTo>
                <a:lnTo>
                  <a:pt x="752" y="651"/>
                </a:lnTo>
                <a:lnTo>
                  <a:pt x="752" y="651"/>
                </a:lnTo>
                <a:lnTo>
                  <a:pt x="752" y="651"/>
                </a:lnTo>
                <a:lnTo>
                  <a:pt x="752" y="651"/>
                </a:lnTo>
                <a:lnTo>
                  <a:pt x="760" y="651"/>
                </a:lnTo>
                <a:lnTo>
                  <a:pt x="760" y="644"/>
                </a:lnTo>
                <a:lnTo>
                  <a:pt x="775" y="644"/>
                </a:lnTo>
                <a:lnTo>
                  <a:pt x="775" y="644"/>
                </a:lnTo>
                <a:lnTo>
                  <a:pt x="783" y="644"/>
                </a:lnTo>
                <a:lnTo>
                  <a:pt x="783" y="644"/>
                </a:lnTo>
                <a:lnTo>
                  <a:pt x="783" y="644"/>
                </a:lnTo>
                <a:lnTo>
                  <a:pt x="783" y="644"/>
                </a:lnTo>
                <a:lnTo>
                  <a:pt x="813" y="644"/>
                </a:lnTo>
                <a:lnTo>
                  <a:pt x="813" y="644"/>
                </a:lnTo>
                <a:lnTo>
                  <a:pt x="829" y="644"/>
                </a:lnTo>
                <a:lnTo>
                  <a:pt x="829" y="644"/>
                </a:lnTo>
                <a:lnTo>
                  <a:pt x="852" y="644"/>
                </a:lnTo>
                <a:lnTo>
                  <a:pt x="852" y="644"/>
                </a:lnTo>
                <a:lnTo>
                  <a:pt x="859" y="644"/>
                </a:lnTo>
                <a:lnTo>
                  <a:pt x="859" y="644"/>
                </a:lnTo>
                <a:lnTo>
                  <a:pt x="875" y="644"/>
                </a:lnTo>
                <a:lnTo>
                  <a:pt x="875" y="644"/>
                </a:lnTo>
                <a:lnTo>
                  <a:pt x="882" y="644"/>
                </a:lnTo>
                <a:lnTo>
                  <a:pt x="882" y="644"/>
                </a:lnTo>
                <a:lnTo>
                  <a:pt x="890" y="644"/>
                </a:lnTo>
                <a:lnTo>
                  <a:pt x="890" y="644"/>
                </a:lnTo>
                <a:lnTo>
                  <a:pt x="905" y="644"/>
                </a:lnTo>
                <a:lnTo>
                  <a:pt x="905" y="636"/>
                </a:lnTo>
                <a:lnTo>
                  <a:pt x="905" y="636"/>
                </a:lnTo>
                <a:lnTo>
                  <a:pt x="905" y="636"/>
                </a:lnTo>
                <a:lnTo>
                  <a:pt x="913" y="636"/>
                </a:lnTo>
                <a:lnTo>
                  <a:pt x="913" y="636"/>
                </a:lnTo>
                <a:lnTo>
                  <a:pt x="921" y="636"/>
                </a:lnTo>
                <a:lnTo>
                  <a:pt x="921" y="636"/>
                </a:lnTo>
                <a:lnTo>
                  <a:pt x="928" y="636"/>
                </a:lnTo>
                <a:lnTo>
                  <a:pt x="928" y="636"/>
                </a:lnTo>
                <a:lnTo>
                  <a:pt x="951" y="636"/>
                </a:lnTo>
                <a:lnTo>
                  <a:pt x="951" y="636"/>
                </a:lnTo>
                <a:lnTo>
                  <a:pt x="959" y="636"/>
                </a:lnTo>
                <a:lnTo>
                  <a:pt x="959" y="636"/>
                </a:lnTo>
                <a:lnTo>
                  <a:pt x="974" y="636"/>
                </a:lnTo>
                <a:lnTo>
                  <a:pt x="974" y="628"/>
                </a:lnTo>
                <a:lnTo>
                  <a:pt x="982" y="628"/>
                </a:lnTo>
                <a:lnTo>
                  <a:pt x="982" y="628"/>
                </a:lnTo>
                <a:lnTo>
                  <a:pt x="982" y="628"/>
                </a:lnTo>
                <a:lnTo>
                  <a:pt x="982" y="628"/>
                </a:lnTo>
                <a:lnTo>
                  <a:pt x="990" y="628"/>
                </a:lnTo>
                <a:lnTo>
                  <a:pt x="990" y="628"/>
                </a:lnTo>
                <a:lnTo>
                  <a:pt x="1005" y="628"/>
                </a:lnTo>
                <a:lnTo>
                  <a:pt x="1005" y="621"/>
                </a:lnTo>
                <a:lnTo>
                  <a:pt x="1020" y="621"/>
                </a:lnTo>
                <a:lnTo>
                  <a:pt x="1020" y="621"/>
                </a:lnTo>
                <a:lnTo>
                  <a:pt x="1028" y="621"/>
                </a:lnTo>
                <a:lnTo>
                  <a:pt x="1028" y="621"/>
                </a:lnTo>
                <a:lnTo>
                  <a:pt x="1028" y="621"/>
                </a:lnTo>
                <a:lnTo>
                  <a:pt x="1028" y="621"/>
                </a:lnTo>
                <a:lnTo>
                  <a:pt x="1036" y="621"/>
                </a:lnTo>
                <a:lnTo>
                  <a:pt x="1036" y="621"/>
                </a:lnTo>
                <a:lnTo>
                  <a:pt x="1043" y="621"/>
                </a:lnTo>
                <a:lnTo>
                  <a:pt x="1043" y="613"/>
                </a:lnTo>
                <a:lnTo>
                  <a:pt x="1059" y="613"/>
                </a:lnTo>
                <a:lnTo>
                  <a:pt x="1059" y="613"/>
                </a:lnTo>
                <a:lnTo>
                  <a:pt x="1066" y="613"/>
                </a:lnTo>
                <a:lnTo>
                  <a:pt x="1066" y="613"/>
                </a:lnTo>
                <a:lnTo>
                  <a:pt x="1074" y="613"/>
                </a:lnTo>
                <a:lnTo>
                  <a:pt x="1074" y="605"/>
                </a:lnTo>
                <a:lnTo>
                  <a:pt x="1082" y="605"/>
                </a:lnTo>
                <a:lnTo>
                  <a:pt x="1082" y="605"/>
                </a:lnTo>
                <a:lnTo>
                  <a:pt x="1105" y="605"/>
                </a:lnTo>
                <a:lnTo>
                  <a:pt x="1105" y="605"/>
                </a:lnTo>
                <a:lnTo>
                  <a:pt x="1105" y="605"/>
                </a:lnTo>
                <a:lnTo>
                  <a:pt x="1105" y="605"/>
                </a:lnTo>
                <a:lnTo>
                  <a:pt x="1128" y="605"/>
                </a:lnTo>
                <a:lnTo>
                  <a:pt x="1128" y="605"/>
                </a:lnTo>
                <a:lnTo>
                  <a:pt x="1136" y="605"/>
                </a:lnTo>
                <a:lnTo>
                  <a:pt x="1136" y="605"/>
                </a:lnTo>
                <a:lnTo>
                  <a:pt x="1143" y="605"/>
                </a:lnTo>
                <a:lnTo>
                  <a:pt x="1143" y="605"/>
                </a:lnTo>
                <a:lnTo>
                  <a:pt x="1151" y="605"/>
                </a:lnTo>
                <a:lnTo>
                  <a:pt x="1151" y="598"/>
                </a:lnTo>
                <a:lnTo>
                  <a:pt x="1159" y="598"/>
                </a:lnTo>
                <a:lnTo>
                  <a:pt x="1159" y="598"/>
                </a:lnTo>
                <a:lnTo>
                  <a:pt x="1159" y="598"/>
                </a:lnTo>
                <a:lnTo>
                  <a:pt x="1159" y="598"/>
                </a:lnTo>
                <a:lnTo>
                  <a:pt x="1166" y="598"/>
                </a:lnTo>
                <a:lnTo>
                  <a:pt x="1166" y="598"/>
                </a:lnTo>
                <a:lnTo>
                  <a:pt x="1182" y="598"/>
                </a:lnTo>
                <a:lnTo>
                  <a:pt x="1182" y="598"/>
                </a:lnTo>
                <a:lnTo>
                  <a:pt x="1197" y="598"/>
                </a:lnTo>
                <a:lnTo>
                  <a:pt x="1197" y="590"/>
                </a:lnTo>
                <a:lnTo>
                  <a:pt x="1205" y="590"/>
                </a:lnTo>
                <a:lnTo>
                  <a:pt x="1205" y="590"/>
                </a:lnTo>
                <a:lnTo>
                  <a:pt x="1205" y="590"/>
                </a:lnTo>
                <a:lnTo>
                  <a:pt x="1205" y="590"/>
                </a:lnTo>
                <a:lnTo>
                  <a:pt x="1220" y="590"/>
                </a:lnTo>
                <a:lnTo>
                  <a:pt x="1220" y="590"/>
                </a:lnTo>
                <a:lnTo>
                  <a:pt x="1228" y="590"/>
                </a:lnTo>
                <a:lnTo>
                  <a:pt x="1228" y="590"/>
                </a:lnTo>
                <a:lnTo>
                  <a:pt x="1235" y="590"/>
                </a:lnTo>
                <a:lnTo>
                  <a:pt x="1235" y="590"/>
                </a:lnTo>
                <a:lnTo>
                  <a:pt x="1258" y="590"/>
                </a:lnTo>
                <a:lnTo>
                  <a:pt x="1258" y="590"/>
                </a:lnTo>
                <a:lnTo>
                  <a:pt x="1289" y="590"/>
                </a:lnTo>
                <a:lnTo>
                  <a:pt x="1289" y="590"/>
                </a:lnTo>
                <a:lnTo>
                  <a:pt x="1304" y="590"/>
                </a:lnTo>
                <a:lnTo>
                  <a:pt x="1304" y="590"/>
                </a:lnTo>
                <a:lnTo>
                  <a:pt x="1335" y="590"/>
                </a:lnTo>
                <a:lnTo>
                  <a:pt x="1335" y="590"/>
                </a:lnTo>
                <a:lnTo>
                  <a:pt x="1350" y="590"/>
                </a:lnTo>
                <a:lnTo>
                  <a:pt x="1350" y="590"/>
                </a:lnTo>
                <a:lnTo>
                  <a:pt x="1358" y="590"/>
                </a:lnTo>
                <a:lnTo>
                  <a:pt x="1358" y="590"/>
                </a:lnTo>
                <a:lnTo>
                  <a:pt x="1358" y="590"/>
                </a:lnTo>
                <a:lnTo>
                  <a:pt x="1358" y="590"/>
                </a:lnTo>
                <a:lnTo>
                  <a:pt x="1404" y="590"/>
                </a:lnTo>
                <a:lnTo>
                  <a:pt x="1404" y="590"/>
                </a:lnTo>
                <a:lnTo>
                  <a:pt x="1412" y="590"/>
                </a:lnTo>
                <a:lnTo>
                  <a:pt x="1412" y="590"/>
                </a:lnTo>
                <a:lnTo>
                  <a:pt x="1419" y="590"/>
                </a:lnTo>
                <a:lnTo>
                  <a:pt x="1419" y="590"/>
                </a:lnTo>
                <a:lnTo>
                  <a:pt x="1442" y="590"/>
                </a:lnTo>
                <a:lnTo>
                  <a:pt x="1442" y="590"/>
                </a:lnTo>
                <a:lnTo>
                  <a:pt x="1458" y="590"/>
                </a:lnTo>
                <a:lnTo>
                  <a:pt x="1458" y="582"/>
                </a:lnTo>
                <a:lnTo>
                  <a:pt x="1458" y="582"/>
                </a:lnTo>
                <a:lnTo>
                  <a:pt x="1458" y="582"/>
                </a:lnTo>
                <a:lnTo>
                  <a:pt x="1496" y="582"/>
                </a:lnTo>
                <a:lnTo>
                  <a:pt x="1496" y="582"/>
                </a:lnTo>
                <a:lnTo>
                  <a:pt x="1511" y="582"/>
                </a:lnTo>
                <a:lnTo>
                  <a:pt x="1511" y="582"/>
                </a:lnTo>
                <a:lnTo>
                  <a:pt x="1511" y="582"/>
                </a:lnTo>
                <a:lnTo>
                  <a:pt x="1511" y="582"/>
                </a:lnTo>
                <a:lnTo>
                  <a:pt x="1519" y="582"/>
                </a:lnTo>
                <a:lnTo>
                  <a:pt x="1519" y="582"/>
                </a:lnTo>
                <a:lnTo>
                  <a:pt x="1534" y="582"/>
                </a:lnTo>
                <a:lnTo>
                  <a:pt x="1534" y="582"/>
                </a:lnTo>
                <a:lnTo>
                  <a:pt x="1542" y="582"/>
                </a:lnTo>
                <a:lnTo>
                  <a:pt x="1542" y="582"/>
                </a:lnTo>
                <a:lnTo>
                  <a:pt x="1550" y="582"/>
                </a:lnTo>
                <a:lnTo>
                  <a:pt x="1550" y="582"/>
                </a:lnTo>
                <a:lnTo>
                  <a:pt x="1557" y="582"/>
                </a:lnTo>
                <a:lnTo>
                  <a:pt x="1557" y="575"/>
                </a:lnTo>
                <a:lnTo>
                  <a:pt x="1557" y="575"/>
                </a:lnTo>
                <a:lnTo>
                  <a:pt x="1557" y="575"/>
                </a:lnTo>
                <a:lnTo>
                  <a:pt x="1573" y="575"/>
                </a:lnTo>
                <a:lnTo>
                  <a:pt x="1573" y="575"/>
                </a:lnTo>
                <a:lnTo>
                  <a:pt x="1588" y="575"/>
                </a:lnTo>
                <a:lnTo>
                  <a:pt x="1588" y="575"/>
                </a:lnTo>
                <a:lnTo>
                  <a:pt x="1596" y="575"/>
                </a:lnTo>
                <a:lnTo>
                  <a:pt x="1596" y="567"/>
                </a:lnTo>
                <a:lnTo>
                  <a:pt x="1603" y="567"/>
                </a:lnTo>
                <a:lnTo>
                  <a:pt x="1603" y="567"/>
                </a:lnTo>
                <a:lnTo>
                  <a:pt x="1611" y="567"/>
                </a:lnTo>
                <a:lnTo>
                  <a:pt x="1611" y="567"/>
                </a:lnTo>
                <a:lnTo>
                  <a:pt x="1611" y="567"/>
                </a:lnTo>
                <a:lnTo>
                  <a:pt x="1611" y="567"/>
                </a:lnTo>
                <a:lnTo>
                  <a:pt x="1619" y="567"/>
                </a:lnTo>
                <a:lnTo>
                  <a:pt x="1619" y="567"/>
                </a:lnTo>
                <a:lnTo>
                  <a:pt x="1657" y="567"/>
                </a:lnTo>
                <a:lnTo>
                  <a:pt x="1657" y="567"/>
                </a:lnTo>
                <a:lnTo>
                  <a:pt x="1665" y="567"/>
                </a:lnTo>
                <a:lnTo>
                  <a:pt x="1665" y="567"/>
                </a:lnTo>
                <a:lnTo>
                  <a:pt x="1688" y="567"/>
                </a:lnTo>
                <a:lnTo>
                  <a:pt x="1688" y="567"/>
                </a:lnTo>
                <a:lnTo>
                  <a:pt x="1688" y="567"/>
                </a:lnTo>
                <a:lnTo>
                  <a:pt x="1688" y="567"/>
                </a:lnTo>
                <a:lnTo>
                  <a:pt x="1711" y="567"/>
                </a:lnTo>
                <a:lnTo>
                  <a:pt x="1711" y="567"/>
                </a:lnTo>
                <a:lnTo>
                  <a:pt x="1711" y="567"/>
                </a:lnTo>
                <a:lnTo>
                  <a:pt x="1711" y="567"/>
                </a:lnTo>
                <a:lnTo>
                  <a:pt x="1742" y="567"/>
                </a:lnTo>
                <a:lnTo>
                  <a:pt x="1742" y="559"/>
                </a:lnTo>
                <a:lnTo>
                  <a:pt x="1765" y="559"/>
                </a:lnTo>
                <a:lnTo>
                  <a:pt x="1765" y="559"/>
                </a:lnTo>
                <a:lnTo>
                  <a:pt x="1788" y="559"/>
                </a:lnTo>
                <a:lnTo>
                  <a:pt x="1788" y="559"/>
                </a:lnTo>
                <a:lnTo>
                  <a:pt x="1811" y="559"/>
                </a:lnTo>
                <a:lnTo>
                  <a:pt x="1811" y="559"/>
                </a:lnTo>
                <a:lnTo>
                  <a:pt x="1818" y="559"/>
                </a:lnTo>
                <a:lnTo>
                  <a:pt x="1818" y="559"/>
                </a:lnTo>
                <a:lnTo>
                  <a:pt x="1826" y="559"/>
                </a:lnTo>
                <a:lnTo>
                  <a:pt x="1826" y="559"/>
                </a:lnTo>
                <a:lnTo>
                  <a:pt x="1834" y="559"/>
                </a:lnTo>
                <a:lnTo>
                  <a:pt x="1834" y="559"/>
                </a:lnTo>
                <a:lnTo>
                  <a:pt x="1864" y="559"/>
                </a:lnTo>
                <a:lnTo>
                  <a:pt x="1864" y="559"/>
                </a:lnTo>
                <a:lnTo>
                  <a:pt x="1864" y="559"/>
                </a:lnTo>
                <a:lnTo>
                  <a:pt x="1864" y="559"/>
                </a:lnTo>
                <a:lnTo>
                  <a:pt x="1872" y="559"/>
                </a:lnTo>
                <a:lnTo>
                  <a:pt x="1872" y="559"/>
                </a:lnTo>
                <a:lnTo>
                  <a:pt x="1887" y="559"/>
                </a:lnTo>
                <a:lnTo>
                  <a:pt x="1887" y="559"/>
                </a:lnTo>
                <a:lnTo>
                  <a:pt x="1887" y="559"/>
                </a:lnTo>
                <a:lnTo>
                  <a:pt x="1887" y="559"/>
                </a:lnTo>
                <a:lnTo>
                  <a:pt x="1895" y="559"/>
                </a:lnTo>
                <a:lnTo>
                  <a:pt x="1895" y="559"/>
                </a:lnTo>
                <a:lnTo>
                  <a:pt x="1903" y="559"/>
                </a:lnTo>
                <a:lnTo>
                  <a:pt x="1903" y="552"/>
                </a:lnTo>
                <a:lnTo>
                  <a:pt x="1910" y="552"/>
                </a:lnTo>
                <a:lnTo>
                  <a:pt x="1910" y="552"/>
                </a:lnTo>
                <a:lnTo>
                  <a:pt x="1910" y="552"/>
                </a:lnTo>
                <a:lnTo>
                  <a:pt x="1910" y="552"/>
                </a:lnTo>
                <a:lnTo>
                  <a:pt x="1941" y="552"/>
                </a:lnTo>
                <a:lnTo>
                  <a:pt x="1941" y="552"/>
                </a:lnTo>
                <a:lnTo>
                  <a:pt x="1941" y="552"/>
                </a:lnTo>
                <a:lnTo>
                  <a:pt x="1941" y="544"/>
                </a:lnTo>
                <a:lnTo>
                  <a:pt x="1949" y="544"/>
                </a:lnTo>
                <a:lnTo>
                  <a:pt x="1949" y="544"/>
                </a:lnTo>
                <a:lnTo>
                  <a:pt x="1956" y="544"/>
                </a:lnTo>
                <a:lnTo>
                  <a:pt x="1956" y="544"/>
                </a:lnTo>
                <a:lnTo>
                  <a:pt x="1964" y="544"/>
                </a:lnTo>
                <a:lnTo>
                  <a:pt x="1964" y="544"/>
                </a:lnTo>
                <a:lnTo>
                  <a:pt x="1964" y="544"/>
                </a:lnTo>
                <a:lnTo>
                  <a:pt x="1964" y="544"/>
                </a:lnTo>
                <a:lnTo>
                  <a:pt x="1972" y="544"/>
                </a:lnTo>
                <a:lnTo>
                  <a:pt x="1972" y="544"/>
                </a:lnTo>
                <a:lnTo>
                  <a:pt x="1979" y="544"/>
                </a:lnTo>
                <a:lnTo>
                  <a:pt x="1979" y="529"/>
                </a:lnTo>
                <a:lnTo>
                  <a:pt x="1987" y="529"/>
                </a:lnTo>
                <a:lnTo>
                  <a:pt x="1987" y="529"/>
                </a:lnTo>
                <a:lnTo>
                  <a:pt x="1987" y="529"/>
                </a:lnTo>
                <a:lnTo>
                  <a:pt x="1987" y="521"/>
                </a:lnTo>
                <a:lnTo>
                  <a:pt x="1995" y="521"/>
                </a:lnTo>
                <a:lnTo>
                  <a:pt x="1995" y="521"/>
                </a:lnTo>
                <a:lnTo>
                  <a:pt x="2002" y="521"/>
                </a:lnTo>
                <a:lnTo>
                  <a:pt x="2002" y="521"/>
                </a:lnTo>
                <a:lnTo>
                  <a:pt x="2010" y="521"/>
                </a:lnTo>
                <a:lnTo>
                  <a:pt x="2010" y="521"/>
                </a:lnTo>
                <a:lnTo>
                  <a:pt x="2010" y="521"/>
                </a:lnTo>
                <a:lnTo>
                  <a:pt x="2010" y="521"/>
                </a:lnTo>
                <a:lnTo>
                  <a:pt x="2018" y="521"/>
                </a:lnTo>
                <a:lnTo>
                  <a:pt x="2018" y="513"/>
                </a:lnTo>
                <a:lnTo>
                  <a:pt x="2025" y="513"/>
                </a:lnTo>
                <a:lnTo>
                  <a:pt x="2025" y="513"/>
                </a:lnTo>
                <a:lnTo>
                  <a:pt x="2033" y="513"/>
                </a:lnTo>
                <a:lnTo>
                  <a:pt x="2033" y="513"/>
                </a:lnTo>
                <a:lnTo>
                  <a:pt x="2041" y="513"/>
                </a:lnTo>
                <a:lnTo>
                  <a:pt x="2041" y="513"/>
                </a:lnTo>
                <a:lnTo>
                  <a:pt x="2041" y="513"/>
                </a:lnTo>
                <a:lnTo>
                  <a:pt x="2041" y="513"/>
                </a:lnTo>
                <a:lnTo>
                  <a:pt x="2048" y="513"/>
                </a:lnTo>
                <a:lnTo>
                  <a:pt x="2048" y="506"/>
                </a:lnTo>
                <a:lnTo>
                  <a:pt x="2056" y="506"/>
                </a:lnTo>
                <a:lnTo>
                  <a:pt x="2056" y="506"/>
                </a:lnTo>
                <a:lnTo>
                  <a:pt x="2064" y="506"/>
                </a:lnTo>
                <a:lnTo>
                  <a:pt x="2064" y="506"/>
                </a:lnTo>
                <a:lnTo>
                  <a:pt x="2064" y="506"/>
                </a:lnTo>
                <a:lnTo>
                  <a:pt x="2064" y="498"/>
                </a:lnTo>
                <a:lnTo>
                  <a:pt x="2071" y="498"/>
                </a:lnTo>
                <a:lnTo>
                  <a:pt x="2071" y="498"/>
                </a:lnTo>
                <a:lnTo>
                  <a:pt x="2079" y="498"/>
                </a:lnTo>
                <a:lnTo>
                  <a:pt x="2079" y="498"/>
                </a:lnTo>
                <a:lnTo>
                  <a:pt x="2087" y="498"/>
                </a:lnTo>
                <a:lnTo>
                  <a:pt x="2087" y="498"/>
                </a:lnTo>
                <a:lnTo>
                  <a:pt x="2087" y="498"/>
                </a:lnTo>
                <a:lnTo>
                  <a:pt x="2087" y="498"/>
                </a:lnTo>
                <a:lnTo>
                  <a:pt x="2094" y="498"/>
                </a:lnTo>
                <a:lnTo>
                  <a:pt x="2094" y="490"/>
                </a:lnTo>
                <a:lnTo>
                  <a:pt x="2102" y="490"/>
                </a:lnTo>
                <a:lnTo>
                  <a:pt x="2102" y="483"/>
                </a:lnTo>
                <a:lnTo>
                  <a:pt x="2110" y="483"/>
                </a:lnTo>
                <a:lnTo>
                  <a:pt x="2110" y="483"/>
                </a:lnTo>
                <a:lnTo>
                  <a:pt x="2117" y="483"/>
                </a:lnTo>
                <a:lnTo>
                  <a:pt x="2117" y="483"/>
                </a:lnTo>
                <a:lnTo>
                  <a:pt x="2117" y="483"/>
                </a:lnTo>
                <a:lnTo>
                  <a:pt x="2117" y="475"/>
                </a:lnTo>
                <a:lnTo>
                  <a:pt x="2125" y="475"/>
                </a:lnTo>
                <a:lnTo>
                  <a:pt x="2125" y="475"/>
                </a:lnTo>
                <a:lnTo>
                  <a:pt x="2140" y="475"/>
                </a:lnTo>
                <a:lnTo>
                  <a:pt x="2140" y="475"/>
                </a:lnTo>
                <a:lnTo>
                  <a:pt x="2140" y="475"/>
                </a:lnTo>
                <a:lnTo>
                  <a:pt x="2140" y="460"/>
                </a:lnTo>
                <a:lnTo>
                  <a:pt x="2148" y="460"/>
                </a:lnTo>
                <a:lnTo>
                  <a:pt x="2148" y="460"/>
                </a:lnTo>
                <a:lnTo>
                  <a:pt x="2156" y="460"/>
                </a:lnTo>
                <a:lnTo>
                  <a:pt x="2156" y="460"/>
                </a:lnTo>
                <a:lnTo>
                  <a:pt x="2163" y="460"/>
                </a:lnTo>
                <a:lnTo>
                  <a:pt x="2163" y="460"/>
                </a:lnTo>
                <a:lnTo>
                  <a:pt x="2163" y="460"/>
                </a:lnTo>
                <a:lnTo>
                  <a:pt x="2163" y="460"/>
                </a:lnTo>
                <a:lnTo>
                  <a:pt x="2171" y="460"/>
                </a:lnTo>
                <a:lnTo>
                  <a:pt x="2171" y="460"/>
                </a:lnTo>
                <a:lnTo>
                  <a:pt x="2179" y="460"/>
                </a:lnTo>
                <a:lnTo>
                  <a:pt x="2179" y="452"/>
                </a:lnTo>
                <a:lnTo>
                  <a:pt x="2186" y="452"/>
                </a:lnTo>
                <a:lnTo>
                  <a:pt x="2186" y="452"/>
                </a:lnTo>
                <a:lnTo>
                  <a:pt x="2186" y="452"/>
                </a:lnTo>
                <a:lnTo>
                  <a:pt x="2186" y="444"/>
                </a:lnTo>
                <a:lnTo>
                  <a:pt x="2194" y="444"/>
                </a:lnTo>
                <a:lnTo>
                  <a:pt x="2194" y="444"/>
                </a:lnTo>
                <a:lnTo>
                  <a:pt x="2202" y="444"/>
                </a:lnTo>
                <a:lnTo>
                  <a:pt x="2202" y="444"/>
                </a:lnTo>
                <a:lnTo>
                  <a:pt x="2209" y="444"/>
                </a:lnTo>
                <a:lnTo>
                  <a:pt x="2209" y="444"/>
                </a:lnTo>
                <a:lnTo>
                  <a:pt x="2217" y="444"/>
                </a:lnTo>
                <a:lnTo>
                  <a:pt x="2217" y="444"/>
                </a:lnTo>
                <a:lnTo>
                  <a:pt x="2217" y="444"/>
                </a:lnTo>
                <a:lnTo>
                  <a:pt x="2217" y="437"/>
                </a:lnTo>
                <a:lnTo>
                  <a:pt x="2225" y="437"/>
                </a:lnTo>
                <a:lnTo>
                  <a:pt x="2225" y="437"/>
                </a:lnTo>
                <a:lnTo>
                  <a:pt x="2232" y="437"/>
                </a:lnTo>
                <a:lnTo>
                  <a:pt x="2232" y="437"/>
                </a:lnTo>
                <a:lnTo>
                  <a:pt x="2240" y="437"/>
                </a:lnTo>
                <a:lnTo>
                  <a:pt x="2240" y="437"/>
                </a:lnTo>
                <a:lnTo>
                  <a:pt x="2240" y="437"/>
                </a:lnTo>
                <a:lnTo>
                  <a:pt x="2240" y="437"/>
                </a:lnTo>
                <a:lnTo>
                  <a:pt x="2248" y="437"/>
                </a:lnTo>
                <a:lnTo>
                  <a:pt x="2248" y="437"/>
                </a:lnTo>
                <a:lnTo>
                  <a:pt x="2255" y="437"/>
                </a:lnTo>
                <a:lnTo>
                  <a:pt x="2255" y="437"/>
                </a:lnTo>
                <a:lnTo>
                  <a:pt x="2263" y="437"/>
                </a:lnTo>
                <a:lnTo>
                  <a:pt x="2263" y="437"/>
                </a:lnTo>
                <a:lnTo>
                  <a:pt x="2263" y="437"/>
                </a:lnTo>
                <a:lnTo>
                  <a:pt x="2263" y="429"/>
                </a:lnTo>
                <a:lnTo>
                  <a:pt x="2271" y="429"/>
                </a:lnTo>
                <a:lnTo>
                  <a:pt x="2271" y="429"/>
                </a:lnTo>
                <a:lnTo>
                  <a:pt x="2278" y="429"/>
                </a:lnTo>
                <a:lnTo>
                  <a:pt x="2278" y="429"/>
                </a:lnTo>
                <a:lnTo>
                  <a:pt x="2286" y="429"/>
                </a:lnTo>
                <a:lnTo>
                  <a:pt x="2286" y="429"/>
                </a:lnTo>
                <a:lnTo>
                  <a:pt x="2294" y="429"/>
                </a:lnTo>
                <a:lnTo>
                  <a:pt x="2294" y="429"/>
                </a:lnTo>
                <a:lnTo>
                  <a:pt x="2294" y="429"/>
                </a:lnTo>
                <a:lnTo>
                  <a:pt x="2294" y="429"/>
                </a:lnTo>
                <a:lnTo>
                  <a:pt x="2301" y="429"/>
                </a:lnTo>
                <a:lnTo>
                  <a:pt x="2301" y="429"/>
                </a:lnTo>
                <a:lnTo>
                  <a:pt x="2309" y="429"/>
                </a:lnTo>
                <a:lnTo>
                  <a:pt x="2309" y="429"/>
                </a:lnTo>
                <a:lnTo>
                  <a:pt x="2317" y="429"/>
                </a:lnTo>
                <a:lnTo>
                  <a:pt x="2317" y="429"/>
                </a:lnTo>
                <a:lnTo>
                  <a:pt x="2317" y="429"/>
                </a:lnTo>
                <a:lnTo>
                  <a:pt x="2317" y="429"/>
                </a:lnTo>
                <a:lnTo>
                  <a:pt x="2324" y="429"/>
                </a:lnTo>
                <a:lnTo>
                  <a:pt x="2324" y="429"/>
                </a:lnTo>
                <a:lnTo>
                  <a:pt x="2332" y="429"/>
                </a:lnTo>
                <a:lnTo>
                  <a:pt x="2332" y="429"/>
                </a:lnTo>
                <a:lnTo>
                  <a:pt x="2340" y="429"/>
                </a:lnTo>
                <a:lnTo>
                  <a:pt x="2340" y="429"/>
                </a:lnTo>
                <a:lnTo>
                  <a:pt x="2340" y="429"/>
                </a:lnTo>
                <a:lnTo>
                  <a:pt x="2340" y="429"/>
                </a:lnTo>
                <a:lnTo>
                  <a:pt x="2347" y="429"/>
                </a:lnTo>
                <a:lnTo>
                  <a:pt x="2347" y="421"/>
                </a:lnTo>
                <a:lnTo>
                  <a:pt x="2355" y="421"/>
                </a:lnTo>
                <a:lnTo>
                  <a:pt x="2355" y="421"/>
                </a:lnTo>
                <a:lnTo>
                  <a:pt x="2363" y="421"/>
                </a:lnTo>
                <a:lnTo>
                  <a:pt x="2363" y="421"/>
                </a:lnTo>
                <a:lnTo>
                  <a:pt x="2378" y="421"/>
                </a:lnTo>
                <a:lnTo>
                  <a:pt x="2378" y="421"/>
                </a:lnTo>
                <a:lnTo>
                  <a:pt x="2386" y="421"/>
                </a:lnTo>
                <a:lnTo>
                  <a:pt x="2386" y="421"/>
                </a:lnTo>
                <a:lnTo>
                  <a:pt x="2394" y="421"/>
                </a:lnTo>
                <a:lnTo>
                  <a:pt x="2394" y="421"/>
                </a:lnTo>
                <a:lnTo>
                  <a:pt x="2394" y="421"/>
                </a:lnTo>
                <a:lnTo>
                  <a:pt x="2394" y="421"/>
                </a:lnTo>
                <a:lnTo>
                  <a:pt x="2401" y="421"/>
                </a:lnTo>
                <a:lnTo>
                  <a:pt x="2401" y="421"/>
                </a:lnTo>
                <a:lnTo>
                  <a:pt x="2409" y="421"/>
                </a:lnTo>
                <a:lnTo>
                  <a:pt x="2409" y="421"/>
                </a:lnTo>
                <a:lnTo>
                  <a:pt x="2417" y="421"/>
                </a:lnTo>
                <a:lnTo>
                  <a:pt x="2417" y="421"/>
                </a:lnTo>
                <a:lnTo>
                  <a:pt x="2417" y="421"/>
                </a:lnTo>
                <a:lnTo>
                  <a:pt x="2417" y="421"/>
                </a:lnTo>
                <a:lnTo>
                  <a:pt x="2424" y="421"/>
                </a:lnTo>
                <a:lnTo>
                  <a:pt x="2424" y="414"/>
                </a:lnTo>
                <a:lnTo>
                  <a:pt x="2432" y="414"/>
                </a:lnTo>
                <a:lnTo>
                  <a:pt x="2432" y="414"/>
                </a:lnTo>
                <a:lnTo>
                  <a:pt x="2440" y="414"/>
                </a:lnTo>
                <a:lnTo>
                  <a:pt x="2440" y="414"/>
                </a:lnTo>
                <a:lnTo>
                  <a:pt x="2440" y="414"/>
                </a:lnTo>
                <a:lnTo>
                  <a:pt x="2440" y="414"/>
                </a:lnTo>
                <a:lnTo>
                  <a:pt x="2447" y="414"/>
                </a:lnTo>
                <a:lnTo>
                  <a:pt x="2447" y="414"/>
                </a:lnTo>
                <a:lnTo>
                  <a:pt x="2455" y="414"/>
                </a:lnTo>
                <a:lnTo>
                  <a:pt x="2455" y="414"/>
                </a:lnTo>
                <a:lnTo>
                  <a:pt x="2463" y="414"/>
                </a:lnTo>
                <a:lnTo>
                  <a:pt x="2463" y="414"/>
                </a:lnTo>
                <a:lnTo>
                  <a:pt x="2470" y="414"/>
                </a:lnTo>
                <a:lnTo>
                  <a:pt x="2470" y="406"/>
                </a:lnTo>
                <a:lnTo>
                  <a:pt x="2470" y="406"/>
                </a:lnTo>
                <a:lnTo>
                  <a:pt x="2470" y="406"/>
                </a:lnTo>
                <a:lnTo>
                  <a:pt x="2478" y="406"/>
                </a:lnTo>
                <a:lnTo>
                  <a:pt x="2478" y="398"/>
                </a:lnTo>
                <a:lnTo>
                  <a:pt x="2486" y="398"/>
                </a:lnTo>
                <a:lnTo>
                  <a:pt x="2486" y="398"/>
                </a:lnTo>
                <a:lnTo>
                  <a:pt x="2493" y="398"/>
                </a:lnTo>
                <a:lnTo>
                  <a:pt x="2493" y="398"/>
                </a:lnTo>
                <a:lnTo>
                  <a:pt x="2493" y="398"/>
                </a:lnTo>
                <a:lnTo>
                  <a:pt x="2493" y="398"/>
                </a:lnTo>
                <a:lnTo>
                  <a:pt x="2501" y="398"/>
                </a:lnTo>
                <a:lnTo>
                  <a:pt x="2501" y="398"/>
                </a:lnTo>
                <a:lnTo>
                  <a:pt x="2509" y="398"/>
                </a:lnTo>
                <a:lnTo>
                  <a:pt x="2509" y="398"/>
                </a:lnTo>
                <a:lnTo>
                  <a:pt x="2516" y="398"/>
                </a:lnTo>
                <a:lnTo>
                  <a:pt x="2516" y="398"/>
                </a:lnTo>
                <a:lnTo>
                  <a:pt x="2516" y="398"/>
                </a:lnTo>
                <a:lnTo>
                  <a:pt x="2516" y="398"/>
                </a:lnTo>
                <a:lnTo>
                  <a:pt x="2524" y="398"/>
                </a:lnTo>
                <a:lnTo>
                  <a:pt x="2524" y="398"/>
                </a:lnTo>
                <a:lnTo>
                  <a:pt x="2532" y="398"/>
                </a:lnTo>
                <a:lnTo>
                  <a:pt x="2532" y="398"/>
                </a:lnTo>
                <a:lnTo>
                  <a:pt x="2539" y="398"/>
                </a:lnTo>
                <a:lnTo>
                  <a:pt x="2539" y="398"/>
                </a:lnTo>
                <a:lnTo>
                  <a:pt x="2539" y="398"/>
                </a:lnTo>
                <a:lnTo>
                  <a:pt x="2539" y="398"/>
                </a:lnTo>
                <a:lnTo>
                  <a:pt x="2547" y="398"/>
                </a:lnTo>
                <a:lnTo>
                  <a:pt x="2547" y="398"/>
                </a:lnTo>
                <a:lnTo>
                  <a:pt x="2555" y="398"/>
                </a:lnTo>
                <a:lnTo>
                  <a:pt x="2555" y="398"/>
                </a:lnTo>
                <a:lnTo>
                  <a:pt x="2562" y="398"/>
                </a:lnTo>
                <a:lnTo>
                  <a:pt x="2562" y="398"/>
                </a:lnTo>
                <a:lnTo>
                  <a:pt x="2570" y="398"/>
                </a:lnTo>
                <a:lnTo>
                  <a:pt x="2570" y="398"/>
                </a:lnTo>
                <a:lnTo>
                  <a:pt x="2570" y="398"/>
                </a:lnTo>
                <a:lnTo>
                  <a:pt x="2570" y="398"/>
                </a:lnTo>
                <a:lnTo>
                  <a:pt x="2578" y="398"/>
                </a:lnTo>
                <a:lnTo>
                  <a:pt x="2578" y="398"/>
                </a:lnTo>
                <a:lnTo>
                  <a:pt x="2585" y="398"/>
                </a:lnTo>
                <a:lnTo>
                  <a:pt x="2585" y="398"/>
                </a:lnTo>
                <a:lnTo>
                  <a:pt x="2593" y="398"/>
                </a:lnTo>
                <a:lnTo>
                  <a:pt x="2593" y="398"/>
                </a:lnTo>
                <a:lnTo>
                  <a:pt x="2593" y="398"/>
                </a:lnTo>
                <a:lnTo>
                  <a:pt x="2593" y="398"/>
                </a:lnTo>
                <a:lnTo>
                  <a:pt x="2601" y="398"/>
                </a:lnTo>
                <a:lnTo>
                  <a:pt x="2601" y="398"/>
                </a:lnTo>
                <a:lnTo>
                  <a:pt x="2608" y="398"/>
                </a:lnTo>
                <a:lnTo>
                  <a:pt x="2608" y="398"/>
                </a:lnTo>
                <a:lnTo>
                  <a:pt x="2616" y="398"/>
                </a:lnTo>
                <a:lnTo>
                  <a:pt x="2616" y="398"/>
                </a:lnTo>
                <a:lnTo>
                  <a:pt x="2616" y="398"/>
                </a:lnTo>
                <a:lnTo>
                  <a:pt x="2616" y="391"/>
                </a:lnTo>
                <a:lnTo>
                  <a:pt x="2624" y="391"/>
                </a:lnTo>
                <a:lnTo>
                  <a:pt x="2624" y="391"/>
                </a:lnTo>
                <a:lnTo>
                  <a:pt x="2631" y="391"/>
                </a:lnTo>
                <a:lnTo>
                  <a:pt x="2631" y="391"/>
                </a:lnTo>
                <a:lnTo>
                  <a:pt x="2639" y="391"/>
                </a:lnTo>
                <a:lnTo>
                  <a:pt x="2639" y="391"/>
                </a:lnTo>
                <a:lnTo>
                  <a:pt x="2639" y="391"/>
                </a:lnTo>
                <a:lnTo>
                  <a:pt x="2639" y="391"/>
                </a:lnTo>
                <a:lnTo>
                  <a:pt x="2647" y="391"/>
                </a:lnTo>
                <a:lnTo>
                  <a:pt x="2647" y="391"/>
                </a:lnTo>
                <a:lnTo>
                  <a:pt x="2654" y="391"/>
                </a:lnTo>
                <a:lnTo>
                  <a:pt x="2654" y="391"/>
                </a:lnTo>
                <a:lnTo>
                  <a:pt x="2662" y="391"/>
                </a:lnTo>
                <a:lnTo>
                  <a:pt x="2662" y="391"/>
                </a:lnTo>
                <a:lnTo>
                  <a:pt x="2670" y="391"/>
                </a:lnTo>
                <a:lnTo>
                  <a:pt x="2670" y="391"/>
                </a:lnTo>
                <a:lnTo>
                  <a:pt x="2670" y="391"/>
                </a:lnTo>
                <a:lnTo>
                  <a:pt x="2670" y="391"/>
                </a:lnTo>
                <a:lnTo>
                  <a:pt x="2677" y="391"/>
                </a:lnTo>
                <a:lnTo>
                  <a:pt x="2677" y="383"/>
                </a:lnTo>
                <a:lnTo>
                  <a:pt x="2685" y="383"/>
                </a:lnTo>
                <a:lnTo>
                  <a:pt x="2685" y="383"/>
                </a:lnTo>
                <a:lnTo>
                  <a:pt x="2693" y="383"/>
                </a:lnTo>
                <a:lnTo>
                  <a:pt x="2693" y="375"/>
                </a:lnTo>
                <a:lnTo>
                  <a:pt x="2693" y="375"/>
                </a:lnTo>
                <a:lnTo>
                  <a:pt x="2693" y="375"/>
                </a:lnTo>
                <a:lnTo>
                  <a:pt x="2700" y="375"/>
                </a:lnTo>
                <a:lnTo>
                  <a:pt x="2700" y="375"/>
                </a:lnTo>
                <a:lnTo>
                  <a:pt x="2708" y="375"/>
                </a:lnTo>
                <a:lnTo>
                  <a:pt x="2708" y="375"/>
                </a:lnTo>
                <a:lnTo>
                  <a:pt x="2716" y="375"/>
                </a:lnTo>
                <a:lnTo>
                  <a:pt x="2716" y="375"/>
                </a:lnTo>
                <a:lnTo>
                  <a:pt x="2716" y="375"/>
                </a:lnTo>
                <a:lnTo>
                  <a:pt x="2716" y="375"/>
                </a:lnTo>
                <a:lnTo>
                  <a:pt x="2723" y="375"/>
                </a:lnTo>
                <a:lnTo>
                  <a:pt x="2723" y="375"/>
                </a:lnTo>
                <a:lnTo>
                  <a:pt x="2731" y="375"/>
                </a:lnTo>
                <a:lnTo>
                  <a:pt x="2731" y="375"/>
                </a:lnTo>
                <a:lnTo>
                  <a:pt x="2739" y="375"/>
                </a:lnTo>
                <a:lnTo>
                  <a:pt x="2739" y="375"/>
                </a:lnTo>
                <a:lnTo>
                  <a:pt x="2746" y="375"/>
                </a:lnTo>
                <a:lnTo>
                  <a:pt x="2746" y="375"/>
                </a:lnTo>
                <a:lnTo>
                  <a:pt x="2746" y="375"/>
                </a:lnTo>
                <a:lnTo>
                  <a:pt x="2746" y="368"/>
                </a:lnTo>
                <a:lnTo>
                  <a:pt x="2754" y="368"/>
                </a:lnTo>
                <a:lnTo>
                  <a:pt x="2754" y="368"/>
                </a:lnTo>
                <a:lnTo>
                  <a:pt x="2762" y="368"/>
                </a:lnTo>
                <a:lnTo>
                  <a:pt x="2762" y="368"/>
                </a:lnTo>
                <a:lnTo>
                  <a:pt x="2769" y="368"/>
                </a:lnTo>
                <a:lnTo>
                  <a:pt x="2769" y="368"/>
                </a:lnTo>
                <a:lnTo>
                  <a:pt x="2769" y="368"/>
                </a:lnTo>
                <a:lnTo>
                  <a:pt x="2769" y="368"/>
                </a:lnTo>
                <a:lnTo>
                  <a:pt x="2777" y="368"/>
                </a:lnTo>
                <a:lnTo>
                  <a:pt x="2777" y="368"/>
                </a:lnTo>
                <a:lnTo>
                  <a:pt x="2785" y="368"/>
                </a:lnTo>
                <a:lnTo>
                  <a:pt x="2785" y="368"/>
                </a:lnTo>
                <a:lnTo>
                  <a:pt x="2792" y="368"/>
                </a:lnTo>
                <a:lnTo>
                  <a:pt x="2792" y="368"/>
                </a:lnTo>
                <a:lnTo>
                  <a:pt x="2792" y="368"/>
                </a:lnTo>
                <a:lnTo>
                  <a:pt x="2792" y="368"/>
                </a:lnTo>
                <a:lnTo>
                  <a:pt x="2800" y="368"/>
                </a:lnTo>
                <a:lnTo>
                  <a:pt x="2800" y="368"/>
                </a:lnTo>
                <a:lnTo>
                  <a:pt x="2808" y="368"/>
                </a:lnTo>
                <a:lnTo>
                  <a:pt x="2808" y="368"/>
                </a:lnTo>
                <a:lnTo>
                  <a:pt x="2815" y="368"/>
                </a:lnTo>
                <a:lnTo>
                  <a:pt x="2815" y="368"/>
                </a:lnTo>
                <a:lnTo>
                  <a:pt x="2815" y="368"/>
                </a:lnTo>
                <a:lnTo>
                  <a:pt x="2815" y="368"/>
                </a:lnTo>
                <a:lnTo>
                  <a:pt x="2823" y="368"/>
                </a:lnTo>
                <a:lnTo>
                  <a:pt x="2823" y="368"/>
                </a:lnTo>
                <a:lnTo>
                  <a:pt x="2831" y="368"/>
                </a:lnTo>
                <a:lnTo>
                  <a:pt x="2831" y="368"/>
                </a:lnTo>
                <a:lnTo>
                  <a:pt x="2838" y="368"/>
                </a:lnTo>
                <a:lnTo>
                  <a:pt x="2838" y="368"/>
                </a:lnTo>
                <a:lnTo>
                  <a:pt x="2846" y="368"/>
                </a:lnTo>
                <a:lnTo>
                  <a:pt x="2846" y="360"/>
                </a:lnTo>
                <a:lnTo>
                  <a:pt x="2846" y="360"/>
                </a:lnTo>
                <a:lnTo>
                  <a:pt x="2846" y="360"/>
                </a:lnTo>
                <a:lnTo>
                  <a:pt x="2854" y="360"/>
                </a:lnTo>
                <a:lnTo>
                  <a:pt x="2854" y="360"/>
                </a:lnTo>
                <a:lnTo>
                  <a:pt x="2861" y="360"/>
                </a:lnTo>
                <a:lnTo>
                  <a:pt x="2861" y="360"/>
                </a:lnTo>
                <a:lnTo>
                  <a:pt x="2869" y="360"/>
                </a:lnTo>
                <a:lnTo>
                  <a:pt x="2869" y="360"/>
                </a:lnTo>
                <a:lnTo>
                  <a:pt x="2869" y="360"/>
                </a:lnTo>
                <a:lnTo>
                  <a:pt x="2869" y="360"/>
                </a:lnTo>
                <a:lnTo>
                  <a:pt x="2877" y="360"/>
                </a:lnTo>
                <a:lnTo>
                  <a:pt x="2877" y="360"/>
                </a:lnTo>
                <a:lnTo>
                  <a:pt x="2884" y="360"/>
                </a:lnTo>
                <a:lnTo>
                  <a:pt x="2884" y="360"/>
                </a:lnTo>
                <a:lnTo>
                  <a:pt x="2892" y="360"/>
                </a:lnTo>
                <a:lnTo>
                  <a:pt x="2892" y="360"/>
                </a:lnTo>
                <a:lnTo>
                  <a:pt x="2892" y="360"/>
                </a:lnTo>
                <a:lnTo>
                  <a:pt x="2892" y="360"/>
                </a:lnTo>
                <a:lnTo>
                  <a:pt x="2900" y="360"/>
                </a:lnTo>
                <a:lnTo>
                  <a:pt x="2900" y="360"/>
                </a:lnTo>
                <a:lnTo>
                  <a:pt x="2907" y="360"/>
                </a:lnTo>
                <a:lnTo>
                  <a:pt x="2907" y="360"/>
                </a:lnTo>
                <a:lnTo>
                  <a:pt x="2915" y="360"/>
                </a:lnTo>
                <a:lnTo>
                  <a:pt x="2915" y="360"/>
                </a:lnTo>
                <a:lnTo>
                  <a:pt x="2923" y="360"/>
                </a:lnTo>
                <a:lnTo>
                  <a:pt x="2923" y="360"/>
                </a:lnTo>
                <a:lnTo>
                  <a:pt x="2923" y="360"/>
                </a:lnTo>
                <a:lnTo>
                  <a:pt x="2923" y="352"/>
                </a:lnTo>
                <a:lnTo>
                  <a:pt x="2930" y="352"/>
                </a:lnTo>
                <a:lnTo>
                  <a:pt x="2930" y="352"/>
                </a:lnTo>
                <a:lnTo>
                  <a:pt x="2938" y="352"/>
                </a:lnTo>
                <a:lnTo>
                  <a:pt x="2938" y="352"/>
                </a:lnTo>
                <a:lnTo>
                  <a:pt x="2946" y="352"/>
                </a:lnTo>
                <a:lnTo>
                  <a:pt x="2946" y="352"/>
                </a:lnTo>
                <a:lnTo>
                  <a:pt x="2946" y="352"/>
                </a:lnTo>
                <a:lnTo>
                  <a:pt x="2946" y="352"/>
                </a:lnTo>
                <a:lnTo>
                  <a:pt x="2953" y="352"/>
                </a:lnTo>
                <a:lnTo>
                  <a:pt x="2953" y="352"/>
                </a:lnTo>
                <a:lnTo>
                  <a:pt x="2961" y="352"/>
                </a:lnTo>
                <a:lnTo>
                  <a:pt x="2961" y="345"/>
                </a:lnTo>
                <a:lnTo>
                  <a:pt x="2969" y="345"/>
                </a:lnTo>
                <a:lnTo>
                  <a:pt x="2969" y="337"/>
                </a:lnTo>
                <a:lnTo>
                  <a:pt x="2969" y="337"/>
                </a:lnTo>
                <a:lnTo>
                  <a:pt x="2969" y="337"/>
                </a:lnTo>
                <a:lnTo>
                  <a:pt x="2976" y="337"/>
                </a:lnTo>
                <a:lnTo>
                  <a:pt x="2976" y="337"/>
                </a:lnTo>
                <a:lnTo>
                  <a:pt x="2984" y="337"/>
                </a:lnTo>
                <a:lnTo>
                  <a:pt x="2984" y="337"/>
                </a:lnTo>
                <a:lnTo>
                  <a:pt x="2992" y="337"/>
                </a:lnTo>
                <a:lnTo>
                  <a:pt x="2992" y="337"/>
                </a:lnTo>
                <a:lnTo>
                  <a:pt x="2992" y="337"/>
                </a:lnTo>
                <a:lnTo>
                  <a:pt x="2992" y="329"/>
                </a:lnTo>
                <a:lnTo>
                  <a:pt x="3000" y="329"/>
                </a:lnTo>
                <a:lnTo>
                  <a:pt x="3000" y="329"/>
                </a:lnTo>
                <a:lnTo>
                  <a:pt x="3007" y="329"/>
                </a:lnTo>
                <a:lnTo>
                  <a:pt x="3007" y="329"/>
                </a:lnTo>
                <a:lnTo>
                  <a:pt x="3015" y="329"/>
                </a:lnTo>
                <a:lnTo>
                  <a:pt x="3015" y="329"/>
                </a:lnTo>
                <a:lnTo>
                  <a:pt x="3023" y="329"/>
                </a:lnTo>
                <a:lnTo>
                  <a:pt x="3023" y="329"/>
                </a:lnTo>
                <a:lnTo>
                  <a:pt x="3023" y="329"/>
                </a:lnTo>
                <a:lnTo>
                  <a:pt x="3023" y="322"/>
                </a:lnTo>
                <a:lnTo>
                  <a:pt x="3030" y="322"/>
                </a:lnTo>
                <a:lnTo>
                  <a:pt x="3030" y="322"/>
                </a:lnTo>
                <a:lnTo>
                  <a:pt x="3038" y="322"/>
                </a:lnTo>
                <a:lnTo>
                  <a:pt x="3038" y="322"/>
                </a:lnTo>
                <a:lnTo>
                  <a:pt x="3046" y="322"/>
                </a:lnTo>
                <a:lnTo>
                  <a:pt x="3046" y="314"/>
                </a:lnTo>
                <a:lnTo>
                  <a:pt x="3046" y="314"/>
                </a:lnTo>
                <a:lnTo>
                  <a:pt x="3046" y="306"/>
                </a:lnTo>
                <a:lnTo>
                  <a:pt x="3053" y="306"/>
                </a:lnTo>
                <a:lnTo>
                  <a:pt x="3053" y="306"/>
                </a:lnTo>
                <a:lnTo>
                  <a:pt x="3061" y="306"/>
                </a:lnTo>
                <a:lnTo>
                  <a:pt x="3061" y="306"/>
                </a:lnTo>
                <a:lnTo>
                  <a:pt x="3069" y="306"/>
                </a:lnTo>
                <a:lnTo>
                  <a:pt x="3069" y="306"/>
                </a:lnTo>
                <a:lnTo>
                  <a:pt x="3069" y="306"/>
                </a:lnTo>
                <a:lnTo>
                  <a:pt x="3069" y="306"/>
                </a:lnTo>
                <a:lnTo>
                  <a:pt x="3076" y="306"/>
                </a:lnTo>
                <a:lnTo>
                  <a:pt x="3076" y="299"/>
                </a:lnTo>
                <a:lnTo>
                  <a:pt x="3084" y="299"/>
                </a:lnTo>
                <a:lnTo>
                  <a:pt x="3084" y="299"/>
                </a:lnTo>
                <a:lnTo>
                  <a:pt x="3092" y="299"/>
                </a:lnTo>
                <a:lnTo>
                  <a:pt x="3092" y="291"/>
                </a:lnTo>
                <a:lnTo>
                  <a:pt x="3099" y="291"/>
                </a:lnTo>
                <a:lnTo>
                  <a:pt x="3099" y="291"/>
                </a:lnTo>
                <a:lnTo>
                  <a:pt x="3099" y="291"/>
                </a:lnTo>
                <a:lnTo>
                  <a:pt x="3099" y="283"/>
                </a:lnTo>
                <a:lnTo>
                  <a:pt x="3107" y="283"/>
                </a:lnTo>
                <a:lnTo>
                  <a:pt x="3107" y="283"/>
                </a:lnTo>
                <a:lnTo>
                  <a:pt x="3115" y="283"/>
                </a:lnTo>
                <a:lnTo>
                  <a:pt x="3115" y="283"/>
                </a:lnTo>
                <a:lnTo>
                  <a:pt x="3122" y="283"/>
                </a:lnTo>
                <a:lnTo>
                  <a:pt x="3122" y="283"/>
                </a:lnTo>
                <a:lnTo>
                  <a:pt x="3122" y="283"/>
                </a:lnTo>
                <a:lnTo>
                  <a:pt x="3122" y="283"/>
                </a:lnTo>
                <a:lnTo>
                  <a:pt x="3130" y="283"/>
                </a:lnTo>
                <a:lnTo>
                  <a:pt x="3130" y="276"/>
                </a:lnTo>
                <a:lnTo>
                  <a:pt x="3138" y="276"/>
                </a:lnTo>
                <a:lnTo>
                  <a:pt x="3138" y="276"/>
                </a:lnTo>
                <a:lnTo>
                  <a:pt x="3145" y="276"/>
                </a:lnTo>
                <a:lnTo>
                  <a:pt x="3145" y="268"/>
                </a:lnTo>
                <a:lnTo>
                  <a:pt x="3145" y="268"/>
                </a:lnTo>
                <a:lnTo>
                  <a:pt x="3145" y="268"/>
                </a:lnTo>
                <a:lnTo>
                  <a:pt x="3153" y="268"/>
                </a:lnTo>
                <a:lnTo>
                  <a:pt x="3153" y="260"/>
                </a:lnTo>
                <a:lnTo>
                  <a:pt x="3161" y="260"/>
                </a:lnTo>
                <a:lnTo>
                  <a:pt x="3161" y="260"/>
                </a:lnTo>
                <a:lnTo>
                  <a:pt x="3168" y="260"/>
                </a:lnTo>
                <a:lnTo>
                  <a:pt x="3168" y="260"/>
                </a:lnTo>
                <a:lnTo>
                  <a:pt x="3168" y="260"/>
                </a:lnTo>
                <a:lnTo>
                  <a:pt x="3168" y="260"/>
                </a:lnTo>
                <a:lnTo>
                  <a:pt x="3176" y="260"/>
                </a:lnTo>
                <a:lnTo>
                  <a:pt x="3176" y="253"/>
                </a:lnTo>
                <a:lnTo>
                  <a:pt x="3184" y="253"/>
                </a:lnTo>
                <a:lnTo>
                  <a:pt x="3184" y="253"/>
                </a:lnTo>
                <a:lnTo>
                  <a:pt x="3191" y="253"/>
                </a:lnTo>
                <a:lnTo>
                  <a:pt x="3191" y="245"/>
                </a:lnTo>
                <a:lnTo>
                  <a:pt x="3199" y="245"/>
                </a:lnTo>
                <a:lnTo>
                  <a:pt x="3199" y="245"/>
                </a:lnTo>
                <a:lnTo>
                  <a:pt x="3199" y="245"/>
                </a:lnTo>
                <a:lnTo>
                  <a:pt x="3199" y="237"/>
                </a:lnTo>
                <a:lnTo>
                  <a:pt x="3207" y="237"/>
                </a:lnTo>
                <a:lnTo>
                  <a:pt x="3207" y="237"/>
                </a:lnTo>
                <a:lnTo>
                  <a:pt x="3214" y="237"/>
                </a:lnTo>
                <a:lnTo>
                  <a:pt x="3214" y="237"/>
                </a:lnTo>
                <a:lnTo>
                  <a:pt x="3222" y="237"/>
                </a:lnTo>
                <a:lnTo>
                  <a:pt x="3222" y="230"/>
                </a:lnTo>
                <a:lnTo>
                  <a:pt x="3222" y="230"/>
                </a:lnTo>
                <a:lnTo>
                  <a:pt x="3222" y="230"/>
                </a:lnTo>
                <a:lnTo>
                  <a:pt x="3230" y="230"/>
                </a:lnTo>
                <a:lnTo>
                  <a:pt x="3230" y="230"/>
                </a:lnTo>
                <a:lnTo>
                  <a:pt x="3237" y="230"/>
                </a:lnTo>
                <a:lnTo>
                  <a:pt x="3237" y="230"/>
                </a:lnTo>
                <a:lnTo>
                  <a:pt x="3245" y="230"/>
                </a:lnTo>
                <a:lnTo>
                  <a:pt x="3245" y="222"/>
                </a:lnTo>
                <a:lnTo>
                  <a:pt x="3245" y="222"/>
                </a:lnTo>
                <a:lnTo>
                  <a:pt x="3245" y="222"/>
                </a:lnTo>
                <a:lnTo>
                  <a:pt x="3253" y="222"/>
                </a:lnTo>
                <a:lnTo>
                  <a:pt x="3253" y="207"/>
                </a:lnTo>
                <a:lnTo>
                  <a:pt x="3260" y="207"/>
                </a:lnTo>
                <a:lnTo>
                  <a:pt x="3260" y="207"/>
                </a:lnTo>
                <a:lnTo>
                  <a:pt x="3268" y="207"/>
                </a:lnTo>
                <a:lnTo>
                  <a:pt x="3268" y="199"/>
                </a:lnTo>
                <a:lnTo>
                  <a:pt x="3276" y="199"/>
                </a:lnTo>
                <a:lnTo>
                  <a:pt x="3276" y="199"/>
                </a:lnTo>
                <a:lnTo>
                  <a:pt x="3276" y="199"/>
                </a:lnTo>
                <a:lnTo>
                  <a:pt x="3276" y="199"/>
                </a:lnTo>
                <a:lnTo>
                  <a:pt x="3283" y="199"/>
                </a:lnTo>
                <a:lnTo>
                  <a:pt x="3283" y="199"/>
                </a:lnTo>
                <a:lnTo>
                  <a:pt x="3291" y="199"/>
                </a:lnTo>
                <a:lnTo>
                  <a:pt x="3291" y="191"/>
                </a:lnTo>
                <a:lnTo>
                  <a:pt x="3299" y="191"/>
                </a:lnTo>
                <a:lnTo>
                  <a:pt x="3299" y="184"/>
                </a:lnTo>
                <a:lnTo>
                  <a:pt x="3299" y="184"/>
                </a:lnTo>
                <a:lnTo>
                  <a:pt x="3299" y="176"/>
                </a:lnTo>
                <a:lnTo>
                  <a:pt x="3306" y="176"/>
                </a:lnTo>
                <a:lnTo>
                  <a:pt x="3306" y="176"/>
                </a:lnTo>
                <a:lnTo>
                  <a:pt x="3314" y="176"/>
                </a:lnTo>
                <a:lnTo>
                  <a:pt x="3314" y="176"/>
                </a:lnTo>
                <a:lnTo>
                  <a:pt x="3322" y="176"/>
                </a:lnTo>
                <a:lnTo>
                  <a:pt x="3322" y="176"/>
                </a:lnTo>
                <a:lnTo>
                  <a:pt x="3322" y="176"/>
                </a:lnTo>
                <a:lnTo>
                  <a:pt x="3322" y="168"/>
                </a:lnTo>
                <a:lnTo>
                  <a:pt x="3329" y="168"/>
                </a:lnTo>
                <a:lnTo>
                  <a:pt x="3329" y="168"/>
                </a:lnTo>
                <a:lnTo>
                  <a:pt x="3337" y="168"/>
                </a:lnTo>
                <a:lnTo>
                  <a:pt x="3337" y="161"/>
                </a:lnTo>
                <a:lnTo>
                  <a:pt x="3345" y="161"/>
                </a:lnTo>
                <a:lnTo>
                  <a:pt x="3345" y="153"/>
                </a:lnTo>
                <a:lnTo>
                  <a:pt x="3345" y="153"/>
                </a:lnTo>
                <a:lnTo>
                  <a:pt x="3345" y="153"/>
                </a:lnTo>
                <a:lnTo>
                  <a:pt x="3352" y="153"/>
                </a:lnTo>
                <a:lnTo>
                  <a:pt x="3352" y="153"/>
                </a:lnTo>
                <a:lnTo>
                  <a:pt x="3360" y="153"/>
                </a:lnTo>
                <a:lnTo>
                  <a:pt x="3360" y="153"/>
                </a:lnTo>
                <a:lnTo>
                  <a:pt x="3368" y="153"/>
                </a:lnTo>
                <a:lnTo>
                  <a:pt x="3368" y="153"/>
                </a:lnTo>
                <a:lnTo>
                  <a:pt x="3375" y="153"/>
                </a:lnTo>
                <a:lnTo>
                  <a:pt x="3375" y="153"/>
                </a:lnTo>
                <a:lnTo>
                  <a:pt x="3375" y="153"/>
                </a:lnTo>
                <a:lnTo>
                  <a:pt x="3375" y="138"/>
                </a:lnTo>
                <a:lnTo>
                  <a:pt x="3383" y="138"/>
                </a:lnTo>
                <a:lnTo>
                  <a:pt x="3383" y="138"/>
                </a:lnTo>
                <a:lnTo>
                  <a:pt x="3391" y="138"/>
                </a:lnTo>
                <a:lnTo>
                  <a:pt x="3391" y="138"/>
                </a:lnTo>
                <a:lnTo>
                  <a:pt x="3398" y="138"/>
                </a:lnTo>
                <a:lnTo>
                  <a:pt x="3398" y="138"/>
                </a:lnTo>
                <a:lnTo>
                  <a:pt x="3398" y="138"/>
                </a:lnTo>
                <a:lnTo>
                  <a:pt x="3398" y="138"/>
                </a:lnTo>
                <a:lnTo>
                  <a:pt x="3406" y="138"/>
                </a:lnTo>
                <a:lnTo>
                  <a:pt x="3406" y="130"/>
                </a:lnTo>
                <a:lnTo>
                  <a:pt x="3414" y="130"/>
                </a:lnTo>
                <a:lnTo>
                  <a:pt x="3414" y="130"/>
                </a:lnTo>
                <a:lnTo>
                  <a:pt x="3421" y="130"/>
                </a:lnTo>
                <a:lnTo>
                  <a:pt x="3421" y="122"/>
                </a:lnTo>
                <a:lnTo>
                  <a:pt x="3421" y="122"/>
                </a:lnTo>
                <a:lnTo>
                  <a:pt x="3421" y="122"/>
                </a:lnTo>
                <a:lnTo>
                  <a:pt x="3429" y="122"/>
                </a:lnTo>
                <a:lnTo>
                  <a:pt x="3429" y="122"/>
                </a:lnTo>
                <a:lnTo>
                  <a:pt x="3437" y="122"/>
                </a:lnTo>
                <a:lnTo>
                  <a:pt x="3437" y="122"/>
                </a:lnTo>
                <a:lnTo>
                  <a:pt x="3444" y="122"/>
                </a:lnTo>
                <a:lnTo>
                  <a:pt x="3444" y="122"/>
                </a:lnTo>
                <a:lnTo>
                  <a:pt x="3444" y="122"/>
                </a:lnTo>
                <a:lnTo>
                  <a:pt x="3444" y="115"/>
                </a:lnTo>
                <a:lnTo>
                  <a:pt x="3452" y="115"/>
                </a:lnTo>
                <a:lnTo>
                  <a:pt x="3452" y="115"/>
                </a:lnTo>
                <a:lnTo>
                  <a:pt x="3460" y="115"/>
                </a:lnTo>
                <a:lnTo>
                  <a:pt x="3460" y="115"/>
                </a:lnTo>
                <a:lnTo>
                  <a:pt x="3467" y="115"/>
                </a:lnTo>
                <a:lnTo>
                  <a:pt x="3467" y="115"/>
                </a:lnTo>
                <a:lnTo>
                  <a:pt x="3475" y="115"/>
                </a:lnTo>
                <a:lnTo>
                  <a:pt x="3475" y="115"/>
                </a:lnTo>
                <a:lnTo>
                  <a:pt x="3475" y="115"/>
                </a:lnTo>
                <a:lnTo>
                  <a:pt x="3475" y="115"/>
                </a:lnTo>
                <a:lnTo>
                  <a:pt x="3483" y="115"/>
                </a:lnTo>
                <a:lnTo>
                  <a:pt x="3483" y="115"/>
                </a:lnTo>
                <a:lnTo>
                  <a:pt x="3490" y="115"/>
                </a:lnTo>
                <a:lnTo>
                  <a:pt x="3490" y="107"/>
                </a:lnTo>
                <a:lnTo>
                  <a:pt x="3498" y="107"/>
                </a:lnTo>
                <a:lnTo>
                  <a:pt x="3498" y="107"/>
                </a:lnTo>
                <a:lnTo>
                  <a:pt x="3498" y="107"/>
                </a:lnTo>
                <a:lnTo>
                  <a:pt x="3498" y="107"/>
                </a:lnTo>
                <a:lnTo>
                  <a:pt x="3506" y="107"/>
                </a:lnTo>
                <a:lnTo>
                  <a:pt x="3506" y="107"/>
                </a:lnTo>
                <a:lnTo>
                  <a:pt x="3513" y="107"/>
                </a:lnTo>
                <a:lnTo>
                  <a:pt x="3513" y="107"/>
                </a:lnTo>
                <a:lnTo>
                  <a:pt x="3521" y="107"/>
                </a:lnTo>
                <a:lnTo>
                  <a:pt x="3521" y="99"/>
                </a:lnTo>
                <a:lnTo>
                  <a:pt x="3521" y="99"/>
                </a:lnTo>
                <a:lnTo>
                  <a:pt x="3521" y="99"/>
                </a:lnTo>
                <a:lnTo>
                  <a:pt x="3529" y="99"/>
                </a:lnTo>
                <a:lnTo>
                  <a:pt x="3529" y="99"/>
                </a:lnTo>
                <a:lnTo>
                  <a:pt x="3536" y="99"/>
                </a:lnTo>
                <a:lnTo>
                  <a:pt x="3536" y="92"/>
                </a:lnTo>
                <a:lnTo>
                  <a:pt x="3544" y="92"/>
                </a:lnTo>
                <a:lnTo>
                  <a:pt x="3544" y="92"/>
                </a:lnTo>
                <a:lnTo>
                  <a:pt x="3552" y="92"/>
                </a:lnTo>
                <a:lnTo>
                  <a:pt x="3552" y="92"/>
                </a:lnTo>
                <a:lnTo>
                  <a:pt x="3552" y="92"/>
                </a:lnTo>
                <a:lnTo>
                  <a:pt x="3552" y="92"/>
                </a:lnTo>
                <a:lnTo>
                  <a:pt x="3559" y="92"/>
                </a:lnTo>
                <a:lnTo>
                  <a:pt x="3559" y="84"/>
                </a:lnTo>
                <a:lnTo>
                  <a:pt x="3567" y="84"/>
                </a:lnTo>
                <a:lnTo>
                  <a:pt x="3567" y="84"/>
                </a:lnTo>
                <a:lnTo>
                  <a:pt x="3575" y="84"/>
                </a:lnTo>
                <a:lnTo>
                  <a:pt x="3575" y="84"/>
                </a:lnTo>
                <a:lnTo>
                  <a:pt x="3575" y="84"/>
                </a:lnTo>
                <a:lnTo>
                  <a:pt x="3575" y="84"/>
                </a:lnTo>
                <a:lnTo>
                  <a:pt x="3582" y="84"/>
                </a:lnTo>
                <a:lnTo>
                  <a:pt x="3582" y="84"/>
                </a:lnTo>
                <a:lnTo>
                  <a:pt x="3590" y="84"/>
                </a:lnTo>
                <a:lnTo>
                  <a:pt x="3590" y="84"/>
                </a:lnTo>
                <a:lnTo>
                  <a:pt x="3598" y="84"/>
                </a:lnTo>
                <a:lnTo>
                  <a:pt x="3598" y="84"/>
                </a:lnTo>
                <a:lnTo>
                  <a:pt x="3598" y="84"/>
                </a:lnTo>
                <a:lnTo>
                  <a:pt x="3598" y="84"/>
                </a:lnTo>
                <a:lnTo>
                  <a:pt x="3606" y="84"/>
                </a:lnTo>
                <a:lnTo>
                  <a:pt x="3606" y="84"/>
                </a:lnTo>
                <a:lnTo>
                  <a:pt x="3613" y="84"/>
                </a:lnTo>
                <a:lnTo>
                  <a:pt x="3613" y="84"/>
                </a:lnTo>
                <a:lnTo>
                  <a:pt x="3621" y="84"/>
                </a:lnTo>
                <a:lnTo>
                  <a:pt x="3621" y="84"/>
                </a:lnTo>
                <a:lnTo>
                  <a:pt x="3621" y="84"/>
                </a:lnTo>
                <a:lnTo>
                  <a:pt x="3621" y="84"/>
                </a:lnTo>
                <a:lnTo>
                  <a:pt x="3629" y="84"/>
                </a:lnTo>
                <a:lnTo>
                  <a:pt x="3629" y="84"/>
                </a:lnTo>
                <a:lnTo>
                  <a:pt x="3636" y="84"/>
                </a:lnTo>
                <a:lnTo>
                  <a:pt x="3636" y="76"/>
                </a:lnTo>
                <a:lnTo>
                  <a:pt x="3644" y="76"/>
                </a:lnTo>
                <a:lnTo>
                  <a:pt x="3644" y="76"/>
                </a:lnTo>
                <a:lnTo>
                  <a:pt x="3652" y="76"/>
                </a:lnTo>
                <a:lnTo>
                  <a:pt x="3652" y="76"/>
                </a:lnTo>
                <a:lnTo>
                  <a:pt x="3652" y="76"/>
                </a:lnTo>
                <a:lnTo>
                  <a:pt x="3652" y="76"/>
                </a:lnTo>
                <a:lnTo>
                  <a:pt x="3659" y="76"/>
                </a:lnTo>
                <a:lnTo>
                  <a:pt x="3659" y="76"/>
                </a:lnTo>
                <a:lnTo>
                  <a:pt x="3667" y="76"/>
                </a:lnTo>
                <a:lnTo>
                  <a:pt x="3667" y="76"/>
                </a:lnTo>
                <a:lnTo>
                  <a:pt x="3675" y="76"/>
                </a:lnTo>
                <a:lnTo>
                  <a:pt x="3675" y="76"/>
                </a:lnTo>
                <a:lnTo>
                  <a:pt x="3675" y="76"/>
                </a:lnTo>
                <a:lnTo>
                  <a:pt x="3675" y="76"/>
                </a:lnTo>
                <a:lnTo>
                  <a:pt x="3682" y="76"/>
                </a:lnTo>
                <a:lnTo>
                  <a:pt x="3682" y="76"/>
                </a:lnTo>
                <a:lnTo>
                  <a:pt x="3690" y="76"/>
                </a:lnTo>
                <a:lnTo>
                  <a:pt x="3690" y="76"/>
                </a:lnTo>
                <a:lnTo>
                  <a:pt x="3698" y="76"/>
                </a:lnTo>
                <a:lnTo>
                  <a:pt x="3698" y="76"/>
                </a:lnTo>
                <a:lnTo>
                  <a:pt x="3698" y="76"/>
                </a:lnTo>
                <a:lnTo>
                  <a:pt x="3698" y="69"/>
                </a:lnTo>
                <a:lnTo>
                  <a:pt x="3705" y="69"/>
                </a:lnTo>
                <a:lnTo>
                  <a:pt x="3705" y="69"/>
                </a:lnTo>
                <a:lnTo>
                  <a:pt x="3713" y="69"/>
                </a:lnTo>
                <a:lnTo>
                  <a:pt x="3713" y="69"/>
                </a:lnTo>
                <a:lnTo>
                  <a:pt x="3721" y="69"/>
                </a:lnTo>
                <a:lnTo>
                  <a:pt x="3721" y="69"/>
                </a:lnTo>
                <a:lnTo>
                  <a:pt x="3728" y="69"/>
                </a:lnTo>
                <a:lnTo>
                  <a:pt x="3728" y="69"/>
                </a:lnTo>
                <a:lnTo>
                  <a:pt x="3728" y="69"/>
                </a:lnTo>
                <a:lnTo>
                  <a:pt x="3728" y="61"/>
                </a:lnTo>
                <a:lnTo>
                  <a:pt x="3736" y="61"/>
                </a:lnTo>
                <a:lnTo>
                  <a:pt x="3736" y="61"/>
                </a:lnTo>
                <a:lnTo>
                  <a:pt x="3744" y="61"/>
                </a:lnTo>
                <a:lnTo>
                  <a:pt x="3744" y="61"/>
                </a:lnTo>
                <a:lnTo>
                  <a:pt x="3751" y="61"/>
                </a:lnTo>
                <a:lnTo>
                  <a:pt x="3751" y="61"/>
                </a:lnTo>
                <a:lnTo>
                  <a:pt x="3751" y="61"/>
                </a:lnTo>
                <a:lnTo>
                  <a:pt x="3751" y="61"/>
                </a:lnTo>
                <a:lnTo>
                  <a:pt x="3759" y="61"/>
                </a:lnTo>
                <a:lnTo>
                  <a:pt x="3759" y="61"/>
                </a:lnTo>
                <a:lnTo>
                  <a:pt x="3767" y="61"/>
                </a:lnTo>
                <a:lnTo>
                  <a:pt x="3767" y="61"/>
                </a:lnTo>
                <a:lnTo>
                  <a:pt x="3774" y="61"/>
                </a:lnTo>
                <a:lnTo>
                  <a:pt x="3774" y="61"/>
                </a:lnTo>
                <a:lnTo>
                  <a:pt x="3774" y="61"/>
                </a:lnTo>
                <a:lnTo>
                  <a:pt x="3774" y="61"/>
                </a:lnTo>
                <a:lnTo>
                  <a:pt x="3782" y="61"/>
                </a:lnTo>
                <a:lnTo>
                  <a:pt x="3782" y="53"/>
                </a:lnTo>
                <a:lnTo>
                  <a:pt x="3790" y="53"/>
                </a:lnTo>
                <a:lnTo>
                  <a:pt x="3790" y="53"/>
                </a:lnTo>
                <a:lnTo>
                  <a:pt x="3797" y="53"/>
                </a:lnTo>
                <a:lnTo>
                  <a:pt x="3797" y="46"/>
                </a:lnTo>
                <a:lnTo>
                  <a:pt x="3797" y="46"/>
                </a:lnTo>
                <a:lnTo>
                  <a:pt x="3797" y="46"/>
                </a:lnTo>
                <a:lnTo>
                  <a:pt x="3805" y="46"/>
                </a:lnTo>
                <a:lnTo>
                  <a:pt x="3805" y="46"/>
                </a:lnTo>
                <a:lnTo>
                  <a:pt x="3813" y="46"/>
                </a:lnTo>
                <a:lnTo>
                  <a:pt x="3813" y="46"/>
                </a:lnTo>
                <a:lnTo>
                  <a:pt x="3820" y="46"/>
                </a:lnTo>
                <a:lnTo>
                  <a:pt x="3820" y="38"/>
                </a:lnTo>
                <a:lnTo>
                  <a:pt x="3828" y="38"/>
                </a:lnTo>
                <a:lnTo>
                  <a:pt x="3828" y="38"/>
                </a:lnTo>
                <a:lnTo>
                  <a:pt x="3828" y="38"/>
                </a:lnTo>
                <a:lnTo>
                  <a:pt x="3828" y="38"/>
                </a:lnTo>
                <a:lnTo>
                  <a:pt x="3836" y="38"/>
                </a:lnTo>
                <a:lnTo>
                  <a:pt x="3836" y="38"/>
                </a:lnTo>
                <a:lnTo>
                  <a:pt x="3843" y="38"/>
                </a:lnTo>
                <a:lnTo>
                  <a:pt x="3843" y="38"/>
                </a:lnTo>
                <a:lnTo>
                  <a:pt x="3851" y="38"/>
                </a:lnTo>
                <a:lnTo>
                  <a:pt x="3851" y="38"/>
                </a:lnTo>
                <a:lnTo>
                  <a:pt x="3851" y="38"/>
                </a:lnTo>
                <a:lnTo>
                  <a:pt x="3851" y="38"/>
                </a:lnTo>
                <a:lnTo>
                  <a:pt x="3859" y="38"/>
                </a:lnTo>
                <a:lnTo>
                  <a:pt x="3859" y="38"/>
                </a:lnTo>
                <a:lnTo>
                  <a:pt x="3866" y="38"/>
                </a:lnTo>
                <a:lnTo>
                  <a:pt x="3866" y="38"/>
                </a:lnTo>
                <a:lnTo>
                  <a:pt x="3874" y="38"/>
                </a:lnTo>
                <a:lnTo>
                  <a:pt x="3874" y="38"/>
                </a:lnTo>
                <a:lnTo>
                  <a:pt x="3874" y="38"/>
                </a:lnTo>
                <a:lnTo>
                  <a:pt x="3874" y="38"/>
                </a:lnTo>
                <a:lnTo>
                  <a:pt x="3882" y="38"/>
                </a:lnTo>
                <a:lnTo>
                  <a:pt x="3882" y="38"/>
                </a:lnTo>
                <a:lnTo>
                  <a:pt x="3889" y="38"/>
                </a:lnTo>
                <a:lnTo>
                  <a:pt x="3889" y="30"/>
                </a:lnTo>
                <a:lnTo>
                  <a:pt x="3897" y="30"/>
                </a:lnTo>
                <a:lnTo>
                  <a:pt x="3897" y="30"/>
                </a:lnTo>
                <a:lnTo>
                  <a:pt x="3905" y="30"/>
                </a:lnTo>
                <a:lnTo>
                  <a:pt x="3905" y="30"/>
                </a:lnTo>
                <a:lnTo>
                  <a:pt x="3905" y="30"/>
                </a:lnTo>
                <a:lnTo>
                  <a:pt x="3905" y="30"/>
                </a:lnTo>
                <a:lnTo>
                  <a:pt x="3912" y="30"/>
                </a:lnTo>
                <a:lnTo>
                  <a:pt x="3912" y="23"/>
                </a:lnTo>
                <a:lnTo>
                  <a:pt x="3920" y="23"/>
                </a:lnTo>
                <a:lnTo>
                  <a:pt x="3920" y="23"/>
                </a:lnTo>
                <a:lnTo>
                  <a:pt x="3928" y="23"/>
                </a:lnTo>
                <a:lnTo>
                  <a:pt x="3928" y="23"/>
                </a:lnTo>
                <a:lnTo>
                  <a:pt x="3928" y="23"/>
                </a:lnTo>
                <a:lnTo>
                  <a:pt x="3928" y="15"/>
                </a:lnTo>
                <a:lnTo>
                  <a:pt x="3935" y="15"/>
                </a:lnTo>
                <a:lnTo>
                  <a:pt x="3935" y="15"/>
                </a:lnTo>
                <a:lnTo>
                  <a:pt x="3943" y="15"/>
                </a:lnTo>
                <a:lnTo>
                  <a:pt x="3943" y="15"/>
                </a:lnTo>
                <a:lnTo>
                  <a:pt x="3951" y="15"/>
                </a:lnTo>
                <a:lnTo>
                  <a:pt x="3951" y="15"/>
                </a:lnTo>
                <a:lnTo>
                  <a:pt x="3951" y="15"/>
                </a:lnTo>
                <a:lnTo>
                  <a:pt x="3951" y="15"/>
                </a:lnTo>
                <a:lnTo>
                  <a:pt x="3958" y="15"/>
                </a:lnTo>
                <a:lnTo>
                  <a:pt x="3958" y="15"/>
                </a:lnTo>
                <a:lnTo>
                  <a:pt x="3966" y="15"/>
                </a:lnTo>
                <a:lnTo>
                  <a:pt x="3966" y="15"/>
                </a:lnTo>
                <a:lnTo>
                  <a:pt x="3974" y="15"/>
                </a:lnTo>
                <a:lnTo>
                  <a:pt x="3974" y="15"/>
                </a:lnTo>
                <a:lnTo>
                  <a:pt x="3974" y="15"/>
                </a:lnTo>
                <a:lnTo>
                  <a:pt x="3974" y="15"/>
                </a:lnTo>
                <a:lnTo>
                  <a:pt x="3981" y="15"/>
                </a:lnTo>
                <a:lnTo>
                  <a:pt x="3981" y="15"/>
                </a:lnTo>
                <a:lnTo>
                  <a:pt x="3989" y="15"/>
                </a:lnTo>
                <a:lnTo>
                  <a:pt x="3989" y="15"/>
                </a:lnTo>
                <a:lnTo>
                  <a:pt x="3997" y="15"/>
                </a:lnTo>
                <a:lnTo>
                  <a:pt x="3997" y="15"/>
                </a:lnTo>
                <a:lnTo>
                  <a:pt x="4004" y="15"/>
                </a:lnTo>
                <a:lnTo>
                  <a:pt x="4004" y="15"/>
                </a:lnTo>
                <a:lnTo>
                  <a:pt x="4004" y="15"/>
                </a:lnTo>
                <a:lnTo>
                  <a:pt x="4004" y="15"/>
                </a:lnTo>
                <a:lnTo>
                  <a:pt x="4012" y="15"/>
                </a:lnTo>
                <a:lnTo>
                  <a:pt x="4012" y="15"/>
                </a:lnTo>
                <a:lnTo>
                  <a:pt x="4020" y="15"/>
                </a:lnTo>
                <a:lnTo>
                  <a:pt x="4020" y="15"/>
                </a:lnTo>
                <a:lnTo>
                  <a:pt x="4027" y="15"/>
                </a:lnTo>
                <a:lnTo>
                  <a:pt x="4027" y="7"/>
                </a:lnTo>
                <a:lnTo>
                  <a:pt x="4035" y="7"/>
                </a:lnTo>
                <a:lnTo>
                  <a:pt x="4035" y="7"/>
                </a:lnTo>
                <a:lnTo>
                  <a:pt x="4043" y="7"/>
                </a:lnTo>
                <a:lnTo>
                  <a:pt x="4043" y="7"/>
                </a:lnTo>
                <a:lnTo>
                  <a:pt x="4050" y="7"/>
                </a:lnTo>
                <a:lnTo>
                  <a:pt x="4050" y="7"/>
                </a:lnTo>
                <a:lnTo>
                  <a:pt x="4050" y="7"/>
                </a:lnTo>
                <a:lnTo>
                  <a:pt x="4050" y="7"/>
                </a:lnTo>
                <a:lnTo>
                  <a:pt x="4058" y="7"/>
                </a:lnTo>
                <a:lnTo>
                  <a:pt x="4058" y="7"/>
                </a:lnTo>
                <a:lnTo>
                  <a:pt x="4066" y="7"/>
                </a:lnTo>
                <a:lnTo>
                  <a:pt x="4066" y="7"/>
                </a:lnTo>
                <a:lnTo>
                  <a:pt x="4073" y="7"/>
                </a:lnTo>
                <a:lnTo>
                  <a:pt x="4073" y="7"/>
                </a:lnTo>
                <a:lnTo>
                  <a:pt x="4081" y="7"/>
                </a:lnTo>
                <a:lnTo>
                  <a:pt x="4081" y="0"/>
                </a:lnTo>
                <a:lnTo>
                  <a:pt x="4081" y="0"/>
                </a:lnTo>
                <a:lnTo>
                  <a:pt x="4081" y="0"/>
                </a:lnTo>
              </a:path>
            </a:pathLst>
          </a:custGeom>
          <a:noFill/>
          <a:ln w="25400" cap="sq">
            <a:solidFill>
              <a:srgbClr val="0B0B45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9" name="Freeform 38"/>
          <p:cNvSpPr>
            <a:spLocks/>
          </p:cNvSpPr>
          <p:nvPr/>
        </p:nvSpPr>
        <p:spPr bwMode="auto">
          <a:xfrm>
            <a:off x="8294687" y="3551237"/>
            <a:ext cx="2033588" cy="790575"/>
          </a:xfrm>
          <a:custGeom>
            <a:avLst/>
            <a:gdLst>
              <a:gd name="T0" fmla="*/ 23 w 1281"/>
              <a:gd name="T1" fmla="*/ 490 h 498"/>
              <a:gd name="T2" fmla="*/ 46 w 1281"/>
              <a:gd name="T3" fmla="*/ 482 h 498"/>
              <a:gd name="T4" fmla="*/ 61 w 1281"/>
              <a:gd name="T5" fmla="*/ 482 h 498"/>
              <a:gd name="T6" fmla="*/ 84 w 1281"/>
              <a:gd name="T7" fmla="*/ 475 h 498"/>
              <a:gd name="T8" fmla="*/ 100 w 1281"/>
              <a:gd name="T9" fmla="*/ 467 h 498"/>
              <a:gd name="T10" fmla="*/ 123 w 1281"/>
              <a:gd name="T11" fmla="*/ 459 h 498"/>
              <a:gd name="T12" fmla="*/ 146 w 1281"/>
              <a:gd name="T13" fmla="*/ 452 h 498"/>
              <a:gd name="T14" fmla="*/ 169 w 1281"/>
              <a:gd name="T15" fmla="*/ 444 h 498"/>
              <a:gd name="T16" fmla="*/ 184 w 1281"/>
              <a:gd name="T17" fmla="*/ 429 h 498"/>
              <a:gd name="T18" fmla="*/ 207 w 1281"/>
              <a:gd name="T19" fmla="*/ 414 h 498"/>
              <a:gd name="T20" fmla="*/ 223 w 1281"/>
              <a:gd name="T21" fmla="*/ 406 h 498"/>
              <a:gd name="T22" fmla="*/ 246 w 1281"/>
              <a:gd name="T23" fmla="*/ 391 h 498"/>
              <a:gd name="T24" fmla="*/ 269 w 1281"/>
              <a:gd name="T25" fmla="*/ 383 h 498"/>
              <a:gd name="T26" fmla="*/ 292 w 1281"/>
              <a:gd name="T27" fmla="*/ 375 h 498"/>
              <a:gd name="T28" fmla="*/ 307 w 1281"/>
              <a:gd name="T29" fmla="*/ 375 h 498"/>
              <a:gd name="T30" fmla="*/ 330 w 1281"/>
              <a:gd name="T31" fmla="*/ 368 h 498"/>
              <a:gd name="T32" fmla="*/ 345 w 1281"/>
              <a:gd name="T33" fmla="*/ 360 h 498"/>
              <a:gd name="T34" fmla="*/ 376 w 1281"/>
              <a:gd name="T35" fmla="*/ 360 h 498"/>
              <a:gd name="T36" fmla="*/ 391 w 1281"/>
              <a:gd name="T37" fmla="*/ 360 h 498"/>
              <a:gd name="T38" fmla="*/ 414 w 1281"/>
              <a:gd name="T39" fmla="*/ 337 h 498"/>
              <a:gd name="T40" fmla="*/ 430 w 1281"/>
              <a:gd name="T41" fmla="*/ 337 h 498"/>
              <a:gd name="T42" fmla="*/ 453 w 1281"/>
              <a:gd name="T43" fmla="*/ 329 h 498"/>
              <a:gd name="T44" fmla="*/ 476 w 1281"/>
              <a:gd name="T45" fmla="*/ 329 h 498"/>
              <a:gd name="T46" fmla="*/ 499 w 1281"/>
              <a:gd name="T47" fmla="*/ 322 h 498"/>
              <a:gd name="T48" fmla="*/ 514 w 1281"/>
              <a:gd name="T49" fmla="*/ 322 h 498"/>
              <a:gd name="T50" fmla="*/ 537 w 1281"/>
              <a:gd name="T51" fmla="*/ 322 h 498"/>
              <a:gd name="T52" fmla="*/ 552 w 1281"/>
              <a:gd name="T53" fmla="*/ 314 h 498"/>
              <a:gd name="T54" fmla="*/ 575 w 1281"/>
              <a:gd name="T55" fmla="*/ 314 h 498"/>
              <a:gd name="T56" fmla="*/ 598 w 1281"/>
              <a:gd name="T57" fmla="*/ 299 h 498"/>
              <a:gd name="T58" fmla="*/ 621 w 1281"/>
              <a:gd name="T59" fmla="*/ 299 h 498"/>
              <a:gd name="T60" fmla="*/ 637 w 1281"/>
              <a:gd name="T61" fmla="*/ 299 h 498"/>
              <a:gd name="T62" fmla="*/ 660 w 1281"/>
              <a:gd name="T63" fmla="*/ 291 h 498"/>
              <a:gd name="T64" fmla="*/ 683 w 1281"/>
              <a:gd name="T65" fmla="*/ 291 h 498"/>
              <a:gd name="T66" fmla="*/ 706 w 1281"/>
              <a:gd name="T67" fmla="*/ 283 h 498"/>
              <a:gd name="T68" fmla="*/ 729 w 1281"/>
              <a:gd name="T69" fmla="*/ 283 h 498"/>
              <a:gd name="T70" fmla="*/ 752 w 1281"/>
              <a:gd name="T71" fmla="*/ 283 h 498"/>
              <a:gd name="T72" fmla="*/ 767 w 1281"/>
              <a:gd name="T73" fmla="*/ 276 h 498"/>
              <a:gd name="T74" fmla="*/ 790 w 1281"/>
              <a:gd name="T75" fmla="*/ 268 h 498"/>
              <a:gd name="T76" fmla="*/ 806 w 1281"/>
              <a:gd name="T77" fmla="*/ 260 h 498"/>
              <a:gd name="T78" fmla="*/ 829 w 1281"/>
              <a:gd name="T79" fmla="*/ 260 h 498"/>
              <a:gd name="T80" fmla="*/ 852 w 1281"/>
              <a:gd name="T81" fmla="*/ 253 h 498"/>
              <a:gd name="T82" fmla="*/ 875 w 1281"/>
              <a:gd name="T83" fmla="*/ 253 h 498"/>
              <a:gd name="T84" fmla="*/ 890 w 1281"/>
              <a:gd name="T85" fmla="*/ 245 h 498"/>
              <a:gd name="T86" fmla="*/ 913 w 1281"/>
              <a:gd name="T87" fmla="*/ 230 h 498"/>
              <a:gd name="T88" fmla="*/ 928 w 1281"/>
              <a:gd name="T89" fmla="*/ 230 h 498"/>
              <a:gd name="T90" fmla="*/ 951 w 1281"/>
              <a:gd name="T91" fmla="*/ 222 h 498"/>
              <a:gd name="T92" fmla="*/ 974 w 1281"/>
              <a:gd name="T93" fmla="*/ 222 h 498"/>
              <a:gd name="T94" fmla="*/ 997 w 1281"/>
              <a:gd name="T95" fmla="*/ 207 h 498"/>
              <a:gd name="T96" fmla="*/ 1013 w 1281"/>
              <a:gd name="T97" fmla="*/ 191 h 498"/>
              <a:gd name="T98" fmla="*/ 1036 w 1281"/>
              <a:gd name="T99" fmla="*/ 184 h 498"/>
              <a:gd name="T100" fmla="*/ 1051 w 1281"/>
              <a:gd name="T101" fmla="*/ 176 h 498"/>
              <a:gd name="T102" fmla="*/ 1082 w 1281"/>
              <a:gd name="T103" fmla="*/ 168 h 498"/>
              <a:gd name="T104" fmla="*/ 1097 w 1281"/>
              <a:gd name="T105" fmla="*/ 161 h 498"/>
              <a:gd name="T106" fmla="*/ 1120 w 1281"/>
              <a:gd name="T107" fmla="*/ 153 h 498"/>
              <a:gd name="T108" fmla="*/ 1135 w 1281"/>
              <a:gd name="T109" fmla="*/ 122 h 498"/>
              <a:gd name="T110" fmla="*/ 1158 w 1281"/>
              <a:gd name="T111" fmla="*/ 92 h 498"/>
              <a:gd name="T112" fmla="*/ 1181 w 1281"/>
              <a:gd name="T113" fmla="*/ 84 h 498"/>
              <a:gd name="T114" fmla="*/ 1204 w 1281"/>
              <a:gd name="T115" fmla="*/ 76 h 498"/>
              <a:gd name="T116" fmla="*/ 1220 w 1281"/>
              <a:gd name="T117" fmla="*/ 53 h 498"/>
              <a:gd name="T118" fmla="*/ 1243 w 1281"/>
              <a:gd name="T119" fmla="*/ 30 h 498"/>
              <a:gd name="T120" fmla="*/ 1258 w 1281"/>
              <a:gd name="T121" fmla="*/ 23 h 498"/>
              <a:gd name="T122" fmla="*/ 1281 w 1281"/>
              <a:gd name="T123" fmla="*/ 7 h 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81" h="498">
                <a:moveTo>
                  <a:pt x="0" y="498"/>
                </a:moveTo>
                <a:lnTo>
                  <a:pt x="8" y="498"/>
                </a:lnTo>
                <a:lnTo>
                  <a:pt x="8" y="498"/>
                </a:lnTo>
                <a:lnTo>
                  <a:pt x="15" y="498"/>
                </a:lnTo>
                <a:lnTo>
                  <a:pt x="15" y="498"/>
                </a:lnTo>
                <a:lnTo>
                  <a:pt x="23" y="498"/>
                </a:lnTo>
                <a:lnTo>
                  <a:pt x="23" y="490"/>
                </a:lnTo>
                <a:lnTo>
                  <a:pt x="23" y="490"/>
                </a:lnTo>
                <a:lnTo>
                  <a:pt x="23" y="490"/>
                </a:lnTo>
                <a:lnTo>
                  <a:pt x="31" y="490"/>
                </a:lnTo>
                <a:lnTo>
                  <a:pt x="31" y="490"/>
                </a:lnTo>
                <a:lnTo>
                  <a:pt x="38" y="490"/>
                </a:lnTo>
                <a:lnTo>
                  <a:pt x="38" y="482"/>
                </a:lnTo>
                <a:lnTo>
                  <a:pt x="46" y="482"/>
                </a:lnTo>
                <a:lnTo>
                  <a:pt x="46" y="482"/>
                </a:lnTo>
                <a:lnTo>
                  <a:pt x="46" y="482"/>
                </a:lnTo>
                <a:lnTo>
                  <a:pt x="46" y="482"/>
                </a:lnTo>
                <a:lnTo>
                  <a:pt x="54" y="482"/>
                </a:lnTo>
                <a:lnTo>
                  <a:pt x="54" y="482"/>
                </a:lnTo>
                <a:lnTo>
                  <a:pt x="61" y="482"/>
                </a:lnTo>
                <a:lnTo>
                  <a:pt x="61" y="482"/>
                </a:lnTo>
                <a:lnTo>
                  <a:pt x="69" y="482"/>
                </a:lnTo>
                <a:lnTo>
                  <a:pt x="69" y="482"/>
                </a:lnTo>
                <a:lnTo>
                  <a:pt x="69" y="482"/>
                </a:lnTo>
                <a:lnTo>
                  <a:pt x="69" y="475"/>
                </a:lnTo>
                <a:lnTo>
                  <a:pt x="77" y="475"/>
                </a:lnTo>
                <a:lnTo>
                  <a:pt x="77" y="475"/>
                </a:lnTo>
                <a:lnTo>
                  <a:pt x="84" y="475"/>
                </a:lnTo>
                <a:lnTo>
                  <a:pt x="84" y="475"/>
                </a:lnTo>
                <a:lnTo>
                  <a:pt x="92" y="475"/>
                </a:lnTo>
                <a:lnTo>
                  <a:pt x="92" y="467"/>
                </a:lnTo>
                <a:lnTo>
                  <a:pt x="100" y="467"/>
                </a:lnTo>
                <a:lnTo>
                  <a:pt x="100" y="467"/>
                </a:lnTo>
                <a:lnTo>
                  <a:pt x="100" y="467"/>
                </a:lnTo>
                <a:lnTo>
                  <a:pt x="100" y="467"/>
                </a:lnTo>
                <a:lnTo>
                  <a:pt x="107" y="467"/>
                </a:lnTo>
                <a:lnTo>
                  <a:pt x="107" y="459"/>
                </a:lnTo>
                <a:lnTo>
                  <a:pt x="115" y="459"/>
                </a:lnTo>
                <a:lnTo>
                  <a:pt x="115" y="459"/>
                </a:lnTo>
                <a:lnTo>
                  <a:pt x="123" y="459"/>
                </a:lnTo>
                <a:lnTo>
                  <a:pt x="123" y="459"/>
                </a:lnTo>
                <a:lnTo>
                  <a:pt x="123" y="459"/>
                </a:lnTo>
                <a:lnTo>
                  <a:pt x="123" y="452"/>
                </a:lnTo>
                <a:lnTo>
                  <a:pt x="130" y="452"/>
                </a:lnTo>
                <a:lnTo>
                  <a:pt x="130" y="452"/>
                </a:lnTo>
                <a:lnTo>
                  <a:pt x="138" y="452"/>
                </a:lnTo>
                <a:lnTo>
                  <a:pt x="138" y="452"/>
                </a:lnTo>
                <a:lnTo>
                  <a:pt x="146" y="452"/>
                </a:lnTo>
                <a:lnTo>
                  <a:pt x="146" y="452"/>
                </a:lnTo>
                <a:lnTo>
                  <a:pt x="146" y="452"/>
                </a:lnTo>
                <a:lnTo>
                  <a:pt x="146" y="452"/>
                </a:lnTo>
                <a:lnTo>
                  <a:pt x="154" y="452"/>
                </a:lnTo>
                <a:lnTo>
                  <a:pt x="154" y="444"/>
                </a:lnTo>
                <a:lnTo>
                  <a:pt x="161" y="444"/>
                </a:lnTo>
                <a:lnTo>
                  <a:pt x="161" y="444"/>
                </a:lnTo>
                <a:lnTo>
                  <a:pt x="169" y="444"/>
                </a:lnTo>
                <a:lnTo>
                  <a:pt x="169" y="444"/>
                </a:lnTo>
                <a:lnTo>
                  <a:pt x="169" y="444"/>
                </a:lnTo>
                <a:lnTo>
                  <a:pt x="169" y="436"/>
                </a:lnTo>
                <a:lnTo>
                  <a:pt x="177" y="436"/>
                </a:lnTo>
                <a:lnTo>
                  <a:pt x="177" y="436"/>
                </a:lnTo>
                <a:lnTo>
                  <a:pt x="184" y="436"/>
                </a:lnTo>
                <a:lnTo>
                  <a:pt x="184" y="429"/>
                </a:lnTo>
                <a:lnTo>
                  <a:pt x="192" y="429"/>
                </a:lnTo>
                <a:lnTo>
                  <a:pt x="192" y="429"/>
                </a:lnTo>
                <a:lnTo>
                  <a:pt x="200" y="429"/>
                </a:lnTo>
                <a:lnTo>
                  <a:pt x="200" y="429"/>
                </a:lnTo>
                <a:lnTo>
                  <a:pt x="200" y="429"/>
                </a:lnTo>
                <a:lnTo>
                  <a:pt x="200" y="414"/>
                </a:lnTo>
                <a:lnTo>
                  <a:pt x="207" y="414"/>
                </a:lnTo>
                <a:lnTo>
                  <a:pt x="207" y="414"/>
                </a:lnTo>
                <a:lnTo>
                  <a:pt x="215" y="414"/>
                </a:lnTo>
                <a:lnTo>
                  <a:pt x="215" y="406"/>
                </a:lnTo>
                <a:lnTo>
                  <a:pt x="223" y="406"/>
                </a:lnTo>
                <a:lnTo>
                  <a:pt x="223" y="406"/>
                </a:lnTo>
                <a:lnTo>
                  <a:pt x="223" y="406"/>
                </a:lnTo>
                <a:lnTo>
                  <a:pt x="223" y="406"/>
                </a:lnTo>
                <a:lnTo>
                  <a:pt x="230" y="406"/>
                </a:lnTo>
                <a:lnTo>
                  <a:pt x="230" y="406"/>
                </a:lnTo>
                <a:lnTo>
                  <a:pt x="238" y="406"/>
                </a:lnTo>
                <a:lnTo>
                  <a:pt x="238" y="406"/>
                </a:lnTo>
                <a:lnTo>
                  <a:pt x="246" y="406"/>
                </a:lnTo>
                <a:lnTo>
                  <a:pt x="246" y="391"/>
                </a:lnTo>
                <a:lnTo>
                  <a:pt x="246" y="391"/>
                </a:lnTo>
                <a:lnTo>
                  <a:pt x="246" y="391"/>
                </a:lnTo>
                <a:lnTo>
                  <a:pt x="253" y="391"/>
                </a:lnTo>
                <a:lnTo>
                  <a:pt x="253" y="391"/>
                </a:lnTo>
                <a:lnTo>
                  <a:pt x="261" y="391"/>
                </a:lnTo>
                <a:lnTo>
                  <a:pt x="261" y="383"/>
                </a:lnTo>
                <a:lnTo>
                  <a:pt x="269" y="383"/>
                </a:lnTo>
                <a:lnTo>
                  <a:pt x="269" y="383"/>
                </a:lnTo>
                <a:lnTo>
                  <a:pt x="276" y="383"/>
                </a:lnTo>
                <a:lnTo>
                  <a:pt x="276" y="383"/>
                </a:lnTo>
                <a:lnTo>
                  <a:pt x="276" y="383"/>
                </a:lnTo>
                <a:lnTo>
                  <a:pt x="276" y="375"/>
                </a:lnTo>
                <a:lnTo>
                  <a:pt x="284" y="375"/>
                </a:lnTo>
                <a:lnTo>
                  <a:pt x="284" y="375"/>
                </a:lnTo>
                <a:lnTo>
                  <a:pt x="292" y="375"/>
                </a:lnTo>
                <a:lnTo>
                  <a:pt x="292" y="375"/>
                </a:lnTo>
                <a:lnTo>
                  <a:pt x="299" y="375"/>
                </a:lnTo>
                <a:lnTo>
                  <a:pt x="299" y="375"/>
                </a:lnTo>
                <a:lnTo>
                  <a:pt x="299" y="375"/>
                </a:lnTo>
                <a:lnTo>
                  <a:pt x="299" y="375"/>
                </a:lnTo>
                <a:lnTo>
                  <a:pt x="307" y="375"/>
                </a:lnTo>
                <a:lnTo>
                  <a:pt x="307" y="375"/>
                </a:lnTo>
                <a:lnTo>
                  <a:pt x="315" y="375"/>
                </a:lnTo>
                <a:lnTo>
                  <a:pt x="315" y="375"/>
                </a:lnTo>
                <a:lnTo>
                  <a:pt x="322" y="375"/>
                </a:lnTo>
                <a:lnTo>
                  <a:pt x="322" y="375"/>
                </a:lnTo>
                <a:lnTo>
                  <a:pt x="322" y="375"/>
                </a:lnTo>
                <a:lnTo>
                  <a:pt x="322" y="368"/>
                </a:lnTo>
                <a:lnTo>
                  <a:pt x="330" y="368"/>
                </a:lnTo>
                <a:lnTo>
                  <a:pt x="330" y="360"/>
                </a:lnTo>
                <a:lnTo>
                  <a:pt x="338" y="360"/>
                </a:lnTo>
                <a:lnTo>
                  <a:pt x="338" y="360"/>
                </a:lnTo>
                <a:lnTo>
                  <a:pt x="345" y="360"/>
                </a:lnTo>
                <a:lnTo>
                  <a:pt x="345" y="360"/>
                </a:lnTo>
                <a:lnTo>
                  <a:pt x="345" y="360"/>
                </a:lnTo>
                <a:lnTo>
                  <a:pt x="345" y="360"/>
                </a:lnTo>
                <a:lnTo>
                  <a:pt x="353" y="360"/>
                </a:lnTo>
                <a:lnTo>
                  <a:pt x="353" y="360"/>
                </a:lnTo>
                <a:lnTo>
                  <a:pt x="361" y="360"/>
                </a:lnTo>
                <a:lnTo>
                  <a:pt x="361" y="360"/>
                </a:lnTo>
                <a:lnTo>
                  <a:pt x="368" y="360"/>
                </a:lnTo>
                <a:lnTo>
                  <a:pt x="368" y="360"/>
                </a:lnTo>
                <a:lnTo>
                  <a:pt x="376" y="360"/>
                </a:lnTo>
                <a:lnTo>
                  <a:pt x="376" y="360"/>
                </a:lnTo>
                <a:lnTo>
                  <a:pt x="376" y="360"/>
                </a:lnTo>
                <a:lnTo>
                  <a:pt x="376" y="360"/>
                </a:lnTo>
                <a:lnTo>
                  <a:pt x="384" y="360"/>
                </a:lnTo>
                <a:lnTo>
                  <a:pt x="384" y="360"/>
                </a:lnTo>
                <a:lnTo>
                  <a:pt x="391" y="360"/>
                </a:lnTo>
                <a:lnTo>
                  <a:pt x="391" y="360"/>
                </a:lnTo>
                <a:lnTo>
                  <a:pt x="399" y="360"/>
                </a:lnTo>
                <a:lnTo>
                  <a:pt x="399" y="352"/>
                </a:lnTo>
                <a:lnTo>
                  <a:pt x="399" y="352"/>
                </a:lnTo>
                <a:lnTo>
                  <a:pt x="399" y="352"/>
                </a:lnTo>
                <a:lnTo>
                  <a:pt x="407" y="352"/>
                </a:lnTo>
                <a:lnTo>
                  <a:pt x="407" y="337"/>
                </a:lnTo>
                <a:lnTo>
                  <a:pt x="414" y="337"/>
                </a:lnTo>
                <a:lnTo>
                  <a:pt x="414" y="337"/>
                </a:lnTo>
                <a:lnTo>
                  <a:pt x="422" y="337"/>
                </a:lnTo>
                <a:lnTo>
                  <a:pt x="422" y="337"/>
                </a:lnTo>
                <a:lnTo>
                  <a:pt x="422" y="337"/>
                </a:lnTo>
                <a:lnTo>
                  <a:pt x="422" y="337"/>
                </a:lnTo>
                <a:lnTo>
                  <a:pt x="430" y="337"/>
                </a:lnTo>
                <a:lnTo>
                  <a:pt x="430" y="337"/>
                </a:lnTo>
                <a:lnTo>
                  <a:pt x="437" y="337"/>
                </a:lnTo>
                <a:lnTo>
                  <a:pt x="437" y="337"/>
                </a:lnTo>
                <a:lnTo>
                  <a:pt x="445" y="337"/>
                </a:lnTo>
                <a:lnTo>
                  <a:pt x="445" y="329"/>
                </a:lnTo>
                <a:lnTo>
                  <a:pt x="453" y="329"/>
                </a:lnTo>
                <a:lnTo>
                  <a:pt x="453" y="329"/>
                </a:lnTo>
                <a:lnTo>
                  <a:pt x="453" y="329"/>
                </a:lnTo>
                <a:lnTo>
                  <a:pt x="453" y="329"/>
                </a:lnTo>
                <a:lnTo>
                  <a:pt x="460" y="329"/>
                </a:lnTo>
                <a:lnTo>
                  <a:pt x="460" y="329"/>
                </a:lnTo>
                <a:lnTo>
                  <a:pt x="468" y="329"/>
                </a:lnTo>
                <a:lnTo>
                  <a:pt x="468" y="329"/>
                </a:lnTo>
                <a:lnTo>
                  <a:pt x="476" y="329"/>
                </a:lnTo>
                <a:lnTo>
                  <a:pt x="476" y="329"/>
                </a:lnTo>
                <a:lnTo>
                  <a:pt x="476" y="329"/>
                </a:lnTo>
                <a:lnTo>
                  <a:pt x="476" y="329"/>
                </a:lnTo>
                <a:lnTo>
                  <a:pt x="483" y="329"/>
                </a:lnTo>
                <a:lnTo>
                  <a:pt x="483" y="322"/>
                </a:lnTo>
                <a:lnTo>
                  <a:pt x="491" y="322"/>
                </a:lnTo>
                <a:lnTo>
                  <a:pt x="491" y="322"/>
                </a:lnTo>
                <a:lnTo>
                  <a:pt x="499" y="322"/>
                </a:lnTo>
                <a:lnTo>
                  <a:pt x="499" y="322"/>
                </a:lnTo>
                <a:lnTo>
                  <a:pt x="499" y="322"/>
                </a:lnTo>
                <a:lnTo>
                  <a:pt x="499" y="322"/>
                </a:lnTo>
                <a:lnTo>
                  <a:pt x="506" y="322"/>
                </a:lnTo>
                <a:lnTo>
                  <a:pt x="506" y="322"/>
                </a:lnTo>
                <a:lnTo>
                  <a:pt x="514" y="322"/>
                </a:lnTo>
                <a:lnTo>
                  <a:pt x="514" y="322"/>
                </a:lnTo>
                <a:lnTo>
                  <a:pt x="522" y="322"/>
                </a:lnTo>
                <a:lnTo>
                  <a:pt x="522" y="322"/>
                </a:lnTo>
                <a:lnTo>
                  <a:pt x="522" y="322"/>
                </a:lnTo>
                <a:lnTo>
                  <a:pt x="522" y="322"/>
                </a:lnTo>
                <a:lnTo>
                  <a:pt x="529" y="322"/>
                </a:lnTo>
                <a:lnTo>
                  <a:pt x="529" y="322"/>
                </a:lnTo>
                <a:lnTo>
                  <a:pt x="537" y="322"/>
                </a:lnTo>
                <a:lnTo>
                  <a:pt x="537" y="322"/>
                </a:lnTo>
                <a:lnTo>
                  <a:pt x="545" y="322"/>
                </a:lnTo>
                <a:lnTo>
                  <a:pt x="545" y="314"/>
                </a:lnTo>
                <a:lnTo>
                  <a:pt x="552" y="314"/>
                </a:lnTo>
                <a:lnTo>
                  <a:pt x="552" y="314"/>
                </a:lnTo>
                <a:lnTo>
                  <a:pt x="552" y="314"/>
                </a:lnTo>
                <a:lnTo>
                  <a:pt x="552" y="314"/>
                </a:lnTo>
                <a:lnTo>
                  <a:pt x="560" y="314"/>
                </a:lnTo>
                <a:lnTo>
                  <a:pt x="560" y="314"/>
                </a:lnTo>
                <a:lnTo>
                  <a:pt x="568" y="314"/>
                </a:lnTo>
                <a:lnTo>
                  <a:pt x="568" y="314"/>
                </a:lnTo>
                <a:lnTo>
                  <a:pt x="575" y="314"/>
                </a:lnTo>
                <a:lnTo>
                  <a:pt x="575" y="314"/>
                </a:lnTo>
                <a:lnTo>
                  <a:pt x="575" y="314"/>
                </a:lnTo>
                <a:lnTo>
                  <a:pt x="575" y="306"/>
                </a:lnTo>
                <a:lnTo>
                  <a:pt x="583" y="306"/>
                </a:lnTo>
                <a:lnTo>
                  <a:pt x="583" y="306"/>
                </a:lnTo>
                <a:lnTo>
                  <a:pt x="591" y="306"/>
                </a:lnTo>
                <a:lnTo>
                  <a:pt x="591" y="299"/>
                </a:lnTo>
                <a:lnTo>
                  <a:pt x="598" y="299"/>
                </a:lnTo>
                <a:lnTo>
                  <a:pt x="598" y="299"/>
                </a:lnTo>
                <a:lnTo>
                  <a:pt x="598" y="299"/>
                </a:lnTo>
                <a:lnTo>
                  <a:pt x="598" y="299"/>
                </a:lnTo>
                <a:lnTo>
                  <a:pt x="606" y="299"/>
                </a:lnTo>
                <a:lnTo>
                  <a:pt x="606" y="299"/>
                </a:lnTo>
                <a:lnTo>
                  <a:pt x="614" y="299"/>
                </a:lnTo>
                <a:lnTo>
                  <a:pt x="614" y="299"/>
                </a:lnTo>
                <a:lnTo>
                  <a:pt x="621" y="299"/>
                </a:lnTo>
                <a:lnTo>
                  <a:pt x="621" y="299"/>
                </a:lnTo>
                <a:lnTo>
                  <a:pt x="629" y="299"/>
                </a:lnTo>
                <a:lnTo>
                  <a:pt x="629" y="299"/>
                </a:lnTo>
                <a:lnTo>
                  <a:pt x="629" y="299"/>
                </a:lnTo>
                <a:lnTo>
                  <a:pt x="629" y="299"/>
                </a:lnTo>
                <a:lnTo>
                  <a:pt x="637" y="299"/>
                </a:lnTo>
                <a:lnTo>
                  <a:pt x="637" y="299"/>
                </a:lnTo>
                <a:lnTo>
                  <a:pt x="644" y="299"/>
                </a:lnTo>
                <a:lnTo>
                  <a:pt x="644" y="299"/>
                </a:lnTo>
                <a:lnTo>
                  <a:pt x="652" y="299"/>
                </a:lnTo>
                <a:lnTo>
                  <a:pt x="652" y="299"/>
                </a:lnTo>
                <a:lnTo>
                  <a:pt x="652" y="299"/>
                </a:lnTo>
                <a:lnTo>
                  <a:pt x="652" y="291"/>
                </a:lnTo>
                <a:lnTo>
                  <a:pt x="660" y="291"/>
                </a:lnTo>
                <a:lnTo>
                  <a:pt x="660" y="291"/>
                </a:lnTo>
                <a:lnTo>
                  <a:pt x="667" y="291"/>
                </a:lnTo>
                <a:lnTo>
                  <a:pt x="667" y="291"/>
                </a:lnTo>
                <a:lnTo>
                  <a:pt x="675" y="291"/>
                </a:lnTo>
                <a:lnTo>
                  <a:pt x="675" y="291"/>
                </a:lnTo>
                <a:lnTo>
                  <a:pt x="683" y="291"/>
                </a:lnTo>
                <a:lnTo>
                  <a:pt x="683" y="291"/>
                </a:lnTo>
                <a:lnTo>
                  <a:pt x="690" y="291"/>
                </a:lnTo>
                <a:lnTo>
                  <a:pt x="690" y="291"/>
                </a:lnTo>
                <a:lnTo>
                  <a:pt x="698" y="291"/>
                </a:lnTo>
                <a:lnTo>
                  <a:pt x="698" y="291"/>
                </a:lnTo>
                <a:lnTo>
                  <a:pt x="698" y="291"/>
                </a:lnTo>
                <a:lnTo>
                  <a:pt x="698" y="283"/>
                </a:lnTo>
                <a:lnTo>
                  <a:pt x="706" y="283"/>
                </a:lnTo>
                <a:lnTo>
                  <a:pt x="706" y="283"/>
                </a:lnTo>
                <a:lnTo>
                  <a:pt x="713" y="283"/>
                </a:lnTo>
                <a:lnTo>
                  <a:pt x="713" y="283"/>
                </a:lnTo>
                <a:lnTo>
                  <a:pt x="721" y="283"/>
                </a:lnTo>
                <a:lnTo>
                  <a:pt x="721" y="283"/>
                </a:lnTo>
                <a:lnTo>
                  <a:pt x="729" y="283"/>
                </a:lnTo>
                <a:lnTo>
                  <a:pt x="729" y="283"/>
                </a:lnTo>
                <a:lnTo>
                  <a:pt x="729" y="283"/>
                </a:lnTo>
                <a:lnTo>
                  <a:pt x="729" y="283"/>
                </a:lnTo>
                <a:lnTo>
                  <a:pt x="736" y="283"/>
                </a:lnTo>
                <a:lnTo>
                  <a:pt x="736" y="283"/>
                </a:lnTo>
                <a:lnTo>
                  <a:pt x="744" y="283"/>
                </a:lnTo>
                <a:lnTo>
                  <a:pt x="744" y="283"/>
                </a:lnTo>
                <a:lnTo>
                  <a:pt x="752" y="283"/>
                </a:lnTo>
                <a:lnTo>
                  <a:pt x="752" y="283"/>
                </a:lnTo>
                <a:lnTo>
                  <a:pt x="752" y="283"/>
                </a:lnTo>
                <a:lnTo>
                  <a:pt x="752" y="283"/>
                </a:lnTo>
                <a:lnTo>
                  <a:pt x="759" y="283"/>
                </a:lnTo>
                <a:lnTo>
                  <a:pt x="759" y="283"/>
                </a:lnTo>
                <a:lnTo>
                  <a:pt x="767" y="283"/>
                </a:lnTo>
                <a:lnTo>
                  <a:pt x="767" y="276"/>
                </a:lnTo>
                <a:lnTo>
                  <a:pt x="775" y="276"/>
                </a:lnTo>
                <a:lnTo>
                  <a:pt x="775" y="276"/>
                </a:lnTo>
                <a:lnTo>
                  <a:pt x="775" y="276"/>
                </a:lnTo>
                <a:lnTo>
                  <a:pt x="775" y="268"/>
                </a:lnTo>
                <a:lnTo>
                  <a:pt x="783" y="268"/>
                </a:lnTo>
                <a:lnTo>
                  <a:pt x="783" y="268"/>
                </a:lnTo>
                <a:lnTo>
                  <a:pt x="790" y="268"/>
                </a:lnTo>
                <a:lnTo>
                  <a:pt x="790" y="268"/>
                </a:lnTo>
                <a:lnTo>
                  <a:pt x="798" y="268"/>
                </a:lnTo>
                <a:lnTo>
                  <a:pt x="798" y="268"/>
                </a:lnTo>
                <a:lnTo>
                  <a:pt x="806" y="268"/>
                </a:lnTo>
                <a:lnTo>
                  <a:pt x="806" y="260"/>
                </a:lnTo>
                <a:lnTo>
                  <a:pt x="806" y="260"/>
                </a:lnTo>
                <a:lnTo>
                  <a:pt x="806" y="260"/>
                </a:lnTo>
                <a:lnTo>
                  <a:pt x="813" y="260"/>
                </a:lnTo>
                <a:lnTo>
                  <a:pt x="813" y="260"/>
                </a:lnTo>
                <a:lnTo>
                  <a:pt x="821" y="260"/>
                </a:lnTo>
                <a:lnTo>
                  <a:pt x="821" y="260"/>
                </a:lnTo>
                <a:lnTo>
                  <a:pt x="829" y="260"/>
                </a:lnTo>
                <a:lnTo>
                  <a:pt x="829" y="260"/>
                </a:lnTo>
                <a:lnTo>
                  <a:pt x="829" y="260"/>
                </a:lnTo>
                <a:lnTo>
                  <a:pt x="829" y="260"/>
                </a:lnTo>
                <a:lnTo>
                  <a:pt x="836" y="260"/>
                </a:lnTo>
                <a:lnTo>
                  <a:pt x="836" y="260"/>
                </a:lnTo>
                <a:lnTo>
                  <a:pt x="844" y="260"/>
                </a:lnTo>
                <a:lnTo>
                  <a:pt x="844" y="253"/>
                </a:lnTo>
                <a:lnTo>
                  <a:pt x="852" y="253"/>
                </a:lnTo>
                <a:lnTo>
                  <a:pt x="852" y="253"/>
                </a:lnTo>
                <a:lnTo>
                  <a:pt x="852" y="253"/>
                </a:lnTo>
                <a:lnTo>
                  <a:pt x="852" y="253"/>
                </a:lnTo>
                <a:lnTo>
                  <a:pt x="859" y="253"/>
                </a:lnTo>
                <a:lnTo>
                  <a:pt x="859" y="253"/>
                </a:lnTo>
                <a:lnTo>
                  <a:pt x="867" y="253"/>
                </a:lnTo>
                <a:lnTo>
                  <a:pt x="867" y="253"/>
                </a:lnTo>
                <a:lnTo>
                  <a:pt x="875" y="253"/>
                </a:lnTo>
                <a:lnTo>
                  <a:pt x="875" y="253"/>
                </a:lnTo>
                <a:lnTo>
                  <a:pt x="875" y="253"/>
                </a:lnTo>
                <a:lnTo>
                  <a:pt x="875" y="253"/>
                </a:lnTo>
                <a:lnTo>
                  <a:pt x="882" y="253"/>
                </a:lnTo>
                <a:lnTo>
                  <a:pt x="882" y="253"/>
                </a:lnTo>
                <a:lnTo>
                  <a:pt x="890" y="253"/>
                </a:lnTo>
                <a:lnTo>
                  <a:pt x="890" y="245"/>
                </a:lnTo>
                <a:lnTo>
                  <a:pt x="898" y="245"/>
                </a:lnTo>
                <a:lnTo>
                  <a:pt x="898" y="245"/>
                </a:lnTo>
                <a:lnTo>
                  <a:pt x="905" y="245"/>
                </a:lnTo>
                <a:lnTo>
                  <a:pt x="905" y="230"/>
                </a:lnTo>
                <a:lnTo>
                  <a:pt x="905" y="230"/>
                </a:lnTo>
                <a:lnTo>
                  <a:pt x="905" y="230"/>
                </a:lnTo>
                <a:lnTo>
                  <a:pt x="913" y="230"/>
                </a:lnTo>
                <a:lnTo>
                  <a:pt x="913" y="230"/>
                </a:lnTo>
                <a:lnTo>
                  <a:pt x="921" y="230"/>
                </a:lnTo>
                <a:lnTo>
                  <a:pt x="921" y="230"/>
                </a:lnTo>
                <a:lnTo>
                  <a:pt x="928" y="230"/>
                </a:lnTo>
                <a:lnTo>
                  <a:pt x="928" y="230"/>
                </a:lnTo>
                <a:lnTo>
                  <a:pt x="928" y="230"/>
                </a:lnTo>
                <a:lnTo>
                  <a:pt x="928" y="230"/>
                </a:lnTo>
                <a:lnTo>
                  <a:pt x="936" y="230"/>
                </a:lnTo>
                <a:lnTo>
                  <a:pt x="936" y="230"/>
                </a:lnTo>
                <a:lnTo>
                  <a:pt x="944" y="230"/>
                </a:lnTo>
                <a:lnTo>
                  <a:pt x="944" y="222"/>
                </a:lnTo>
                <a:lnTo>
                  <a:pt x="951" y="222"/>
                </a:lnTo>
                <a:lnTo>
                  <a:pt x="951" y="222"/>
                </a:lnTo>
                <a:lnTo>
                  <a:pt x="951" y="222"/>
                </a:lnTo>
                <a:lnTo>
                  <a:pt x="951" y="222"/>
                </a:lnTo>
                <a:lnTo>
                  <a:pt x="959" y="222"/>
                </a:lnTo>
                <a:lnTo>
                  <a:pt x="959" y="222"/>
                </a:lnTo>
                <a:lnTo>
                  <a:pt x="967" y="222"/>
                </a:lnTo>
                <a:lnTo>
                  <a:pt x="967" y="222"/>
                </a:lnTo>
                <a:lnTo>
                  <a:pt x="974" y="222"/>
                </a:lnTo>
                <a:lnTo>
                  <a:pt x="974" y="222"/>
                </a:lnTo>
                <a:lnTo>
                  <a:pt x="974" y="222"/>
                </a:lnTo>
                <a:lnTo>
                  <a:pt x="974" y="222"/>
                </a:lnTo>
                <a:lnTo>
                  <a:pt x="982" y="222"/>
                </a:lnTo>
                <a:lnTo>
                  <a:pt x="982" y="207"/>
                </a:lnTo>
                <a:lnTo>
                  <a:pt x="990" y="207"/>
                </a:lnTo>
                <a:lnTo>
                  <a:pt x="990" y="207"/>
                </a:lnTo>
                <a:lnTo>
                  <a:pt x="997" y="207"/>
                </a:lnTo>
                <a:lnTo>
                  <a:pt x="997" y="199"/>
                </a:lnTo>
                <a:lnTo>
                  <a:pt x="1005" y="199"/>
                </a:lnTo>
                <a:lnTo>
                  <a:pt x="1005" y="199"/>
                </a:lnTo>
                <a:lnTo>
                  <a:pt x="1005" y="199"/>
                </a:lnTo>
                <a:lnTo>
                  <a:pt x="1005" y="199"/>
                </a:lnTo>
                <a:lnTo>
                  <a:pt x="1013" y="199"/>
                </a:lnTo>
                <a:lnTo>
                  <a:pt x="1013" y="191"/>
                </a:lnTo>
                <a:lnTo>
                  <a:pt x="1020" y="191"/>
                </a:lnTo>
                <a:lnTo>
                  <a:pt x="1020" y="191"/>
                </a:lnTo>
                <a:lnTo>
                  <a:pt x="1028" y="191"/>
                </a:lnTo>
                <a:lnTo>
                  <a:pt x="1028" y="191"/>
                </a:lnTo>
                <a:lnTo>
                  <a:pt x="1028" y="191"/>
                </a:lnTo>
                <a:lnTo>
                  <a:pt x="1028" y="184"/>
                </a:lnTo>
                <a:lnTo>
                  <a:pt x="1036" y="184"/>
                </a:lnTo>
                <a:lnTo>
                  <a:pt x="1036" y="184"/>
                </a:lnTo>
                <a:lnTo>
                  <a:pt x="1043" y="184"/>
                </a:lnTo>
                <a:lnTo>
                  <a:pt x="1043" y="184"/>
                </a:lnTo>
                <a:lnTo>
                  <a:pt x="1051" y="184"/>
                </a:lnTo>
                <a:lnTo>
                  <a:pt x="1051" y="184"/>
                </a:lnTo>
                <a:lnTo>
                  <a:pt x="1051" y="184"/>
                </a:lnTo>
                <a:lnTo>
                  <a:pt x="1051" y="176"/>
                </a:lnTo>
                <a:lnTo>
                  <a:pt x="1059" y="176"/>
                </a:lnTo>
                <a:lnTo>
                  <a:pt x="1059" y="176"/>
                </a:lnTo>
                <a:lnTo>
                  <a:pt x="1066" y="176"/>
                </a:lnTo>
                <a:lnTo>
                  <a:pt x="1066" y="176"/>
                </a:lnTo>
                <a:lnTo>
                  <a:pt x="1074" y="176"/>
                </a:lnTo>
                <a:lnTo>
                  <a:pt x="1074" y="168"/>
                </a:lnTo>
                <a:lnTo>
                  <a:pt x="1082" y="168"/>
                </a:lnTo>
                <a:lnTo>
                  <a:pt x="1082" y="168"/>
                </a:lnTo>
                <a:lnTo>
                  <a:pt x="1082" y="168"/>
                </a:lnTo>
                <a:lnTo>
                  <a:pt x="1082" y="168"/>
                </a:lnTo>
                <a:lnTo>
                  <a:pt x="1089" y="168"/>
                </a:lnTo>
                <a:lnTo>
                  <a:pt x="1089" y="161"/>
                </a:lnTo>
                <a:lnTo>
                  <a:pt x="1097" y="161"/>
                </a:lnTo>
                <a:lnTo>
                  <a:pt x="1097" y="161"/>
                </a:lnTo>
                <a:lnTo>
                  <a:pt x="1105" y="161"/>
                </a:lnTo>
                <a:lnTo>
                  <a:pt x="1105" y="153"/>
                </a:lnTo>
                <a:lnTo>
                  <a:pt x="1105" y="153"/>
                </a:lnTo>
                <a:lnTo>
                  <a:pt x="1105" y="153"/>
                </a:lnTo>
                <a:lnTo>
                  <a:pt x="1112" y="153"/>
                </a:lnTo>
                <a:lnTo>
                  <a:pt x="1112" y="153"/>
                </a:lnTo>
                <a:lnTo>
                  <a:pt x="1120" y="153"/>
                </a:lnTo>
                <a:lnTo>
                  <a:pt x="1120" y="138"/>
                </a:lnTo>
                <a:lnTo>
                  <a:pt x="1128" y="138"/>
                </a:lnTo>
                <a:lnTo>
                  <a:pt x="1128" y="138"/>
                </a:lnTo>
                <a:lnTo>
                  <a:pt x="1128" y="138"/>
                </a:lnTo>
                <a:lnTo>
                  <a:pt x="1128" y="138"/>
                </a:lnTo>
                <a:lnTo>
                  <a:pt x="1135" y="138"/>
                </a:lnTo>
                <a:lnTo>
                  <a:pt x="1135" y="122"/>
                </a:lnTo>
                <a:lnTo>
                  <a:pt x="1143" y="122"/>
                </a:lnTo>
                <a:lnTo>
                  <a:pt x="1143" y="115"/>
                </a:lnTo>
                <a:lnTo>
                  <a:pt x="1151" y="115"/>
                </a:lnTo>
                <a:lnTo>
                  <a:pt x="1151" y="92"/>
                </a:lnTo>
                <a:lnTo>
                  <a:pt x="1151" y="92"/>
                </a:lnTo>
                <a:lnTo>
                  <a:pt x="1151" y="92"/>
                </a:lnTo>
                <a:lnTo>
                  <a:pt x="1158" y="92"/>
                </a:lnTo>
                <a:lnTo>
                  <a:pt x="1158" y="92"/>
                </a:lnTo>
                <a:lnTo>
                  <a:pt x="1166" y="92"/>
                </a:lnTo>
                <a:lnTo>
                  <a:pt x="1166" y="92"/>
                </a:lnTo>
                <a:lnTo>
                  <a:pt x="1174" y="92"/>
                </a:lnTo>
                <a:lnTo>
                  <a:pt x="1174" y="84"/>
                </a:lnTo>
                <a:lnTo>
                  <a:pt x="1181" y="84"/>
                </a:lnTo>
                <a:lnTo>
                  <a:pt x="1181" y="84"/>
                </a:lnTo>
                <a:lnTo>
                  <a:pt x="1181" y="84"/>
                </a:lnTo>
                <a:lnTo>
                  <a:pt x="1181" y="84"/>
                </a:lnTo>
                <a:lnTo>
                  <a:pt x="1189" y="84"/>
                </a:lnTo>
                <a:lnTo>
                  <a:pt x="1189" y="76"/>
                </a:lnTo>
                <a:lnTo>
                  <a:pt x="1197" y="76"/>
                </a:lnTo>
                <a:lnTo>
                  <a:pt x="1197" y="76"/>
                </a:lnTo>
                <a:lnTo>
                  <a:pt x="1204" y="76"/>
                </a:lnTo>
                <a:lnTo>
                  <a:pt x="1204" y="76"/>
                </a:lnTo>
                <a:lnTo>
                  <a:pt x="1204" y="76"/>
                </a:lnTo>
                <a:lnTo>
                  <a:pt x="1204" y="69"/>
                </a:lnTo>
                <a:lnTo>
                  <a:pt x="1212" y="69"/>
                </a:lnTo>
                <a:lnTo>
                  <a:pt x="1212" y="53"/>
                </a:lnTo>
                <a:lnTo>
                  <a:pt x="1220" y="53"/>
                </a:lnTo>
                <a:lnTo>
                  <a:pt x="1220" y="53"/>
                </a:lnTo>
                <a:lnTo>
                  <a:pt x="1227" y="53"/>
                </a:lnTo>
                <a:lnTo>
                  <a:pt x="1227" y="53"/>
                </a:lnTo>
                <a:lnTo>
                  <a:pt x="1227" y="53"/>
                </a:lnTo>
                <a:lnTo>
                  <a:pt x="1227" y="38"/>
                </a:lnTo>
                <a:lnTo>
                  <a:pt x="1235" y="38"/>
                </a:lnTo>
                <a:lnTo>
                  <a:pt x="1235" y="30"/>
                </a:lnTo>
                <a:lnTo>
                  <a:pt x="1243" y="30"/>
                </a:lnTo>
                <a:lnTo>
                  <a:pt x="1243" y="30"/>
                </a:lnTo>
                <a:lnTo>
                  <a:pt x="1250" y="30"/>
                </a:lnTo>
                <a:lnTo>
                  <a:pt x="1250" y="23"/>
                </a:lnTo>
                <a:lnTo>
                  <a:pt x="1258" y="23"/>
                </a:lnTo>
                <a:lnTo>
                  <a:pt x="1258" y="23"/>
                </a:lnTo>
                <a:lnTo>
                  <a:pt x="1258" y="23"/>
                </a:lnTo>
                <a:lnTo>
                  <a:pt x="1258" y="23"/>
                </a:lnTo>
                <a:lnTo>
                  <a:pt x="1266" y="23"/>
                </a:lnTo>
                <a:lnTo>
                  <a:pt x="1266" y="15"/>
                </a:lnTo>
                <a:lnTo>
                  <a:pt x="1273" y="15"/>
                </a:lnTo>
                <a:lnTo>
                  <a:pt x="1273" y="7"/>
                </a:lnTo>
                <a:lnTo>
                  <a:pt x="1281" y="7"/>
                </a:lnTo>
                <a:lnTo>
                  <a:pt x="1281" y="7"/>
                </a:lnTo>
                <a:lnTo>
                  <a:pt x="1281" y="7"/>
                </a:lnTo>
                <a:lnTo>
                  <a:pt x="1281" y="0"/>
                </a:lnTo>
              </a:path>
            </a:pathLst>
          </a:custGeom>
          <a:noFill/>
          <a:ln w="25400" cap="sq">
            <a:solidFill>
              <a:srgbClr val="0B0B45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0" name="Rectangle 39"/>
          <p:cNvSpPr>
            <a:spLocks noChangeArrowheads="1"/>
          </p:cNvSpPr>
          <p:nvPr/>
        </p:nvSpPr>
        <p:spPr bwMode="auto">
          <a:xfrm>
            <a:off x="8539162" y="3429000"/>
            <a:ext cx="26828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" name="Freeform 40"/>
          <p:cNvSpPr>
            <a:spLocks/>
          </p:cNvSpPr>
          <p:nvPr/>
        </p:nvSpPr>
        <p:spPr bwMode="auto">
          <a:xfrm>
            <a:off x="1816100" y="4645025"/>
            <a:ext cx="6478588" cy="779463"/>
          </a:xfrm>
          <a:custGeom>
            <a:avLst/>
            <a:gdLst>
              <a:gd name="T0" fmla="*/ 299 w 4081"/>
              <a:gd name="T1" fmla="*/ 483 h 491"/>
              <a:gd name="T2" fmla="*/ 391 w 4081"/>
              <a:gd name="T3" fmla="*/ 476 h 491"/>
              <a:gd name="T4" fmla="*/ 507 w 4081"/>
              <a:gd name="T5" fmla="*/ 468 h 491"/>
              <a:gd name="T6" fmla="*/ 652 w 4081"/>
              <a:gd name="T7" fmla="*/ 460 h 491"/>
              <a:gd name="T8" fmla="*/ 760 w 4081"/>
              <a:gd name="T9" fmla="*/ 460 h 491"/>
              <a:gd name="T10" fmla="*/ 875 w 4081"/>
              <a:gd name="T11" fmla="*/ 453 h 491"/>
              <a:gd name="T12" fmla="*/ 951 w 4081"/>
              <a:gd name="T13" fmla="*/ 453 h 491"/>
              <a:gd name="T14" fmla="*/ 1028 w 4081"/>
              <a:gd name="T15" fmla="*/ 437 h 491"/>
              <a:gd name="T16" fmla="*/ 1105 w 4081"/>
              <a:gd name="T17" fmla="*/ 422 h 491"/>
              <a:gd name="T18" fmla="*/ 1166 w 4081"/>
              <a:gd name="T19" fmla="*/ 414 h 491"/>
              <a:gd name="T20" fmla="*/ 1258 w 4081"/>
              <a:gd name="T21" fmla="*/ 407 h 491"/>
              <a:gd name="T22" fmla="*/ 1412 w 4081"/>
              <a:gd name="T23" fmla="*/ 399 h 491"/>
              <a:gd name="T24" fmla="*/ 1519 w 4081"/>
              <a:gd name="T25" fmla="*/ 391 h 491"/>
              <a:gd name="T26" fmla="*/ 1596 w 4081"/>
              <a:gd name="T27" fmla="*/ 391 h 491"/>
              <a:gd name="T28" fmla="*/ 1688 w 4081"/>
              <a:gd name="T29" fmla="*/ 391 h 491"/>
              <a:gd name="T30" fmla="*/ 1826 w 4081"/>
              <a:gd name="T31" fmla="*/ 384 h 491"/>
              <a:gd name="T32" fmla="*/ 1903 w 4081"/>
              <a:gd name="T33" fmla="*/ 376 h 491"/>
              <a:gd name="T34" fmla="*/ 1964 w 4081"/>
              <a:gd name="T35" fmla="*/ 368 h 491"/>
              <a:gd name="T36" fmla="*/ 2010 w 4081"/>
              <a:gd name="T37" fmla="*/ 361 h 491"/>
              <a:gd name="T38" fmla="*/ 2064 w 4081"/>
              <a:gd name="T39" fmla="*/ 353 h 491"/>
              <a:gd name="T40" fmla="*/ 2110 w 4081"/>
              <a:gd name="T41" fmla="*/ 345 h 491"/>
              <a:gd name="T42" fmla="*/ 2163 w 4081"/>
              <a:gd name="T43" fmla="*/ 330 h 491"/>
              <a:gd name="T44" fmla="*/ 2209 w 4081"/>
              <a:gd name="T45" fmla="*/ 315 h 491"/>
              <a:gd name="T46" fmla="*/ 2255 w 4081"/>
              <a:gd name="T47" fmla="*/ 307 h 491"/>
              <a:gd name="T48" fmla="*/ 2301 w 4081"/>
              <a:gd name="T49" fmla="*/ 307 h 491"/>
              <a:gd name="T50" fmla="*/ 2347 w 4081"/>
              <a:gd name="T51" fmla="*/ 299 h 491"/>
              <a:gd name="T52" fmla="*/ 2409 w 4081"/>
              <a:gd name="T53" fmla="*/ 299 h 491"/>
              <a:gd name="T54" fmla="*/ 2455 w 4081"/>
              <a:gd name="T55" fmla="*/ 299 h 491"/>
              <a:gd name="T56" fmla="*/ 2501 w 4081"/>
              <a:gd name="T57" fmla="*/ 292 h 491"/>
              <a:gd name="T58" fmla="*/ 2547 w 4081"/>
              <a:gd name="T59" fmla="*/ 292 h 491"/>
              <a:gd name="T60" fmla="*/ 2593 w 4081"/>
              <a:gd name="T61" fmla="*/ 284 h 491"/>
              <a:gd name="T62" fmla="*/ 2639 w 4081"/>
              <a:gd name="T63" fmla="*/ 276 h 491"/>
              <a:gd name="T64" fmla="*/ 2693 w 4081"/>
              <a:gd name="T65" fmla="*/ 276 h 491"/>
              <a:gd name="T66" fmla="*/ 2739 w 4081"/>
              <a:gd name="T67" fmla="*/ 269 h 491"/>
              <a:gd name="T68" fmla="*/ 2785 w 4081"/>
              <a:gd name="T69" fmla="*/ 261 h 491"/>
              <a:gd name="T70" fmla="*/ 2831 w 4081"/>
              <a:gd name="T71" fmla="*/ 253 h 491"/>
              <a:gd name="T72" fmla="*/ 2877 w 4081"/>
              <a:gd name="T73" fmla="*/ 253 h 491"/>
              <a:gd name="T74" fmla="*/ 2923 w 4081"/>
              <a:gd name="T75" fmla="*/ 246 h 491"/>
              <a:gd name="T76" fmla="*/ 2969 w 4081"/>
              <a:gd name="T77" fmla="*/ 238 h 491"/>
              <a:gd name="T78" fmla="*/ 3023 w 4081"/>
              <a:gd name="T79" fmla="*/ 230 h 491"/>
              <a:gd name="T80" fmla="*/ 3069 w 4081"/>
              <a:gd name="T81" fmla="*/ 215 h 491"/>
              <a:gd name="T82" fmla="*/ 3115 w 4081"/>
              <a:gd name="T83" fmla="*/ 207 h 491"/>
              <a:gd name="T84" fmla="*/ 3161 w 4081"/>
              <a:gd name="T85" fmla="*/ 192 h 491"/>
              <a:gd name="T86" fmla="*/ 3207 w 4081"/>
              <a:gd name="T87" fmla="*/ 169 h 491"/>
              <a:gd name="T88" fmla="*/ 3253 w 4081"/>
              <a:gd name="T89" fmla="*/ 138 h 491"/>
              <a:gd name="T90" fmla="*/ 3299 w 4081"/>
              <a:gd name="T91" fmla="*/ 115 h 491"/>
              <a:gd name="T92" fmla="*/ 3345 w 4081"/>
              <a:gd name="T93" fmla="*/ 108 h 491"/>
              <a:gd name="T94" fmla="*/ 3398 w 4081"/>
              <a:gd name="T95" fmla="*/ 85 h 491"/>
              <a:gd name="T96" fmla="*/ 3444 w 4081"/>
              <a:gd name="T97" fmla="*/ 77 h 491"/>
              <a:gd name="T98" fmla="*/ 3490 w 4081"/>
              <a:gd name="T99" fmla="*/ 69 h 491"/>
              <a:gd name="T100" fmla="*/ 3536 w 4081"/>
              <a:gd name="T101" fmla="*/ 54 h 491"/>
              <a:gd name="T102" fmla="*/ 3582 w 4081"/>
              <a:gd name="T103" fmla="*/ 54 h 491"/>
              <a:gd name="T104" fmla="*/ 3629 w 4081"/>
              <a:gd name="T105" fmla="*/ 46 h 491"/>
              <a:gd name="T106" fmla="*/ 3675 w 4081"/>
              <a:gd name="T107" fmla="*/ 46 h 491"/>
              <a:gd name="T108" fmla="*/ 3728 w 4081"/>
              <a:gd name="T109" fmla="*/ 39 h 491"/>
              <a:gd name="T110" fmla="*/ 3774 w 4081"/>
              <a:gd name="T111" fmla="*/ 39 h 491"/>
              <a:gd name="T112" fmla="*/ 3820 w 4081"/>
              <a:gd name="T113" fmla="*/ 31 h 491"/>
              <a:gd name="T114" fmla="*/ 3866 w 4081"/>
              <a:gd name="T115" fmla="*/ 31 h 491"/>
              <a:gd name="T116" fmla="*/ 3912 w 4081"/>
              <a:gd name="T117" fmla="*/ 23 h 491"/>
              <a:gd name="T118" fmla="*/ 3958 w 4081"/>
              <a:gd name="T119" fmla="*/ 16 h 491"/>
              <a:gd name="T120" fmla="*/ 4004 w 4081"/>
              <a:gd name="T121" fmla="*/ 16 h 491"/>
              <a:gd name="T122" fmla="*/ 4058 w 4081"/>
              <a:gd name="T123" fmla="*/ 8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081" h="491">
                <a:moveTo>
                  <a:pt x="0" y="491"/>
                </a:moveTo>
                <a:lnTo>
                  <a:pt x="108" y="491"/>
                </a:lnTo>
                <a:lnTo>
                  <a:pt x="108" y="491"/>
                </a:lnTo>
                <a:lnTo>
                  <a:pt x="177" y="491"/>
                </a:lnTo>
                <a:lnTo>
                  <a:pt x="177" y="483"/>
                </a:lnTo>
                <a:lnTo>
                  <a:pt x="223" y="483"/>
                </a:lnTo>
                <a:lnTo>
                  <a:pt x="223" y="483"/>
                </a:lnTo>
                <a:lnTo>
                  <a:pt x="230" y="483"/>
                </a:lnTo>
                <a:lnTo>
                  <a:pt x="230" y="483"/>
                </a:lnTo>
                <a:lnTo>
                  <a:pt x="246" y="483"/>
                </a:lnTo>
                <a:lnTo>
                  <a:pt x="246" y="483"/>
                </a:lnTo>
                <a:lnTo>
                  <a:pt x="253" y="483"/>
                </a:lnTo>
                <a:lnTo>
                  <a:pt x="253" y="483"/>
                </a:lnTo>
                <a:lnTo>
                  <a:pt x="269" y="483"/>
                </a:lnTo>
                <a:lnTo>
                  <a:pt x="269" y="483"/>
                </a:lnTo>
                <a:lnTo>
                  <a:pt x="299" y="483"/>
                </a:lnTo>
                <a:lnTo>
                  <a:pt x="299" y="483"/>
                </a:lnTo>
                <a:lnTo>
                  <a:pt x="322" y="483"/>
                </a:lnTo>
                <a:lnTo>
                  <a:pt x="322" y="483"/>
                </a:lnTo>
                <a:lnTo>
                  <a:pt x="330" y="483"/>
                </a:lnTo>
                <a:lnTo>
                  <a:pt x="330" y="483"/>
                </a:lnTo>
                <a:lnTo>
                  <a:pt x="353" y="483"/>
                </a:lnTo>
                <a:lnTo>
                  <a:pt x="353" y="476"/>
                </a:lnTo>
                <a:lnTo>
                  <a:pt x="368" y="476"/>
                </a:lnTo>
                <a:lnTo>
                  <a:pt x="368" y="476"/>
                </a:lnTo>
                <a:lnTo>
                  <a:pt x="376" y="476"/>
                </a:lnTo>
                <a:lnTo>
                  <a:pt x="376" y="476"/>
                </a:lnTo>
                <a:lnTo>
                  <a:pt x="376" y="476"/>
                </a:lnTo>
                <a:lnTo>
                  <a:pt x="376" y="476"/>
                </a:lnTo>
                <a:lnTo>
                  <a:pt x="384" y="476"/>
                </a:lnTo>
                <a:lnTo>
                  <a:pt x="384" y="476"/>
                </a:lnTo>
                <a:lnTo>
                  <a:pt x="391" y="476"/>
                </a:lnTo>
                <a:lnTo>
                  <a:pt x="391" y="476"/>
                </a:lnTo>
                <a:lnTo>
                  <a:pt x="399" y="476"/>
                </a:lnTo>
                <a:lnTo>
                  <a:pt x="399" y="476"/>
                </a:lnTo>
                <a:lnTo>
                  <a:pt x="399" y="476"/>
                </a:lnTo>
                <a:lnTo>
                  <a:pt x="399" y="476"/>
                </a:lnTo>
                <a:lnTo>
                  <a:pt x="430" y="476"/>
                </a:lnTo>
                <a:lnTo>
                  <a:pt x="430" y="476"/>
                </a:lnTo>
                <a:lnTo>
                  <a:pt x="437" y="476"/>
                </a:lnTo>
                <a:lnTo>
                  <a:pt x="437" y="468"/>
                </a:lnTo>
                <a:lnTo>
                  <a:pt x="445" y="468"/>
                </a:lnTo>
                <a:lnTo>
                  <a:pt x="445" y="468"/>
                </a:lnTo>
                <a:lnTo>
                  <a:pt x="483" y="468"/>
                </a:lnTo>
                <a:lnTo>
                  <a:pt x="483" y="468"/>
                </a:lnTo>
                <a:lnTo>
                  <a:pt x="507" y="468"/>
                </a:lnTo>
                <a:lnTo>
                  <a:pt x="507" y="468"/>
                </a:lnTo>
                <a:lnTo>
                  <a:pt x="507" y="468"/>
                </a:lnTo>
                <a:lnTo>
                  <a:pt x="507" y="468"/>
                </a:lnTo>
                <a:lnTo>
                  <a:pt x="576" y="468"/>
                </a:lnTo>
                <a:lnTo>
                  <a:pt x="576" y="468"/>
                </a:lnTo>
                <a:lnTo>
                  <a:pt x="583" y="468"/>
                </a:lnTo>
                <a:lnTo>
                  <a:pt x="583" y="468"/>
                </a:lnTo>
                <a:lnTo>
                  <a:pt x="599" y="468"/>
                </a:lnTo>
                <a:lnTo>
                  <a:pt x="599" y="468"/>
                </a:lnTo>
                <a:lnTo>
                  <a:pt x="622" y="468"/>
                </a:lnTo>
                <a:lnTo>
                  <a:pt x="622" y="468"/>
                </a:lnTo>
                <a:lnTo>
                  <a:pt x="629" y="468"/>
                </a:lnTo>
                <a:lnTo>
                  <a:pt x="629" y="468"/>
                </a:lnTo>
                <a:lnTo>
                  <a:pt x="645" y="468"/>
                </a:lnTo>
                <a:lnTo>
                  <a:pt x="645" y="460"/>
                </a:lnTo>
                <a:lnTo>
                  <a:pt x="652" y="460"/>
                </a:lnTo>
                <a:lnTo>
                  <a:pt x="652" y="460"/>
                </a:lnTo>
                <a:lnTo>
                  <a:pt x="652" y="460"/>
                </a:lnTo>
                <a:lnTo>
                  <a:pt x="652" y="460"/>
                </a:lnTo>
                <a:lnTo>
                  <a:pt x="675" y="460"/>
                </a:lnTo>
                <a:lnTo>
                  <a:pt x="675" y="460"/>
                </a:lnTo>
                <a:lnTo>
                  <a:pt x="706" y="460"/>
                </a:lnTo>
                <a:lnTo>
                  <a:pt x="706" y="460"/>
                </a:lnTo>
                <a:lnTo>
                  <a:pt x="714" y="460"/>
                </a:lnTo>
                <a:lnTo>
                  <a:pt x="714" y="460"/>
                </a:lnTo>
                <a:lnTo>
                  <a:pt x="721" y="460"/>
                </a:lnTo>
                <a:lnTo>
                  <a:pt x="721" y="460"/>
                </a:lnTo>
                <a:lnTo>
                  <a:pt x="744" y="460"/>
                </a:lnTo>
                <a:lnTo>
                  <a:pt x="744" y="460"/>
                </a:lnTo>
                <a:lnTo>
                  <a:pt x="752" y="460"/>
                </a:lnTo>
                <a:lnTo>
                  <a:pt x="752" y="460"/>
                </a:lnTo>
                <a:lnTo>
                  <a:pt x="752" y="460"/>
                </a:lnTo>
                <a:lnTo>
                  <a:pt x="752" y="460"/>
                </a:lnTo>
                <a:lnTo>
                  <a:pt x="760" y="460"/>
                </a:lnTo>
                <a:lnTo>
                  <a:pt x="760" y="460"/>
                </a:lnTo>
                <a:lnTo>
                  <a:pt x="775" y="460"/>
                </a:lnTo>
                <a:lnTo>
                  <a:pt x="775" y="460"/>
                </a:lnTo>
                <a:lnTo>
                  <a:pt x="783" y="460"/>
                </a:lnTo>
                <a:lnTo>
                  <a:pt x="783" y="460"/>
                </a:lnTo>
                <a:lnTo>
                  <a:pt x="783" y="460"/>
                </a:lnTo>
                <a:lnTo>
                  <a:pt x="783" y="460"/>
                </a:lnTo>
                <a:lnTo>
                  <a:pt x="813" y="460"/>
                </a:lnTo>
                <a:lnTo>
                  <a:pt x="813" y="460"/>
                </a:lnTo>
                <a:lnTo>
                  <a:pt x="829" y="460"/>
                </a:lnTo>
                <a:lnTo>
                  <a:pt x="829" y="460"/>
                </a:lnTo>
                <a:lnTo>
                  <a:pt x="852" y="460"/>
                </a:lnTo>
                <a:lnTo>
                  <a:pt x="852" y="460"/>
                </a:lnTo>
                <a:lnTo>
                  <a:pt x="859" y="460"/>
                </a:lnTo>
                <a:lnTo>
                  <a:pt x="859" y="453"/>
                </a:lnTo>
                <a:lnTo>
                  <a:pt x="875" y="453"/>
                </a:lnTo>
                <a:lnTo>
                  <a:pt x="875" y="453"/>
                </a:lnTo>
                <a:lnTo>
                  <a:pt x="882" y="453"/>
                </a:lnTo>
                <a:lnTo>
                  <a:pt x="882" y="453"/>
                </a:lnTo>
                <a:lnTo>
                  <a:pt x="890" y="453"/>
                </a:lnTo>
                <a:lnTo>
                  <a:pt x="890" y="453"/>
                </a:lnTo>
                <a:lnTo>
                  <a:pt x="905" y="453"/>
                </a:lnTo>
                <a:lnTo>
                  <a:pt x="905" y="453"/>
                </a:lnTo>
                <a:lnTo>
                  <a:pt x="905" y="453"/>
                </a:lnTo>
                <a:lnTo>
                  <a:pt x="905" y="453"/>
                </a:lnTo>
                <a:lnTo>
                  <a:pt x="913" y="453"/>
                </a:lnTo>
                <a:lnTo>
                  <a:pt x="913" y="453"/>
                </a:lnTo>
                <a:lnTo>
                  <a:pt x="921" y="453"/>
                </a:lnTo>
                <a:lnTo>
                  <a:pt x="921" y="453"/>
                </a:lnTo>
                <a:lnTo>
                  <a:pt x="928" y="453"/>
                </a:lnTo>
                <a:lnTo>
                  <a:pt x="928" y="453"/>
                </a:lnTo>
                <a:lnTo>
                  <a:pt x="951" y="453"/>
                </a:lnTo>
                <a:lnTo>
                  <a:pt x="951" y="445"/>
                </a:lnTo>
                <a:lnTo>
                  <a:pt x="959" y="445"/>
                </a:lnTo>
                <a:lnTo>
                  <a:pt x="959" y="445"/>
                </a:lnTo>
                <a:lnTo>
                  <a:pt x="974" y="445"/>
                </a:lnTo>
                <a:lnTo>
                  <a:pt x="974" y="445"/>
                </a:lnTo>
                <a:lnTo>
                  <a:pt x="982" y="445"/>
                </a:lnTo>
                <a:lnTo>
                  <a:pt x="982" y="445"/>
                </a:lnTo>
                <a:lnTo>
                  <a:pt x="982" y="445"/>
                </a:lnTo>
                <a:lnTo>
                  <a:pt x="982" y="445"/>
                </a:lnTo>
                <a:lnTo>
                  <a:pt x="990" y="445"/>
                </a:lnTo>
                <a:lnTo>
                  <a:pt x="990" y="437"/>
                </a:lnTo>
                <a:lnTo>
                  <a:pt x="1005" y="437"/>
                </a:lnTo>
                <a:lnTo>
                  <a:pt x="1005" y="437"/>
                </a:lnTo>
                <a:lnTo>
                  <a:pt x="1020" y="437"/>
                </a:lnTo>
                <a:lnTo>
                  <a:pt x="1020" y="437"/>
                </a:lnTo>
                <a:lnTo>
                  <a:pt x="1028" y="437"/>
                </a:lnTo>
                <a:lnTo>
                  <a:pt x="1028" y="437"/>
                </a:lnTo>
                <a:lnTo>
                  <a:pt x="1028" y="437"/>
                </a:lnTo>
                <a:lnTo>
                  <a:pt x="1028" y="437"/>
                </a:lnTo>
                <a:lnTo>
                  <a:pt x="1036" y="437"/>
                </a:lnTo>
                <a:lnTo>
                  <a:pt x="1036" y="430"/>
                </a:lnTo>
                <a:lnTo>
                  <a:pt x="1043" y="430"/>
                </a:lnTo>
                <a:lnTo>
                  <a:pt x="1043" y="430"/>
                </a:lnTo>
                <a:lnTo>
                  <a:pt x="1059" y="430"/>
                </a:lnTo>
                <a:lnTo>
                  <a:pt x="1059" y="430"/>
                </a:lnTo>
                <a:lnTo>
                  <a:pt x="1066" y="430"/>
                </a:lnTo>
                <a:lnTo>
                  <a:pt x="1066" y="430"/>
                </a:lnTo>
                <a:lnTo>
                  <a:pt x="1074" y="430"/>
                </a:lnTo>
                <a:lnTo>
                  <a:pt x="1074" y="422"/>
                </a:lnTo>
                <a:lnTo>
                  <a:pt x="1082" y="422"/>
                </a:lnTo>
                <a:lnTo>
                  <a:pt x="1082" y="422"/>
                </a:lnTo>
                <a:lnTo>
                  <a:pt x="1105" y="422"/>
                </a:lnTo>
                <a:lnTo>
                  <a:pt x="1105" y="422"/>
                </a:lnTo>
                <a:lnTo>
                  <a:pt x="1105" y="422"/>
                </a:lnTo>
                <a:lnTo>
                  <a:pt x="1105" y="422"/>
                </a:lnTo>
                <a:lnTo>
                  <a:pt x="1128" y="422"/>
                </a:lnTo>
                <a:lnTo>
                  <a:pt x="1128" y="422"/>
                </a:lnTo>
                <a:lnTo>
                  <a:pt x="1136" y="422"/>
                </a:lnTo>
                <a:lnTo>
                  <a:pt x="1136" y="422"/>
                </a:lnTo>
                <a:lnTo>
                  <a:pt x="1143" y="422"/>
                </a:lnTo>
                <a:lnTo>
                  <a:pt x="1143" y="422"/>
                </a:lnTo>
                <a:lnTo>
                  <a:pt x="1151" y="422"/>
                </a:lnTo>
                <a:lnTo>
                  <a:pt x="1151" y="422"/>
                </a:lnTo>
                <a:lnTo>
                  <a:pt x="1159" y="422"/>
                </a:lnTo>
                <a:lnTo>
                  <a:pt x="1159" y="414"/>
                </a:lnTo>
                <a:lnTo>
                  <a:pt x="1159" y="414"/>
                </a:lnTo>
                <a:lnTo>
                  <a:pt x="1159" y="414"/>
                </a:lnTo>
                <a:lnTo>
                  <a:pt x="1166" y="414"/>
                </a:lnTo>
                <a:lnTo>
                  <a:pt x="1166" y="414"/>
                </a:lnTo>
                <a:lnTo>
                  <a:pt x="1182" y="414"/>
                </a:lnTo>
                <a:lnTo>
                  <a:pt x="1182" y="414"/>
                </a:lnTo>
                <a:lnTo>
                  <a:pt x="1197" y="414"/>
                </a:lnTo>
                <a:lnTo>
                  <a:pt x="1197" y="414"/>
                </a:lnTo>
                <a:lnTo>
                  <a:pt x="1205" y="414"/>
                </a:lnTo>
                <a:lnTo>
                  <a:pt x="1205" y="407"/>
                </a:lnTo>
                <a:lnTo>
                  <a:pt x="1205" y="407"/>
                </a:lnTo>
                <a:lnTo>
                  <a:pt x="1205" y="407"/>
                </a:lnTo>
                <a:lnTo>
                  <a:pt x="1220" y="407"/>
                </a:lnTo>
                <a:lnTo>
                  <a:pt x="1220" y="407"/>
                </a:lnTo>
                <a:lnTo>
                  <a:pt x="1228" y="407"/>
                </a:lnTo>
                <a:lnTo>
                  <a:pt x="1228" y="407"/>
                </a:lnTo>
                <a:lnTo>
                  <a:pt x="1235" y="407"/>
                </a:lnTo>
                <a:lnTo>
                  <a:pt x="1235" y="407"/>
                </a:lnTo>
                <a:lnTo>
                  <a:pt x="1258" y="407"/>
                </a:lnTo>
                <a:lnTo>
                  <a:pt x="1258" y="399"/>
                </a:lnTo>
                <a:lnTo>
                  <a:pt x="1289" y="399"/>
                </a:lnTo>
                <a:lnTo>
                  <a:pt x="1289" y="399"/>
                </a:lnTo>
                <a:lnTo>
                  <a:pt x="1304" y="399"/>
                </a:lnTo>
                <a:lnTo>
                  <a:pt x="1304" y="399"/>
                </a:lnTo>
                <a:lnTo>
                  <a:pt x="1335" y="399"/>
                </a:lnTo>
                <a:lnTo>
                  <a:pt x="1335" y="399"/>
                </a:lnTo>
                <a:lnTo>
                  <a:pt x="1350" y="399"/>
                </a:lnTo>
                <a:lnTo>
                  <a:pt x="1350" y="399"/>
                </a:lnTo>
                <a:lnTo>
                  <a:pt x="1358" y="399"/>
                </a:lnTo>
                <a:lnTo>
                  <a:pt x="1358" y="399"/>
                </a:lnTo>
                <a:lnTo>
                  <a:pt x="1358" y="399"/>
                </a:lnTo>
                <a:lnTo>
                  <a:pt x="1358" y="399"/>
                </a:lnTo>
                <a:lnTo>
                  <a:pt x="1404" y="399"/>
                </a:lnTo>
                <a:lnTo>
                  <a:pt x="1404" y="399"/>
                </a:lnTo>
                <a:lnTo>
                  <a:pt x="1412" y="399"/>
                </a:lnTo>
                <a:lnTo>
                  <a:pt x="1412" y="399"/>
                </a:lnTo>
                <a:lnTo>
                  <a:pt x="1419" y="399"/>
                </a:lnTo>
                <a:lnTo>
                  <a:pt x="1419" y="399"/>
                </a:lnTo>
                <a:lnTo>
                  <a:pt x="1442" y="399"/>
                </a:lnTo>
                <a:lnTo>
                  <a:pt x="1442" y="399"/>
                </a:lnTo>
                <a:lnTo>
                  <a:pt x="1458" y="399"/>
                </a:lnTo>
                <a:lnTo>
                  <a:pt x="1458" y="399"/>
                </a:lnTo>
                <a:lnTo>
                  <a:pt x="1458" y="399"/>
                </a:lnTo>
                <a:lnTo>
                  <a:pt x="1458" y="399"/>
                </a:lnTo>
                <a:lnTo>
                  <a:pt x="1496" y="399"/>
                </a:lnTo>
                <a:lnTo>
                  <a:pt x="1496" y="391"/>
                </a:lnTo>
                <a:lnTo>
                  <a:pt x="1511" y="391"/>
                </a:lnTo>
                <a:lnTo>
                  <a:pt x="1511" y="391"/>
                </a:lnTo>
                <a:lnTo>
                  <a:pt x="1511" y="391"/>
                </a:lnTo>
                <a:lnTo>
                  <a:pt x="1511" y="391"/>
                </a:lnTo>
                <a:lnTo>
                  <a:pt x="1519" y="391"/>
                </a:lnTo>
                <a:lnTo>
                  <a:pt x="1519" y="391"/>
                </a:lnTo>
                <a:lnTo>
                  <a:pt x="1534" y="391"/>
                </a:lnTo>
                <a:lnTo>
                  <a:pt x="1534" y="391"/>
                </a:lnTo>
                <a:lnTo>
                  <a:pt x="1542" y="391"/>
                </a:lnTo>
                <a:lnTo>
                  <a:pt x="1542" y="391"/>
                </a:lnTo>
                <a:lnTo>
                  <a:pt x="1550" y="391"/>
                </a:lnTo>
                <a:lnTo>
                  <a:pt x="1550" y="391"/>
                </a:lnTo>
                <a:lnTo>
                  <a:pt x="1557" y="391"/>
                </a:lnTo>
                <a:lnTo>
                  <a:pt x="1557" y="391"/>
                </a:lnTo>
                <a:lnTo>
                  <a:pt x="1557" y="391"/>
                </a:lnTo>
                <a:lnTo>
                  <a:pt x="1557" y="391"/>
                </a:lnTo>
                <a:lnTo>
                  <a:pt x="1573" y="391"/>
                </a:lnTo>
                <a:lnTo>
                  <a:pt x="1573" y="391"/>
                </a:lnTo>
                <a:lnTo>
                  <a:pt x="1588" y="391"/>
                </a:lnTo>
                <a:lnTo>
                  <a:pt x="1588" y="391"/>
                </a:lnTo>
                <a:lnTo>
                  <a:pt x="1596" y="391"/>
                </a:lnTo>
                <a:lnTo>
                  <a:pt x="1596" y="391"/>
                </a:lnTo>
                <a:lnTo>
                  <a:pt x="1603" y="391"/>
                </a:lnTo>
                <a:lnTo>
                  <a:pt x="1603" y="391"/>
                </a:lnTo>
                <a:lnTo>
                  <a:pt x="1611" y="391"/>
                </a:lnTo>
                <a:lnTo>
                  <a:pt x="1611" y="391"/>
                </a:lnTo>
                <a:lnTo>
                  <a:pt x="1611" y="391"/>
                </a:lnTo>
                <a:lnTo>
                  <a:pt x="1611" y="391"/>
                </a:lnTo>
                <a:lnTo>
                  <a:pt x="1619" y="391"/>
                </a:lnTo>
                <a:lnTo>
                  <a:pt x="1619" y="391"/>
                </a:lnTo>
                <a:lnTo>
                  <a:pt x="1657" y="391"/>
                </a:lnTo>
                <a:lnTo>
                  <a:pt x="1657" y="391"/>
                </a:lnTo>
                <a:lnTo>
                  <a:pt x="1665" y="391"/>
                </a:lnTo>
                <a:lnTo>
                  <a:pt x="1665" y="391"/>
                </a:lnTo>
                <a:lnTo>
                  <a:pt x="1688" y="391"/>
                </a:lnTo>
                <a:lnTo>
                  <a:pt x="1688" y="391"/>
                </a:lnTo>
                <a:lnTo>
                  <a:pt x="1688" y="391"/>
                </a:lnTo>
                <a:lnTo>
                  <a:pt x="1688" y="391"/>
                </a:lnTo>
                <a:lnTo>
                  <a:pt x="1711" y="391"/>
                </a:lnTo>
                <a:lnTo>
                  <a:pt x="1711" y="384"/>
                </a:lnTo>
                <a:lnTo>
                  <a:pt x="1711" y="384"/>
                </a:lnTo>
                <a:lnTo>
                  <a:pt x="1711" y="384"/>
                </a:lnTo>
                <a:lnTo>
                  <a:pt x="1742" y="384"/>
                </a:lnTo>
                <a:lnTo>
                  <a:pt x="1742" y="384"/>
                </a:lnTo>
                <a:lnTo>
                  <a:pt x="1765" y="384"/>
                </a:lnTo>
                <a:lnTo>
                  <a:pt x="1765" y="384"/>
                </a:lnTo>
                <a:lnTo>
                  <a:pt x="1788" y="384"/>
                </a:lnTo>
                <a:lnTo>
                  <a:pt x="1788" y="384"/>
                </a:lnTo>
                <a:lnTo>
                  <a:pt x="1811" y="384"/>
                </a:lnTo>
                <a:lnTo>
                  <a:pt x="1811" y="384"/>
                </a:lnTo>
                <a:lnTo>
                  <a:pt x="1818" y="384"/>
                </a:lnTo>
                <a:lnTo>
                  <a:pt x="1818" y="384"/>
                </a:lnTo>
                <a:lnTo>
                  <a:pt x="1826" y="384"/>
                </a:lnTo>
                <a:lnTo>
                  <a:pt x="1826" y="384"/>
                </a:lnTo>
                <a:lnTo>
                  <a:pt x="1834" y="384"/>
                </a:lnTo>
                <a:lnTo>
                  <a:pt x="1834" y="384"/>
                </a:lnTo>
                <a:lnTo>
                  <a:pt x="1864" y="384"/>
                </a:lnTo>
                <a:lnTo>
                  <a:pt x="1864" y="384"/>
                </a:lnTo>
                <a:lnTo>
                  <a:pt x="1864" y="384"/>
                </a:lnTo>
                <a:lnTo>
                  <a:pt x="1864" y="384"/>
                </a:lnTo>
                <a:lnTo>
                  <a:pt x="1872" y="384"/>
                </a:lnTo>
                <a:lnTo>
                  <a:pt x="1872" y="384"/>
                </a:lnTo>
                <a:lnTo>
                  <a:pt x="1887" y="384"/>
                </a:lnTo>
                <a:lnTo>
                  <a:pt x="1887" y="384"/>
                </a:lnTo>
                <a:lnTo>
                  <a:pt x="1887" y="384"/>
                </a:lnTo>
                <a:lnTo>
                  <a:pt x="1887" y="376"/>
                </a:lnTo>
                <a:lnTo>
                  <a:pt x="1895" y="376"/>
                </a:lnTo>
                <a:lnTo>
                  <a:pt x="1895" y="376"/>
                </a:lnTo>
                <a:lnTo>
                  <a:pt x="1903" y="376"/>
                </a:lnTo>
                <a:lnTo>
                  <a:pt x="1903" y="376"/>
                </a:lnTo>
                <a:lnTo>
                  <a:pt x="1910" y="376"/>
                </a:lnTo>
                <a:lnTo>
                  <a:pt x="1910" y="376"/>
                </a:lnTo>
                <a:lnTo>
                  <a:pt x="1910" y="376"/>
                </a:lnTo>
                <a:lnTo>
                  <a:pt x="1910" y="376"/>
                </a:lnTo>
                <a:lnTo>
                  <a:pt x="1941" y="376"/>
                </a:lnTo>
                <a:lnTo>
                  <a:pt x="1941" y="368"/>
                </a:lnTo>
                <a:lnTo>
                  <a:pt x="1941" y="368"/>
                </a:lnTo>
                <a:lnTo>
                  <a:pt x="1941" y="368"/>
                </a:lnTo>
                <a:lnTo>
                  <a:pt x="1949" y="368"/>
                </a:lnTo>
                <a:lnTo>
                  <a:pt x="1949" y="368"/>
                </a:lnTo>
                <a:lnTo>
                  <a:pt x="1956" y="368"/>
                </a:lnTo>
                <a:lnTo>
                  <a:pt x="1956" y="368"/>
                </a:lnTo>
                <a:lnTo>
                  <a:pt x="1964" y="368"/>
                </a:lnTo>
                <a:lnTo>
                  <a:pt x="1964" y="368"/>
                </a:lnTo>
                <a:lnTo>
                  <a:pt x="1964" y="368"/>
                </a:lnTo>
                <a:lnTo>
                  <a:pt x="1964" y="368"/>
                </a:lnTo>
                <a:lnTo>
                  <a:pt x="1972" y="368"/>
                </a:lnTo>
                <a:lnTo>
                  <a:pt x="1972" y="361"/>
                </a:lnTo>
                <a:lnTo>
                  <a:pt x="1979" y="361"/>
                </a:lnTo>
                <a:lnTo>
                  <a:pt x="1979" y="361"/>
                </a:lnTo>
                <a:lnTo>
                  <a:pt x="1987" y="361"/>
                </a:lnTo>
                <a:lnTo>
                  <a:pt x="1987" y="361"/>
                </a:lnTo>
                <a:lnTo>
                  <a:pt x="1987" y="361"/>
                </a:lnTo>
                <a:lnTo>
                  <a:pt x="1987" y="361"/>
                </a:lnTo>
                <a:lnTo>
                  <a:pt x="1995" y="361"/>
                </a:lnTo>
                <a:lnTo>
                  <a:pt x="1995" y="361"/>
                </a:lnTo>
                <a:lnTo>
                  <a:pt x="2002" y="361"/>
                </a:lnTo>
                <a:lnTo>
                  <a:pt x="2002" y="361"/>
                </a:lnTo>
                <a:lnTo>
                  <a:pt x="2010" y="361"/>
                </a:lnTo>
                <a:lnTo>
                  <a:pt x="2010" y="361"/>
                </a:lnTo>
                <a:lnTo>
                  <a:pt x="2010" y="361"/>
                </a:lnTo>
                <a:lnTo>
                  <a:pt x="2010" y="361"/>
                </a:lnTo>
                <a:lnTo>
                  <a:pt x="2018" y="361"/>
                </a:lnTo>
                <a:lnTo>
                  <a:pt x="2018" y="361"/>
                </a:lnTo>
                <a:lnTo>
                  <a:pt x="2025" y="361"/>
                </a:lnTo>
                <a:lnTo>
                  <a:pt x="2025" y="361"/>
                </a:lnTo>
                <a:lnTo>
                  <a:pt x="2033" y="361"/>
                </a:lnTo>
                <a:lnTo>
                  <a:pt x="2033" y="361"/>
                </a:lnTo>
                <a:lnTo>
                  <a:pt x="2041" y="361"/>
                </a:lnTo>
                <a:lnTo>
                  <a:pt x="2041" y="361"/>
                </a:lnTo>
                <a:lnTo>
                  <a:pt x="2041" y="361"/>
                </a:lnTo>
                <a:lnTo>
                  <a:pt x="2041" y="361"/>
                </a:lnTo>
                <a:lnTo>
                  <a:pt x="2048" y="361"/>
                </a:lnTo>
                <a:lnTo>
                  <a:pt x="2048" y="353"/>
                </a:lnTo>
                <a:lnTo>
                  <a:pt x="2056" y="353"/>
                </a:lnTo>
                <a:lnTo>
                  <a:pt x="2056" y="353"/>
                </a:lnTo>
                <a:lnTo>
                  <a:pt x="2064" y="353"/>
                </a:lnTo>
                <a:lnTo>
                  <a:pt x="2064" y="353"/>
                </a:lnTo>
                <a:lnTo>
                  <a:pt x="2064" y="353"/>
                </a:lnTo>
                <a:lnTo>
                  <a:pt x="2064" y="353"/>
                </a:lnTo>
                <a:lnTo>
                  <a:pt x="2071" y="353"/>
                </a:lnTo>
                <a:lnTo>
                  <a:pt x="2071" y="353"/>
                </a:lnTo>
                <a:lnTo>
                  <a:pt x="2079" y="353"/>
                </a:lnTo>
                <a:lnTo>
                  <a:pt x="2079" y="353"/>
                </a:lnTo>
                <a:lnTo>
                  <a:pt x="2087" y="353"/>
                </a:lnTo>
                <a:lnTo>
                  <a:pt x="2087" y="353"/>
                </a:lnTo>
                <a:lnTo>
                  <a:pt x="2087" y="353"/>
                </a:lnTo>
                <a:lnTo>
                  <a:pt x="2087" y="345"/>
                </a:lnTo>
                <a:lnTo>
                  <a:pt x="2094" y="345"/>
                </a:lnTo>
                <a:lnTo>
                  <a:pt x="2094" y="345"/>
                </a:lnTo>
                <a:lnTo>
                  <a:pt x="2102" y="345"/>
                </a:lnTo>
                <a:lnTo>
                  <a:pt x="2102" y="345"/>
                </a:lnTo>
                <a:lnTo>
                  <a:pt x="2110" y="345"/>
                </a:lnTo>
                <a:lnTo>
                  <a:pt x="2110" y="338"/>
                </a:lnTo>
                <a:lnTo>
                  <a:pt x="2117" y="338"/>
                </a:lnTo>
                <a:lnTo>
                  <a:pt x="2117" y="338"/>
                </a:lnTo>
                <a:lnTo>
                  <a:pt x="2117" y="338"/>
                </a:lnTo>
                <a:lnTo>
                  <a:pt x="2117" y="338"/>
                </a:lnTo>
                <a:lnTo>
                  <a:pt x="2125" y="338"/>
                </a:lnTo>
                <a:lnTo>
                  <a:pt x="2125" y="338"/>
                </a:lnTo>
                <a:lnTo>
                  <a:pt x="2140" y="338"/>
                </a:lnTo>
                <a:lnTo>
                  <a:pt x="2140" y="338"/>
                </a:lnTo>
                <a:lnTo>
                  <a:pt x="2140" y="338"/>
                </a:lnTo>
                <a:lnTo>
                  <a:pt x="2140" y="330"/>
                </a:lnTo>
                <a:lnTo>
                  <a:pt x="2148" y="330"/>
                </a:lnTo>
                <a:lnTo>
                  <a:pt x="2148" y="330"/>
                </a:lnTo>
                <a:lnTo>
                  <a:pt x="2156" y="330"/>
                </a:lnTo>
                <a:lnTo>
                  <a:pt x="2156" y="330"/>
                </a:lnTo>
                <a:lnTo>
                  <a:pt x="2163" y="330"/>
                </a:lnTo>
                <a:lnTo>
                  <a:pt x="2163" y="322"/>
                </a:lnTo>
                <a:lnTo>
                  <a:pt x="2163" y="322"/>
                </a:lnTo>
                <a:lnTo>
                  <a:pt x="2163" y="322"/>
                </a:lnTo>
                <a:lnTo>
                  <a:pt x="2171" y="322"/>
                </a:lnTo>
                <a:lnTo>
                  <a:pt x="2171" y="322"/>
                </a:lnTo>
                <a:lnTo>
                  <a:pt x="2179" y="322"/>
                </a:lnTo>
                <a:lnTo>
                  <a:pt x="2179" y="322"/>
                </a:lnTo>
                <a:lnTo>
                  <a:pt x="2186" y="322"/>
                </a:lnTo>
                <a:lnTo>
                  <a:pt x="2186" y="322"/>
                </a:lnTo>
                <a:lnTo>
                  <a:pt x="2186" y="322"/>
                </a:lnTo>
                <a:lnTo>
                  <a:pt x="2186" y="315"/>
                </a:lnTo>
                <a:lnTo>
                  <a:pt x="2194" y="315"/>
                </a:lnTo>
                <a:lnTo>
                  <a:pt x="2194" y="315"/>
                </a:lnTo>
                <a:lnTo>
                  <a:pt x="2202" y="315"/>
                </a:lnTo>
                <a:lnTo>
                  <a:pt x="2202" y="315"/>
                </a:lnTo>
                <a:lnTo>
                  <a:pt x="2209" y="315"/>
                </a:lnTo>
                <a:lnTo>
                  <a:pt x="2209" y="315"/>
                </a:lnTo>
                <a:lnTo>
                  <a:pt x="2217" y="315"/>
                </a:lnTo>
                <a:lnTo>
                  <a:pt x="2217" y="315"/>
                </a:lnTo>
                <a:lnTo>
                  <a:pt x="2217" y="315"/>
                </a:lnTo>
                <a:lnTo>
                  <a:pt x="2217" y="315"/>
                </a:lnTo>
                <a:lnTo>
                  <a:pt x="2225" y="315"/>
                </a:lnTo>
                <a:lnTo>
                  <a:pt x="2225" y="315"/>
                </a:lnTo>
                <a:lnTo>
                  <a:pt x="2232" y="315"/>
                </a:lnTo>
                <a:lnTo>
                  <a:pt x="2232" y="315"/>
                </a:lnTo>
                <a:lnTo>
                  <a:pt x="2240" y="315"/>
                </a:lnTo>
                <a:lnTo>
                  <a:pt x="2240" y="315"/>
                </a:lnTo>
                <a:lnTo>
                  <a:pt x="2240" y="315"/>
                </a:lnTo>
                <a:lnTo>
                  <a:pt x="2240" y="315"/>
                </a:lnTo>
                <a:lnTo>
                  <a:pt x="2248" y="315"/>
                </a:lnTo>
                <a:lnTo>
                  <a:pt x="2248" y="307"/>
                </a:lnTo>
                <a:lnTo>
                  <a:pt x="2255" y="307"/>
                </a:lnTo>
                <a:lnTo>
                  <a:pt x="2255" y="307"/>
                </a:lnTo>
                <a:lnTo>
                  <a:pt x="2263" y="307"/>
                </a:lnTo>
                <a:lnTo>
                  <a:pt x="2263" y="307"/>
                </a:lnTo>
                <a:lnTo>
                  <a:pt x="2263" y="307"/>
                </a:lnTo>
                <a:lnTo>
                  <a:pt x="2263" y="307"/>
                </a:lnTo>
                <a:lnTo>
                  <a:pt x="2271" y="307"/>
                </a:lnTo>
                <a:lnTo>
                  <a:pt x="2271" y="307"/>
                </a:lnTo>
                <a:lnTo>
                  <a:pt x="2278" y="307"/>
                </a:lnTo>
                <a:lnTo>
                  <a:pt x="2278" y="307"/>
                </a:lnTo>
                <a:lnTo>
                  <a:pt x="2286" y="307"/>
                </a:lnTo>
                <a:lnTo>
                  <a:pt x="2286" y="307"/>
                </a:lnTo>
                <a:lnTo>
                  <a:pt x="2294" y="307"/>
                </a:lnTo>
                <a:lnTo>
                  <a:pt x="2294" y="307"/>
                </a:lnTo>
                <a:lnTo>
                  <a:pt x="2294" y="307"/>
                </a:lnTo>
                <a:lnTo>
                  <a:pt x="2294" y="307"/>
                </a:lnTo>
                <a:lnTo>
                  <a:pt x="2301" y="307"/>
                </a:lnTo>
                <a:lnTo>
                  <a:pt x="2301" y="299"/>
                </a:lnTo>
                <a:lnTo>
                  <a:pt x="2309" y="299"/>
                </a:lnTo>
                <a:lnTo>
                  <a:pt x="2309" y="299"/>
                </a:lnTo>
                <a:lnTo>
                  <a:pt x="2317" y="299"/>
                </a:lnTo>
                <a:lnTo>
                  <a:pt x="2317" y="299"/>
                </a:lnTo>
                <a:lnTo>
                  <a:pt x="2317" y="299"/>
                </a:lnTo>
                <a:lnTo>
                  <a:pt x="2317" y="299"/>
                </a:lnTo>
                <a:lnTo>
                  <a:pt x="2324" y="299"/>
                </a:lnTo>
                <a:lnTo>
                  <a:pt x="2324" y="299"/>
                </a:lnTo>
                <a:lnTo>
                  <a:pt x="2332" y="299"/>
                </a:lnTo>
                <a:lnTo>
                  <a:pt x="2332" y="299"/>
                </a:lnTo>
                <a:lnTo>
                  <a:pt x="2340" y="299"/>
                </a:lnTo>
                <a:lnTo>
                  <a:pt x="2340" y="299"/>
                </a:lnTo>
                <a:lnTo>
                  <a:pt x="2340" y="299"/>
                </a:lnTo>
                <a:lnTo>
                  <a:pt x="2340" y="299"/>
                </a:lnTo>
                <a:lnTo>
                  <a:pt x="2347" y="299"/>
                </a:lnTo>
                <a:lnTo>
                  <a:pt x="2347" y="299"/>
                </a:lnTo>
                <a:lnTo>
                  <a:pt x="2355" y="299"/>
                </a:lnTo>
                <a:lnTo>
                  <a:pt x="2355" y="299"/>
                </a:lnTo>
                <a:lnTo>
                  <a:pt x="2363" y="299"/>
                </a:lnTo>
                <a:lnTo>
                  <a:pt x="2363" y="299"/>
                </a:lnTo>
                <a:lnTo>
                  <a:pt x="2378" y="299"/>
                </a:lnTo>
                <a:lnTo>
                  <a:pt x="2378" y="299"/>
                </a:lnTo>
                <a:lnTo>
                  <a:pt x="2386" y="299"/>
                </a:lnTo>
                <a:lnTo>
                  <a:pt x="2386" y="299"/>
                </a:lnTo>
                <a:lnTo>
                  <a:pt x="2394" y="299"/>
                </a:lnTo>
                <a:lnTo>
                  <a:pt x="2394" y="299"/>
                </a:lnTo>
                <a:lnTo>
                  <a:pt x="2394" y="299"/>
                </a:lnTo>
                <a:lnTo>
                  <a:pt x="2394" y="299"/>
                </a:lnTo>
                <a:lnTo>
                  <a:pt x="2401" y="299"/>
                </a:lnTo>
                <a:lnTo>
                  <a:pt x="2401" y="299"/>
                </a:lnTo>
                <a:lnTo>
                  <a:pt x="2409" y="299"/>
                </a:lnTo>
                <a:lnTo>
                  <a:pt x="2409" y="299"/>
                </a:lnTo>
                <a:lnTo>
                  <a:pt x="2417" y="299"/>
                </a:lnTo>
                <a:lnTo>
                  <a:pt x="2417" y="299"/>
                </a:lnTo>
                <a:lnTo>
                  <a:pt x="2417" y="299"/>
                </a:lnTo>
                <a:lnTo>
                  <a:pt x="2417" y="299"/>
                </a:lnTo>
                <a:lnTo>
                  <a:pt x="2424" y="299"/>
                </a:lnTo>
                <a:lnTo>
                  <a:pt x="2424" y="299"/>
                </a:lnTo>
                <a:lnTo>
                  <a:pt x="2432" y="299"/>
                </a:lnTo>
                <a:lnTo>
                  <a:pt x="2432" y="299"/>
                </a:lnTo>
                <a:lnTo>
                  <a:pt x="2440" y="299"/>
                </a:lnTo>
                <a:lnTo>
                  <a:pt x="2440" y="299"/>
                </a:lnTo>
                <a:lnTo>
                  <a:pt x="2440" y="299"/>
                </a:lnTo>
                <a:lnTo>
                  <a:pt x="2440" y="299"/>
                </a:lnTo>
                <a:lnTo>
                  <a:pt x="2447" y="299"/>
                </a:lnTo>
                <a:lnTo>
                  <a:pt x="2447" y="299"/>
                </a:lnTo>
                <a:lnTo>
                  <a:pt x="2455" y="299"/>
                </a:lnTo>
                <a:lnTo>
                  <a:pt x="2455" y="299"/>
                </a:lnTo>
                <a:lnTo>
                  <a:pt x="2463" y="299"/>
                </a:lnTo>
                <a:lnTo>
                  <a:pt x="2463" y="292"/>
                </a:lnTo>
                <a:lnTo>
                  <a:pt x="2470" y="292"/>
                </a:lnTo>
                <a:lnTo>
                  <a:pt x="2470" y="292"/>
                </a:lnTo>
                <a:lnTo>
                  <a:pt x="2470" y="292"/>
                </a:lnTo>
                <a:lnTo>
                  <a:pt x="2470" y="292"/>
                </a:lnTo>
                <a:lnTo>
                  <a:pt x="2478" y="292"/>
                </a:lnTo>
                <a:lnTo>
                  <a:pt x="2478" y="292"/>
                </a:lnTo>
                <a:lnTo>
                  <a:pt x="2486" y="292"/>
                </a:lnTo>
                <a:lnTo>
                  <a:pt x="2486" y="292"/>
                </a:lnTo>
                <a:lnTo>
                  <a:pt x="2493" y="292"/>
                </a:lnTo>
                <a:lnTo>
                  <a:pt x="2493" y="292"/>
                </a:lnTo>
                <a:lnTo>
                  <a:pt x="2493" y="292"/>
                </a:lnTo>
                <a:lnTo>
                  <a:pt x="2493" y="292"/>
                </a:lnTo>
                <a:lnTo>
                  <a:pt x="2501" y="292"/>
                </a:lnTo>
                <a:lnTo>
                  <a:pt x="2501" y="292"/>
                </a:lnTo>
                <a:lnTo>
                  <a:pt x="2509" y="292"/>
                </a:lnTo>
                <a:lnTo>
                  <a:pt x="2509" y="292"/>
                </a:lnTo>
                <a:lnTo>
                  <a:pt x="2516" y="292"/>
                </a:lnTo>
                <a:lnTo>
                  <a:pt x="2516" y="292"/>
                </a:lnTo>
                <a:lnTo>
                  <a:pt x="2516" y="292"/>
                </a:lnTo>
                <a:lnTo>
                  <a:pt x="2516" y="292"/>
                </a:lnTo>
                <a:lnTo>
                  <a:pt x="2524" y="292"/>
                </a:lnTo>
                <a:lnTo>
                  <a:pt x="2524" y="292"/>
                </a:lnTo>
                <a:lnTo>
                  <a:pt x="2532" y="292"/>
                </a:lnTo>
                <a:lnTo>
                  <a:pt x="2532" y="292"/>
                </a:lnTo>
                <a:lnTo>
                  <a:pt x="2539" y="292"/>
                </a:lnTo>
                <a:lnTo>
                  <a:pt x="2539" y="292"/>
                </a:lnTo>
                <a:lnTo>
                  <a:pt x="2539" y="292"/>
                </a:lnTo>
                <a:lnTo>
                  <a:pt x="2539" y="292"/>
                </a:lnTo>
                <a:lnTo>
                  <a:pt x="2547" y="292"/>
                </a:lnTo>
                <a:lnTo>
                  <a:pt x="2547" y="292"/>
                </a:lnTo>
                <a:lnTo>
                  <a:pt x="2555" y="292"/>
                </a:lnTo>
                <a:lnTo>
                  <a:pt x="2555" y="284"/>
                </a:lnTo>
                <a:lnTo>
                  <a:pt x="2562" y="284"/>
                </a:lnTo>
                <a:lnTo>
                  <a:pt x="2562" y="284"/>
                </a:lnTo>
                <a:lnTo>
                  <a:pt x="2570" y="284"/>
                </a:lnTo>
                <a:lnTo>
                  <a:pt x="2570" y="284"/>
                </a:lnTo>
                <a:lnTo>
                  <a:pt x="2570" y="284"/>
                </a:lnTo>
                <a:lnTo>
                  <a:pt x="2570" y="284"/>
                </a:lnTo>
                <a:lnTo>
                  <a:pt x="2578" y="284"/>
                </a:lnTo>
                <a:lnTo>
                  <a:pt x="2578" y="284"/>
                </a:lnTo>
                <a:lnTo>
                  <a:pt x="2585" y="284"/>
                </a:lnTo>
                <a:lnTo>
                  <a:pt x="2585" y="284"/>
                </a:lnTo>
                <a:lnTo>
                  <a:pt x="2593" y="284"/>
                </a:lnTo>
                <a:lnTo>
                  <a:pt x="2593" y="284"/>
                </a:lnTo>
                <a:lnTo>
                  <a:pt x="2593" y="284"/>
                </a:lnTo>
                <a:lnTo>
                  <a:pt x="2593" y="276"/>
                </a:lnTo>
                <a:lnTo>
                  <a:pt x="2601" y="276"/>
                </a:lnTo>
                <a:lnTo>
                  <a:pt x="2601" y="276"/>
                </a:lnTo>
                <a:lnTo>
                  <a:pt x="2608" y="276"/>
                </a:lnTo>
                <a:lnTo>
                  <a:pt x="2608" y="276"/>
                </a:lnTo>
                <a:lnTo>
                  <a:pt x="2616" y="276"/>
                </a:lnTo>
                <a:lnTo>
                  <a:pt x="2616" y="276"/>
                </a:lnTo>
                <a:lnTo>
                  <a:pt x="2616" y="276"/>
                </a:lnTo>
                <a:lnTo>
                  <a:pt x="2616" y="276"/>
                </a:lnTo>
                <a:lnTo>
                  <a:pt x="2624" y="276"/>
                </a:lnTo>
                <a:lnTo>
                  <a:pt x="2624" y="276"/>
                </a:lnTo>
                <a:lnTo>
                  <a:pt x="2631" y="276"/>
                </a:lnTo>
                <a:lnTo>
                  <a:pt x="2631" y="276"/>
                </a:lnTo>
                <a:lnTo>
                  <a:pt x="2639" y="276"/>
                </a:lnTo>
                <a:lnTo>
                  <a:pt x="2639" y="276"/>
                </a:lnTo>
                <a:lnTo>
                  <a:pt x="2639" y="276"/>
                </a:lnTo>
                <a:lnTo>
                  <a:pt x="2639" y="276"/>
                </a:lnTo>
                <a:lnTo>
                  <a:pt x="2647" y="276"/>
                </a:lnTo>
                <a:lnTo>
                  <a:pt x="2647" y="276"/>
                </a:lnTo>
                <a:lnTo>
                  <a:pt x="2654" y="276"/>
                </a:lnTo>
                <a:lnTo>
                  <a:pt x="2654" y="276"/>
                </a:lnTo>
                <a:lnTo>
                  <a:pt x="2662" y="276"/>
                </a:lnTo>
                <a:lnTo>
                  <a:pt x="2662" y="276"/>
                </a:lnTo>
                <a:lnTo>
                  <a:pt x="2670" y="276"/>
                </a:lnTo>
                <a:lnTo>
                  <a:pt x="2670" y="276"/>
                </a:lnTo>
                <a:lnTo>
                  <a:pt x="2670" y="276"/>
                </a:lnTo>
                <a:lnTo>
                  <a:pt x="2670" y="276"/>
                </a:lnTo>
                <a:lnTo>
                  <a:pt x="2677" y="276"/>
                </a:lnTo>
                <a:lnTo>
                  <a:pt x="2677" y="276"/>
                </a:lnTo>
                <a:lnTo>
                  <a:pt x="2685" y="276"/>
                </a:lnTo>
                <a:lnTo>
                  <a:pt x="2685" y="276"/>
                </a:lnTo>
                <a:lnTo>
                  <a:pt x="2693" y="276"/>
                </a:lnTo>
                <a:lnTo>
                  <a:pt x="2693" y="276"/>
                </a:lnTo>
                <a:lnTo>
                  <a:pt x="2693" y="276"/>
                </a:lnTo>
                <a:lnTo>
                  <a:pt x="2693" y="276"/>
                </a:lnTo>
                <a:lnTo>
                  <a:pt x="2700" y="276"/>
                </a:lnTo>
                <a:lnTo>
                  <a:pt x="2700" y="269"/>
                </a:lnTo>
                <a:lnTo>
                  <a:pt x="2708" y="269"/>
                </a:lnTo>
                <a:lnTo>
                  <a:pt x="2708" y="269"/>
                </a:lnTo>
                <a:lnTo>
                  <a:pt x="2716" y="269"/>
                </a:lnTo>
                <a:lnTo>
                  <a:pt x="2716" y="269"/>
                </a:lnTo>
                <a:lnTo>
                  <a:pt x="2716" y="269"/>
                </a:lnTo>
                <a:lnTo>
                  <a:pt x="2716" y="269"/>
                </a:lnTo>
                <a:lnTo>
                  <a:pt x="2723" y="269"/>
                </a:lnTo>
                <a:lnTo>
                  <a:pt x="2723" y="269"/>
                </a:lnTo>
                <a:lnTo>
                  <a:pt x="2731" y="269"/>
                </a:lnTo>
                <a:lnTo>
                  <a:pt x="2731" y="269"/>
                </a:lnTo>
                <a:lnTo>
                  <a:pt x="2739" y="269"/>
                </a:lnTo>
                <a:lnTo>
                  <a:pt x="2739" y="269"/>
                </a:lnTo>
                <a:lnTo>
                  <a:pt x="2746" y="269"/>
                </a:lnTo>
                <a:lnTo>
                  <a:pt x="2746" y="269"/>
                </a:lnTo>
                <a:lnTo>
                  <a:pt x="2746" y="269"/>
                </a:lnTo>
                <a:lnTo>
                  <a:pt x="2746" y="269"/>
                </a:lnTo>
                <a:lnTo>
                  <a:pt x="2754" y="269"/>
                </a:lnTo>
                <a:lnTo>
                  <a:pt x="2754" y="269"/>
                </a:lnTo>
                <a:lnTo>
                  <a:pt x="2762" y="269"/>
                </a:lnTo>
                <a:lnTo>
                  <a:pt x="2762" y="269"/>
                </a:lnTo>
                <a:lnTo>
                  <a:pt x="2769" y="269"/>
                </a:lnTo>
                <a:lnTo>
                  <a:pt x="2769" y="269"/>
                </a:lnTo>
                <a:lnTo>
                  <a:pt x="2769" y="269"/>
                </a:lnTo>
                <a:lnTo>
                  <a:pt x="2769" y="261"/>
                </a:lnTo>
                <a:lnTo>
                  <a:pt x="2777" y="261"/>
                </a:lnTo>
                <a:lnTo>
                  <a:pt x="2777" y="261"/>
                </a:lnTo>
                <a:lnTo>
                  <a:pt x="2785" y="261"/>
                </a:lnTo>
                <a:lnTo>
                  <a:pt x="2785" y="261"/>
                </a:lnTo>
                <a:lnTo>
                  <a:pt x="2792" y="261"/>
                </a:lnTo>
                <a:lnTo>
                  <a:pt x="2792" y="261"/>
                </a:lnTo>
                <a:lnTo>
                  <a:pt x="2792" y="261"/>
                </a:lnTo>
                <a:lnTo>
                  <a:pt x="2792" y="261"/>
                </a:lnTo>
                <a:lnTo>
                  <a:pt x="2800" y="261"/>
                </a:lnTo>
                <a:lnTo>
                  <a:pt x="2800" y="261"/>
                </a:lnTo>
                <a:lnTo>
                  <a:pt x="2808" y="261"/>
                </a:lnTo>
                <a:lnTo>
                  <a:pt x="2808" y="261"/>
                </a:lnTo>
                <a:lnTo>
                  <a:pt x="2815" y="261"/>
                </a:lnTo>
                <a:lnTo>
                  <a:pt x="2815" y="253"/>
                </a:lnTo>
                <a:lnTo>
                  <a:pt x="2815" y="253"/>
                </a:lnTo>
                <a:lnTo>
                  <a:pt x="2815" y="253"/>
                </a:lnTo>
                <a:lnTo>
                  <a:pt x="2823" y="253"/>
                </a:lnTo>
                <a:lnTo>
                  <a:pt x="2823" y="253"/>
                </a:lnTo>
                <a:lnTo>
                  <a:pt x="2831" y="253"/>
                </a:lnTo>
                <a:lnTo>
                  <a:pt x="2831" y="253"/>
                </a:lnTo>
                <a:lnTo>
                  <a:pt x="2838" y="253"/>
                </a:lnTo>
                <a:lnTo>
                  <a:pt x="2838" y="253"/>
                </a:lnTo>
                <a:lnTo>
                  <a:pt x="2846" y="253"/>
                </a:lnTo>
                <a:lnTo>
                  <a:pt x="2846" y="253"/>
                </a:lnTo>
                <a:lnTo>
                  <a:pt x="2846" y="253"/>
                </a:lnTo>
                <a:lnTo>
                  <a:pt x="2846" y="253"/>
                </a:lnTo>
                <a:lnTo>
                  <a:pt x="2854" y="253"/>
                </a:lnTo>
                <a:lnTo>
                  <a:pt x="2854" y="253"/>
                </a:lnTo>
                <a:lnTo>
                  <a:pt x="2861" y="253"/>
                </a:lnTo>
                <a:lnTo>
                  <a:pt x="2861" y="253"/>
                </a:lnTo>
                <a:lnTo>
                  <a:pt x="2869" y="253"/>
                </a:lnTo>
                <a:lnTo>
                  <a:pt x="2869" y="253"/>
                </a:lnTo>
                <a:lnTo>
                  <a:pt x="2869" y="253"/>
                </a:lnTo>
                <a:lnTo>
                  <a:pt x="2869" y="253"/>
                </a:lnTo>
                <a:lnTo>
                  <a:pt x="2877" y="253"/>
                </a:lnTo>
                <a:lnTo>
                  <a:pt x="2877" y="253"/>
                </a:lnTo>
                <a:lnTo>
                  <a:pt x="2884" y="253"/>
                </a:lnTo>
                <a:lnTo>
                  <a:pt x="2884" y="253"/>
                </a:lnTo>
                <a:lnTo>
                  <a:pt x="2892" y="253"/>
                </a:lnTo>
                <a:lnTo>
                  <a:pt x="2892" y="253"/>
                </a:lnTo>
                <a:lnTo>
                  <a:pt x="2892" y="253"/>
                </a:lnTo>
                <a:lnTo>
                  <a:pt x="2892" y="253"/>
                </a:lnTo>
                <a:lnTo>
                  <a:pt x="2900" y="253"/>
                </a:lnTo>
                <a:lnTo>
                  <a:pt x="2900" y="253"/>
                </a:lnTo>
                <a:lnTo>
                  <a:pt x="2907" y="253"/>
                </a:lnTo>
                <a:lnTo>
                  <a:pt x="2907" y="253"/>
                </a:lnTo>
                <a:lnTo>
                  <a:pt x="2915" y="253"/>
                </a:lnTo>
                <a:lnTo>
                  <a:pt x="2915" y="253"/>
                </a:lnTo>
                <a:lnTo>
                  <a:pt x="2923" y="253"/>
                </a:lnTo>
                <a:lnTo>
                  <a:pt x="2923" y="246"/>
                </a:lnTo>
                <a:lnTo>
                  <a:pt x="2923" y="246"/>
                </a:lnTo>
                <a:lnTo>
                  <a:pt x="2923" y="246"/>
                </a:lnTo>
                <a:lnTo>
                  <a:pt x="2930" y="246"/>
                </a:lnTo>
                <a:lnTo>
                  <a:pt x="2930" y="246"/>
                </a:lnTo>
                <a:lnTo>
                  <a:pt x="2938" y="246"/>
                </a:lnTo>
                <a:lnTo>
                  <a:pt x="2938" y="246"/>
                </a:lnTo>
                <a:lnTo>
                  <a:pt x="2946" y="246"/>
                </a:lnTo>
                <a:lnTo>
                  <a:pt x="2946" y="238"/>
                </a:lnTo>
                <a:lnTo>
                  <a:pt x="2946" y="238"/>
                </a:lnTo>
                <a:lnTo>
                  <a:pt x="2946" y="238"/>
                </a:lnTo>
                <a:lnTo>
                  <a:pt x="2953" y="238"/>
                </a:lnTo>
                <a:lnTo>
                  <a:pt x="2953" y="238"/>
                </a:lnTo>
                <a:lnTo>
                  <a:pt x="2961" y="238"/>
                </a:lnTo>
                <a:lnTo>
                  <a:pt x="2961" y="238"/>
                </a:lnTo>
                <a:lnTo>
                  <a:pt x="2969" y="238"/>
                </a:lnTo>
                <a:lnTo>
                  <a:pt x="2969" y="238"/>
                </a:lnTo>
                <a:lnTo>
                  <a:pt x="2969" y="238"/>
                </a:lnTo>
                <a:lnTo>
                  <a:pt x="2969" y="238"/>
                </a:lnTo>
                <a:lnTo>
                  <a:pt x="2976" y="238"/>
                </a:lnTo>
                <a:lnTo>
                  <a:pt x="2976" y="238"/>
                </a:lnTo>
                <a:lnTo>
                  <a:pt x="2984" y="238"/>
                </a:lnTo>
                <a:lnTo>
                  <a:pt x="2984" y="238"/>
                </a:lnTo>
                <a:lnTo>
                  <a:pt x="2992" y="238"/>
                </a:lnTo>
                <a:lnTo>
                  <a:pt x="2992" y="238"/>
                </a:lnTo>
                <a:lnTo>
                  <a:pt x="2992" y="238"/>
                </a:lnTo>
                <a:lnTo>
                  <a:pt x="2992" y="230"/>
                </a:lnTo>
                <a:lnTo>
                  <a:pt x="3000" y="230"/>
                </a:lnTo>
                <a:lnTo>
                  <a:pt x="3000" y="230"/>
                </a:lnTo>
                <a:lnTo>
                  <a:pt x="3007" y="230"/>
                </a:lnTo>
                <a:lnTo>
                  <a:pt x="3007" y="230"/>
                </a:lnTo>
                <a:lnTo>
                  <a:pt x="3015" y="230"/>
                </a:lnTo>
                <a:lnTo>
                  <a:pt x="3015" y="230"/>
                </a:lnTo>
                <a:lnTo>
                  <a:pt x="3023" y="230"/>
                </a:lnTo>
                <a:lnTo>
                  <a:pt x="3023" y="230"/>
                </a:lnTo>
                <a:lnTo>
                  <a:pt x="3023" y="230"/>
                </a:lnTo>
                <a:lnTo>
                  <a:pt x="3023" y="230"/>
                </a:lnTo>
                <a:lnTo>
                  <a:pt x="3030" y="230"/>
                </a:lnTo>
                <a:lnTo>
                  <a:pt x="3030" y="223"/>
                </a:lnTo>
                <a:lnTo>
                  <a:pt x="3038" y="223"/>
                </a:lnTo>
                <a:lnTo>
                  <a:pt x="3038" y="223"/>
                </a:lnTo>
                <a:lnTo>
                  <a:pt x="3046" y="223"/>
                </a:lnTo>
                <a:lnTo>
                  <a:pt x="3046" y="223"/>
                </a:lnTo>
                <a:lnTo>
                  <a:pt x="3046" y="223"/>
                </a:lnTo>
                <a:lnTo>
                  <a:pt x="3046" y="215"/>
                </a:lnTo>
                <a:lnTo>
                  <a:pt x="3053" y="215"/>
                </a:lnTo>
                <a:lnTo>
                  <a:pt x="3053" y="215"/>
                </a:lnTo>
                <a:lnTo>
                  <a:pt x="3061" y="215"/>
                </a:lnTo>
                <a:lnTo>
                  <a:pt x="3061" y="215"/>
                </a:lnTo>
                <a:lnTo>
                  <a:pt x="3069" y="215"/>
                </a:lnTo>
                <a:lnTo>
                  <a:pt x="3069" y="215"/>
                </a:lnTo>
                <a:lnTo>
                  <a:pt x="3069" y="215"/>
                </a:lnTo>
                <a:lnTo>
                  <a:pt x="3069" y="215"/>
                </a:lnTo>
                <a:lnTo>
                  <a:pt x="3076" y="215"/>
                </a:lnTo>
                <a:lnTo>
                  <a:pt x="3076" y="207"/>
                </a:lnTo>
                <a:lnTo>
                  <a:pt x="3084" y="207"/>
                </a:lnTo>
                <a:lnTo>
                  <a:pt x="3084" y="207"/>
                </a:lnTo>
                <a:lnTo>
                  <a:pt x="3092" y="207"/>
                </a:lnTo>
                <a:lnTo>
                  <a:pt x="3092" y="207"/>
                </a:lnTo>
                <a:lnTo>
                  <a:pt x="3099" y="207"/>
                </a:lnTo>
                <a:lnTo>
                  <a:pt x="3099" y="207"/>
                </a:lnTo>
                <a:lnTo>
                  <a:pt x="3099" y="207"/>
                </a:lnTo>
                <a:lnTo>
                  <a:pt x="3099" y="207"/>
                </a:lnTo>
                <a:lnTo>
                  <a:pt x="3107" y="207"/>
                </a:lnTo>
                <a:lnTo>
                  <a:pt x="3107" y="207"/>
                </a:lnTo>
                <a:lnTo>
                  <a:pt x="3115" y="207"/>
                </a:lnTo>
                <a:lnTo>
                  <a:pt x="3115" y="207"/>
                </a:lnTo>
                <a:lnTo>
                  <a:pt x="3122" y="207"/>
                </a:lnTo>
                <a:lnTo>
                  <a:pt x="3122" y="207"/>
                </a:lnTo>
                <a:lnTo>
                  <a:pt x="3122" y="207"/>
                </a:lnTo>
                <a:lnTo>
                  <a:pt x="3122" y="207"/>
                </a:lnTo>
                <a:lnTo>
                  <a:pt x="3130" y="207"/>
                </a:lnTo>
                <a:lnTo>
                  <a:pt x="3130" y="200"/>
                </a:lnTo>
                <a:lnTo>
                  <a:pt x="3138" y="200"/>
                </a:lnTo>
                <a:lnTo>
                  <a:pt x="3138" y="200"/>
                </a:lnTo>
                <a:lnTo>
                  <a:pt x="3145" y="200"/>
                </a:lnTo>
                <a:lnTo>
                  <a:pt x="3145" y="200"/>
                </a:lnTo>
                <a:lnTo>
                  <a:pt x="3145" y="200"/>
                </a:lnTo>
                <a:lnTo>
                  <a:pt x="3145" y="200"/>
                </a:lnTo>
                <a:lnTo>
                  <a:pt x="3153" y="200"/>
                </a:lnTo>
                <a:lnTo>
                  <a:pt x="3153" y="192"/>
                </a:lnTo>
                <a:lnTo>
                  <a:pt x="3161" y="192"/>
                </a:lnTo>
                <a:lnTo>
                  <a:pt x="3161" y="192"/>
                </a:lnTo>
                <a:lnTo>
                  <a:pt x="3168" y="192"/>
                </a:lnTo>
                <a:lnTo>
                  <a:pt x="3168" y="184"/>
                </a:lnTo>
                <a:lnTo>
                  <a:pt x="3168" y="184"/>
                </a:lnTo>
                <a:lnTo>
                  <a:pt x="3168" y="177"/>
                </a:lnTo>
                <a:lnTo>
                  <a:pt x="3176" y="177"/>
                </a:lnTo>
                <a:lnTo>
                  <a:pt x="3176" y="177"/>
                </a:lnTo>
                <a:lnTo>
                  <a:pt x="3184" y="177"/>
                </a:lnTo>
                <a:lnTo>
                  <a:pt x="3184" y="169"/>
                </a:lnTo>
                <a:lnTo>
                  <a:pt x="3191" y="169"/>
                </a:lnTo>
                <a:lnTo>
                  <a:pt x="3191" y="169"/>
                </a:lnTo>
                <a:lnTo>
                  <a:pt x="3199" y="169"/>
                </a:lnTo>
                <a:lnTo>
                  <a:pt x="3199" y="169"/>
                </a:lnTo>
                <a:lnTo>
                  <a:pt x="3199" y="169"/>
                </a:lnTo>
                <a:lnTo>
                  <a:pt x="3199" y="169"/>
                </a:lnTo>
                <a:lnTo>
                  <a:pt x="3207" y="169"/>
                </a:lnTo>
                <a:lnTo>
                  <a:pt x="3207" y="161"/>
                </a:lnTo>
                <a:lnTo>
                  <a:pt x="3214" y="161"/>
                </a:lnTo>
                <a:lnTo>
                  <a:pt x="3214" y="154"/>
                </a:lnTo>
                <a:lnTo>
                  <a:pt x="3222" y="154"/>
                </a:lnTo>
                <a:lnTo>
                  <a:pt x="3222" y="154"/>
                </a:lnTo>
                <a:lnTo>
                  <a:pt x="3222" y="154"/>
                </a:lnTo>
                <a:lnTo>
                  <a:pt x="3222" y="146"/>
                </a:lnTo>
                <a:lnTo>
                  <a:pt x="3230" y="146"/>
                </a:lnTo>
                <a:lnTo>
                  <a:pt x="3230" y="146"/>
                </a:lnTo>
                <a:lnTo>
                  <a:pt x="3237" y="146"/>
                </a:lnTo>
                <a:lnTo>
                  <a:pt x="3237" y="146"/>
                </a:lnTo>
                <a:lnTo>
                  <a:pt x="3245" y="146"/>
                </a:lnTo>
                <a:lnTo>
                  <a:pt x="3245" y="138"/>
                </a:lnTo>
                <a:lnTo>
                  <a:pt x="3245" y="138"/>
                </a:lnTo>
                <a:lnTo>
                  <a:pt x="3245" y="138"/>
                </a:lnTo>
                <a:lnTo>
                  <a:pt x="3253" y="138"/>
                </a:lnTo>
                <a:lnTo>
                  <a:pt x="3253" y="131"/>
                </a:lnTo>
                <a:lnTo>
                  <a:pt x="3260" y="131"/>
                </a:lnTo>
                <a:lnTo>
                  <a:pt x="3260" y="131"/>
                </a:lnTo>
                <a:lnTo>
                  <a:pt x="3268" y="131"/>
                </a:lnTo>
                <a:lnTo>
                  <a:pt x="3268" y="131"/>
                </a:lnTo>
                <a:lnTo>
                  <a:pt x="3276" y="131"/>
                </a:lnTo>
                <a:lnTo>
                  <a:pt x="3276" y="131"/>
                </a:lnTo>
                <a:lnTo>
                  <a:pt x="3276" y="131"/>
                </a:lnTo>
                <a:lnTo>
                  <a:pt x="3276" y="131"/>
                </a:lnTo>
                <a:lnTo>
                  <a:pt x="3283" y="131"/>
                </a:lnTo>
                <a:lnTo>
                  <a:pt x="3283" y="123"/>
                </a:lnTo>
                <a:lnTo>
                  <a:pt x="3291" y="123"/>
                </a:lnTo>
                <a:lnTo>
                  <a:pt x="3291" y="123"/>
                </a:lnTo>
                <a:lnTo>
                  <a:pt x="3299" y="123"/>
                </a:lnTo>
                <a:lnTo>
                  <a:pt x="3299" y="115"/>
                </a:lnTo>
                <a:lnTo>
                  <a:pt x="3299" y="115"/>
                </a:lnTo>
                <a:lnTo>
                  <a:pt x="3299" y="115"/>
                </a:lnTo>
                <a:lnTo>
                  <a:pt x="3306" y="115"/>
                </a:lnTo>
                <a:lnTo>
                  <a:pt x="3306" y="115"/>
                </a:lnTo>
                <a:lnTo>
                  <a:pt x="3314" y="115"/>
                </a:lnTo>
                <a:lnTo>
                  <a:pt x="3314" y="115"/>
                </a:lnTo>
                <a:lnTo>
                  <a:pt x="3322" y="115"/>
                </a:lnTo>
                <a:lnTo>
                  <a:pt x="3322" y="115"/>
                </a:lnTo>
                <a:lnTo>
                  <a:pt x="3322" y="115"/>
                </a:lnTo>
                <a:lnTo>
                  <a:pt x="3322" y="115"/>
                </a:lnTo>
                <a:lnTo>
                  <a:pt x="3329" y="115"/>
                </a:lnTo>
                <a:lnTo>
                  <a:pt x="3329" y="108"/>
                </a:lnTo>
                <a:lnTo>
                  <a:pt x="3337" y="108"/>
                </a:lnTo>
                <a:lnTo>
                  <a:pt x="3337" y="108"/>
                </a:lnTo>
                <a:lnTo>
                  <a:pt x="3345" y="108"/>
                </a:lnTo>
                <a:lnTo>
                  <a:pt x="3345" y="108"/>
                </a:lnTo>
                <a:lnTo>
                  <a:pt x="3345" y="108"/>
                </a:lnTo>
                <a:lnTo>
                  <a:pt x="3345" y="100"/>
                </a:lnTo>
                <a:lnTo>
                  <a:pt x="3352" y="100"/>
                </a:lnTo>
                <a:lnTo>
                  <a:pt x="3352" y="100"/>
                </a:lnTo>
                <a:lnTo>
                  <a:pt x="3360" y="100"/>
                </a:lnTo>
                <a:lnTo>
                  <a:pt x="3360" y="100"/>
                </a:lnTo>
                <a:lnTo>
                  <a:pt x="3368" y="100"/>
                </a:lnTo>
                <a:lnTo>
                  <a:pt x="3368" y="92"/>
                </a:lnTo>
                <a:lnTo>
                  <a:pt x="3375" y="92"/>
                </a:lnTo>
                <a:lnTo>
                  <a:pt x="3375" y="92"/>
                </a:lnTo>
                <a:lnTo>
                  <a:pt x="3375" y="92"/>
                </a:lnTo>
                <a:lnTo>
                  <a:pt x="3375" y="92"/>
                </a:lnTo>
                <a:lnTo>
                  <a:pt x="3383" y="92"/>
                </a:lnTo>
                <a:lnTo>
                  <a:pt x="3383" y="92"/>
                </a:lnTo>
                <a:lnTo>
                  <a:pt x="3391" y="92"/>
                </a:lnTo>
                <a:lnTo>
                  <a:pt x="3391" y="85"/>
                </a:lnTo>
                <a:lnTo>
                  <a:pt x="3398" y="85"/>
                </a:lnTo>
                <a:lnTo>
                  <a:pt x="3398" y="85"/>
                </a:lnTo>
                <a:lnTo>
                  <a:pt x="3398" y="85"/>
                </a:lnTo>
                <a:lnTo>
                  <a:pt x="3398" y="77"/>
                </a:lnTo>
                <a:lnTo>
                  <a:pt x="3406" y="77"/>
                </a:lnTo>
                <a:lnTo>
                  <a:pt x="3406" y="77"/>
                </a:lnTo>
                <a:lnTo>
                  <a:pt x="3414" y="77"/>
                </a:lnTo>
                <a:lnTo>
                  <a:pt x="3414" y="77"/>
                </a:lnTo>
                <a:lnTo>
                  <a:pt x="3421" y="77"/>
                </a:lnTo>
                <a:lnTo>
                  <a:pt x="3421" y="77"/>
                </a:lnTo>
                <a:lnTo>
                  <a:pt x="3421" y="77"/>
                </a:lnTo>
                <a:lnTo>
                  <a:pt x="3421" y="77"/>
                </a:lnTo>
                <a:lnTo>
                  <a:pt x="3429" y="77"/>
                </a:lnTo>
                <a:lnTo>
                  <a:pt x="3429" y="77"/>
                </a:lnTo>
                <a:lnTo>
                  <a:pt x="3437" y="77"/>
                </a:lnTo>
                <a:lnTo>
                  <a:pt x="3437" y="77"/>
                </a:lnTo>
                <a:lnTo>
                  <a:pt x="3444" y="77"/>
                </a:lnTo>
                <a:lnTo>
                  <a:pt x="3444" y="69"/>
                </a:lnTo>
                <a:lnTo>
                  <a:pt x="3444" y="69"/>
                </a:lnTo>
                <a:lnTo>
                  <a:pt x="3444" y="69"/>
                </a:lnTo>
                <a:lnTo>
                  <a:pt x="3452" y="69"/>
                </a:lnTo>
                <a:lnTo>
                  <a:pt x="3452" y="69"/>
                </a:lnTo>
                <a:lnTo>
                  <a:pt x="3460" y="69"/>
                </a:lnTo>
                <a:lnTo>
                  <a:pt x="3460" y="69"/>
                </a:lnTo>
                <a:lnTo>
                  <a:pt x="3467" y="69"/>
                </a:lnTo>
                <a:lnTo>
                  <a:pt x="3467" y="69"/>
                </a:lnTo>
                <a:lnTo>
                  <a:pt x="3475" y="69"/>
                </a:lnTo>
                <a:lnTo>
                  <a:pt x="3475" y="69"/>
                </a:lnTo>
                <a:lnTo>
                  <a:pt x="3475" y="69"/>
                </a:lnTo>
                <a:lnTo>
                  <a:pt x="3475" y="69"/>
                </a:lnTo>
                <a:lnTo>
                  <a:pt x="3483" y="69"/>
                </a:lnTo>
                <a:lnTo>
                  <a:pt x="3483" y="69"/>
                </a:lnTo>
                <a:lnTo>
                  <a:pt x="3490" y="69"/>
                </a:lnTo>
                <a:lnTo>
                  <a:pt x="3490" y="69"/>
                </a:lnTo>
                <a:lnTo>
                  <a:pt x="3498" y="69"/>
                </a:lnTo>
                <a:lnTo>
                  <a:pt x="3498" y="69"/>
                </a:lnTo>
                <a:lnTo>
                  <a:pt x="3498" y="69"/>
                </a:lnTo>
                <a:lnTo>
                  <a:pt x="3498" y="62"/>
                </a:lnTo>
                <a:lnTo>
                  <a:pt x="3506" y="62"/>
                </a:lnTo>
                <a:lnTo>
                  <a:pt x="3506" y="62"/>
                </a:lnTo>
                <a:lnTo>
                  <a:pt x="3513" y="62"/>
                </a:lnTo>
                <a:lnTo>
                  <a:pt x="3513" y="62"/>
                </a:lnTo>
                <a:lnTo>
                  <a:pt x="3521" y="62"/>
                </a:lnTo>
                <a:lnTo>
                  <a:pt x="3521" y="62"/>
                </a:lnTo>
                <a:lnTo>
                  <a:pt x="3521" y="62"/>
                </a:lnTo>
                <a:lnTo>
                  <a:pt x="3521" y="62"/>
                </a:lnTo>
                <a:lnTo>
                  <a:pt x="3529" y="62"/>
                </a:lnTo>
                <a:lnTo>
                  <a:pt x="3529" y="54"/>
                </a:lnTo>
                <a:lnTo>
                  <a:pt x="3536" y="54"/>
                </a:lnTo>
                <a:lnTo>
                  <a:pt x="3536" y="54"/>
                </a:lnTo>
                <a:lnTo>
                  <a:pt x="3544" y="54"/>
                </a:lnTo>
                <a:lnTo>
                  <a:pt x="3544" y="54"/>
                </a:lnTo>
                <a:lnTo>
                  <a:pt x="3552" y="54"/>
                </a:lnTo>
                <a:lnTo>
                  <a:pt x="3552" y="54"/>
                </a:lnTo>
                <a:lnTo>
                  <a:pt x="3552" y="54"/>
                </a:lnTo>
                <a:lnTo>
                  <a:pt x="3552" y="54"/>
                </a:lnTo>
                <a:lnTo>
                  <a:pt x="3559" y="54"/>
                </a:lnTo>
                <a:lnTo>
                  <a:pt x="3559" y="54"/>
                </a:lnTo>
                <a:lnTo>
                  <a:pt x="3567" y="54"/>
                </a:lnTo>
                <a:lnTo>
                  <a:pt x="3567" y="54"/>
                </a:lnTo>
                <a:lnTo>
                  <a:pt x="3575" y="54"/>
                </a:lnTo>
                <a:lnTo>
                  <a:pt x="3575" y="54"/>
                </a:lnTo>
                <a:lnTo>
                  <a:pt x="3575" y="54"/>
                </a:lnTo>
                <a:lnTo>
                  <a:pt x="3575" y="54"/>
                </a:lnTo>
                <a:lnTo>
                  <a:pt x="3582" y="54"/>
                </a:lnTo>
                <a:lnTo>
                  <a:pt x="3582" y="54"/>
                </a:lnTo>
                <a:lnTo>
                  <a:pt x="3590" y="54"/>
                </a:lnTo>
                <a:lnTo>
                  <a:pt x="3590" y="54"/>
                </a:lnTo>
                <a:lnTo>
                  <a:pt x="3598" y="54"/>
                </a:lnTo>
                <a:lnTo>
                  <a:pt x="3598" y="54"/>
                </a:lnTo>
                <a:lnTo>
                  <a:pt x="3598" y="54"/>
                </a:lnTo>
                <a:lnTo>
                  <a:pt x="3598" y="54"/>
                </a:lnTo>
                <a:lnTo>
                  <a:pt x="3606" y="54"/>
                </a:lnTo>
                <a:lnTo>
                  <a:pt x="3606" y="54"/>
                </a:lnTo>
                <a:lnTo>
                  <a:pt x="3613" y="54"/>
                </a:lnTo>
                <a:lnTo>
                  <a:pt x="3613" y="54"/>
                </a:lnTo>
                <a:lnTo>
                  <a:pt x="3621" y="54"/>
                </a:lnTo>
                <a:lnTo>
                  <a:pt x="3621" y="46"/>
                </a:lnTo>
                <a:lnTo>
                  <a:pt x="3621" y="46"/>
                </a:lnTo>
                <a:lnTo>
                  <a:pt x="3621" y="46"/>
                </a:lnTo>
                <a:lnTo>
                  <a:pt x="3629" y="46"/>
                </a:lnTo>
                <a:lnTo>
                  <a:pt x="3629" y="46"/>
                </a:lnTo>
                <a:lnTo>
                  <a:pt x="3636" y="46"/>
                </a:lnTo>
                <a:lnTo>
                  <a:pt x="3636" y="46"/>
                </a:lnTo>
                <a:lnTo>
                  <a:pt x="3644" y="46"/>
                </a:lnTo>
                <a:lnTo>
                  <a:pt x="3644" y="46"/>
                </a:lnTo>
                <a:lnTo>
                  <a:pt x="3652" y="46"/>
                </a:lnTo>
                <a:lnTo>
                  <a:pt x="3652" y="46"/>
                </a:lnTo>
                <a:lnTo>
                  <a:pt x="3652" y="46"/>
                </a:lnTo>
                <a:lnTo>
                  <a:pt x="3652" y="46"/>
                </a:lnTo>
                <a:lnTo>
                  <a:pt x="3659" y="46"/>
                </a:lnTo>
                <a:lnTo>
                  <a:pt x="3659" y="46"/>
                </a:lnTo>
                <a:lnTo>
                  <a:pt x="3667" y="46"/>
                </a:lnTo>
                <a:lnTo>
                  <a:pt x="3667" y="46"/>
                </a:lnTo>
                <a:lnTo>
                  <a:pt x="3675" y="46"/>
                </a:lnTo>
                <a:lnTo>
                  <a:pt x="3675" y="46"/>
                </a:lnTo>
                <a:lnTo>
                  <a:pt x="3675" y="46"/>
                </a:lnTo>
                <a:lnTo>
                  <a:pt x="3675" y="46"/>
                </a:lnTo>
                <a:lnTo>
                  <a:pt x="3682" y="46"/>
                </a:lnTo>
                <a:lnTo>
                  <a:pt x="3682" y="46"/>
                </a:lnTo>
                <a:lnTo>
                  <a:pt x="3690" y="46"/>
                </a:lnTo>
                <a:lnTo>
                  <a:pt x="3690" y="46"/>
                </a:lnTo>
                <a:lnTo>
                  <a:pt x="3698" y="46"/>
                </a:lnTo>
                <a:lnTo>
                  <a:pt x="3698" y="46"/>
                </a:lnTo>
                <a:lnTo>
                  <a:pt x="3698" y="46"/>
                </a:lnTo>
                <a:lnTo>
                  <a:pt x="3698" y="46"/>
                </a:lnTo>
                <a:lnTo>
                  <a:pt x="3705" y="46"/>
                </a:lnTo>
                <a:lnTo>
                  <a:pt x="3705" y="46"/>
                </a:lnTo>
                <a:lnTo>
                  <a:pt x="3713" y="46"/>
                </a:lnTo>
                <a:lnTo>
                  <a:pt x="3713" y="39"/>
                </a:lnTo>
                <a:lnTo>
                  <a:pt x="3721" y="39"/>
                </a:lnTo>
                <a:lnTo>
                  <a:pt x="3721" y="39"/>
                </a:lnTo>
                <a:lnTo>
                  <a:pt x="3728" y="39"/>
                </a:lnTo>
                <a:lnTo>
                  <a:pt x="3728" y="39"/>
                </a:lnTo>
                <a:lnTo>
                  <a:pt x="3728" y="39"/>
                </a:lnTo>
                <a:lnTo>
                  <a:pt x="3728" y="39"/>
                </a:lnTo>
                <a:lnTo>
                  <a:pt x="3736" y="39"/>
                </a:lnTo>
                <a:lnTo>
                  <a:pt x="3736" y="39"/>
                </a:lnTo>
                <a:lnTo>
                  <a:pt x="3744" y="39"/>
                </a:lnTo>
                <a:lnTo>
                  <a:pt x="3744" y="39"/>
                </a:lnTo>
                <a:lnTo>
                  <a:pt x="3751" y="39"/>
                </a:lnTo>
                <a:lnTo>
                  <a:pt x="3751" y="39"/>
                </a:lnTo>
                <a:lnTo>
                  <a:pt x="3751" y="39"/>
                </a:lnTo>
                <a:lnTo>
                  <a:pt x="3751" y="39"/>
                </a:lnTo>
                <a:lnTo>
                  <a:pt x="3759" y="39"/>
                </a:lnTo>
                <a:lnTo>
                  <a:pt x="3759" y="39"/>
                </a:lnTo>
                <a:lnTo>
                  <a:pt x="3767" y="39"/>
                </a:lnTo>
                <a:lnTo>
                  <a:pt x="3767" y="39"/>
                </a:lnTo>
                <a:lnTo>
                  <a:pt x="3774" y="39"/>
                </a:lnTo>
                <a:lnTo>
                  <a:pt x="3774" y="39"/>
                </a:lnTo>
                <a:lnTo>
                  <a:pt x="3774" y="39"/>
                </a:lnTo>
                <a:lnTo>
                  <a:pt x="3774" y="39"/>
                </a:lnTo>
                <a:lnTo>
                  <a:pt x="3782" y="39"/>
                </a:lnTo>
                <a:lnTo>
                  <a:pt x="3782" y="39"/>
                </a:lnTo>
                <a:lnTo>
                  <a:pt x="3790" y="39"/>
                </a:lnTo>
                <a:lnTo>
                  <a:pt x="3790" y="31"/>
                </a:lnTo>
                <a:lnTo>
                  <a:pt x="3797" y="31"/>
                </a:lnTo>
                <a:lnTo>
                  <a:pt x="3797" y="31"/>
                </a:lnTo>
                <a:lnTo>
                  <a:pt x="3797" y="31"/>
                </a:lnTo>
                <a:lnTo>
                  <a:pt x="3797" y="31"/>
                </a:lnTo>
                <a:lnTo>
                  <a:pt x="3805" y="31"/>
                </a:lnTo>
                <a:lnTo>
                  <a:pt x="3805" y="31"/>
                </a:lnTo>
                <a:lnTo>
                  <a:pt x="3813" y="31"/>
                </a:lnTo>
                <a:lnTo>
                  <a:pt x="3813" y="31"/>
                </a:lnTo>
                <a:lnTo>
                  <a:pt x="3820" y="31"/>
                </a:lnTo>
                <a:lnTo>
                  <a:pt x="3820" y="31"/>
                </a:lnTo>
                <a:lnTo>
                  <a:pt x="3828" y="31"/>
                </a:lnTo>
                <a:lnTo>
                  <a:pt x="3828" y="31"/>
                </a:lnTo>
                <a:lnTo>
                  <a:pt x="3828" y="31"/>
                </a:lnTo>
                <a:lnTo>
                  <a:pt x="3828" y="31"/>
                </a:lnTo>
                <a:lnTo>
                  <a:pt x="3836" y="31"/>
                </a:lnTo>
                <a:lnTo>
                  <a:pt x="3836" y="31"/>
                </a:lnTo>
                <a:lnTo>
                  <a:pt x="3843" y="31"/>
                </a:lnTo>
                <a:lnTo>
                  <a:pt x="3843" y="31"/>
                </a:lnTo>
                <a:lnTo>
                  <a:pt x="3851" y="31"/>
                </a:lnTo>
                <a:lnTo>
                  <a:pt x="3851" y="31"/>
                </a:lnTo>
                <a:lnTo>
                  <a:pt x="3851" y="31"/>
                </a:lnTo>
                <a:lnTo>
                  <a:pt x="3851" y="31"/>
                </a:lnTo>
                <a:lnTo>
                  <a:pt x="3859" y="31"/>
                </a:lnTo>
                <a:lnTo>
                  <a:pt x="3859" y="31"/>
                </a:lnTo>
                <a:lnTo>
                  <a:pt x="3866" y="31"/>
                </a:lnTo>
                <a:lnTo>
                  <a:pt x="3866" y="23"/>
                </a:lnTo>
                <a:lnTo>
                  <a:pt x="3874" y="23"/>
                </a:lnTo>
                <a:lnTo>
                  <a:pt x="3874" y="23"/>
                </a:lnTo>
                <a:lnTo>
                  <a:pt x="3874" y="23"/>
                </a:lnTo>
                <a:lnTo>
                  <a:pt x="3874" y="23"/>
                </a:lnTo>
                <a:lnTo>
                  <a:pt x="3882" y="23"/>
                </a:lnTo>
                <a:lnTo>
                  <a:pt x="3882" y="23"/>
                </a:lnTo>
                <a:lnTo>
                  <a:pt x="3889" y="23"/>
                </a:lnTo>
                <a:lnTo>
                  <a:pt x="3889" y="23"/>
                </a:lnTo>
                <a:lnTo>
                  <a:pt x="3897" y="23"/>
                </a:lnTo>
                <a:lnTo>
                  <a:pt x="3897" y="23"/>
                </a:lnTo>
                <a:lnTo>
                  <a:pt x="3905" y="23"/>
                </a:lnTo>
                <a:lnTo>
                  <a:pt x="3905" y="23"/>
                </a:lnTo>
                <a:lnTo>
                  <a:pt x="3905" y="23"/>
                </a:lnTo>
                <a:lnTo>
                  <a:pt x="3905" y="23"/>
                </a:lnTo>
                <a:lnTo>
                  <a:pt x="3912" y="23"/>
                </a:lnTo>
                <a:lnTo>
                  <a:pt x="3912" y="16"/>
                </a:lnTo>
                <a:lnTo>
                  <a:pt x="3920" y="16"/>
                </a:lnTo>
                <a:lnTo>
                  <a:pt x="3920" y="16"/>
                </a:lnTo>
                <a:lnTo>
                  <a:pt x="3928" y="16"/>
                </a:lnTo>
                <a:lnTo>
                  <a:pt x="3928" y="16"/>
                </a:lnTo>
                <a:lnTo>
                  <a:pt x="3928" y="16"/>
                </a:lnTo>
                <a:lnTo>
                  <a:pt x="3928" y="16"/>
                </a:lnTo>
                <a:lnTo>
                  <a:pt x="3935" y="16"/>
                </a:lnTo>
                <a:lnTo>
                  <a:pt x="3935" y="16"/>
                </a:lnTo>
                <a:lnTo>
                  <a:pt x="3943" y="16"/>
                </a:lnTo>
                <a:lnTo>
                  <a:pt x="3943" y="16"/>
                </a:lnTo>
                <a:lnTo>
                  <a:pt x="3951" y="16"/>
                </a:lnTo>
                <a:lnTo>
                  <a:pt x="3951" y="16"/>
                </a:lnTo>
                <a:lnTo>
                  <a:pt x="3951" y="16"/>
                </a:lnTo>
                <a:lnTo>
                  <a:pt x="3951" y="16"/>
                </a:lnTo>
                <a:lnTo>
                  <a:pt x="3958" y="16"/>
                </a:lnTo>
                <a:lnTo>
                  <a:pt x="3958" y="16"/>
                </a:lnTo>
                <a:lnTo>
                  <a:pt x="3966" y="16"/>
                </a:lnTo>
                <a:lnTo>
                  <a:pt x="3966" y="16"/>
                </a:lnTo>
                <a:lnTo>
                  <a:pt x="3974" y="16"/>
                </a:lnTo>
                <a:lnTo>
                  <a:pt x="3974" y="16"/>
                </a:lnTo>
                <a:lnTo>
                  <a:pt x="3974" y="16"/>
                </a:lnTo>
                <a:lnTo>
                  <a:pt x="3974" y="16"/>
                </a:lnTo>
                <a:lnTo>
                  <a:pt x="3981" y="16"/>
                </a:lnTo>
                <a:lnTo>
                  <a:pt x="3981" y="16"/>
                </a:lnTo>
                <a:lnTo>
                  <a:pt x="3989" y="16"/>
                </a:lnTo>
                <a:lnTo>
                  <a:pt x="3989" y="16"/>
                </a:lnTo>
                <a:lnTo>
                  <a:pt x="3997" y="16"/>
                </a:lnTo>
                <a:lnTo>
                  <a:pt x="3997" y="16"/>
                </a:lnTo>
                <a:lnTo>
                  <a:pt x="4004" y="16"/>
                </a:lnTo>
                <a:lnTo>
                  <a:pt x="4004" y="16"/>
                </a:lnTo>
                <a:lnTo>
                  <a:pt x="4004" y="16"/>
                </a:lnTo>
                <a:lnTo>
                  <a:pt x="4004" y="16"/>
                </a:lnTo>
                <a:lnTo>
                  <a:pt x="4012" y="16"/>
                </a:lnTo>
                <a:lnTo>
                  <a:pt x="4012" y="16"/>
                </a:lnTo>
                <a:lnTo>
                  <a:pt x="4020" y="16"/>
                </a:lnTo>
                <a:lnTo>
                  <a:pt x="4020" y="16"/>
                </a:lnTo>
                <a:lnTo>
                  <a:pt x="4027" y="16"/>
                </a:lnTo>
                <a:lnTo>
                  <a:pt x="4027" y="16"/>
                </a:lnTo>
                <a:lnTo>
                  <a:pt x="4035" y="16"/>
                </a:lnTo>
                <a:lnTo>
                  <a:pt x="4035" y="8"/>
                </a:lnTo>
                <a:lnTo>
                  <a:pt x="4043" y="8"/>
                </a:lnTo>
                <a:lnTo>
                  <a:pt x="4043" y="8"/>
                </a:lnTo>
                <a:lnTo>
                  <a:pt x="4050" y="8"/>
                </a:lnTo>
                <a:lnTo>
                  <a:pt x="4050" y="8"/>
                </a:lnTo>
                <a:lnTo>
                  <a:pt x="4050" y="8"/>
                </a:lnTo>
                <a:lnTo>
                  <a:pt x="4050" y="8"/>
                </a:lnTo>
                <a:lnTo>
                  <a:pt x="4058" y="8"/>
                </a:lnTo>
                <a:lnTo>
                  <a:pt x="4058" y="8"/>
                </a:lnTo>
                <a:lnTo>
                  <a:pt x="4066" y="8"/>
                </a:lnTo>
                <a:lnTo>
                  <a:pt x="4066" y="8"/>
                </a:lnTo>
                <a:lnTo>
                  <a:pt x="4073" y="8"/>
                </a:lnTo>
                <a:lnTo>
                  <a:pt x="4073" y="8"/>
                </a:lnTo>
                <a:lnTo>
                  <a:pt x="4081" y="8"/>
                </a:lnTo>
                <a:lnTo>
                  <a:pt x="4081" y="0"/>
                </a:lnTo>
                <a:lnTo>
                  <a:pt x="4081" y="0"/>
                </a:lnTo>
                <a:lnTo>
                  <a:pt x="4081" y="0"/>
                </a:lnTo>
              </a:path>
            </a:pathLst>
          </a:custGeom>
          <a:noFill/>
          <a:ln w="25400" cap="sq">
            <a:solidFill>
              <a:srgbClr val="CE08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2" name="Freeform 41"/>
          <p:cNvSpPr>
            <a:spLocks/>
          </p:cNvSpPr>
          <p:nvPr/>
        </p:nvSpPr>
        <p:spPr bwMode="auto">
          <a:xfrm>
            <a:off x="8294687" y="4013200"/>
            <a:ext cx="2033588" cy="631825"/>
          </a:xfrm>
          <a:custGeom>
            <a:avLst/>
            <a:gdLst>
              <a:gd name="T0" fmla="*/ 23 w 1281"/>
              <a:gd name="T1" fmla="*/ 398 h 398"/>
              <a:gd name="T2" fmla="*/ 46 w 1281"/>
              <a:gd name="T3" fmla="*/ 383 h 398"/>
              <a:gd name="T4" fmla="*/ 61 w 1281"/>
              <a:gd name="T5" fmla="*/ 383 h 398"/>
              <a:gd name="T6" fmla="*/ 84 w 1281"/>
              <a:gd name="T7" fmla="*/ 375 h 398"/>
              <a:gd name="T8" fmla="*/ 100 w 1281"/>
              <a:gd name="T9" fmla="*/ 368 h 398"/>
              <a:gd name="T10" fmla="*/ 123 w 1281"/>
              <a:gd name="T11" fmla="*/ 360 h 398"/>
              <a:gd name="T12" fmla="*/ 146 w 1281"/>
              <a:gd name="T13" fmla="*/ 360 h 398"/>
              <a:gd name="T14" fmla="*/ 169 w 1281"/>
              <a:gd name="T15" fmla="*/ 352 h 398"/>
              <a:gd name="T16" fmla="*/ 184 w 1281"/>
              <a:gd name="T17" fmla="*/ 352 h 398"/>
              <a:gd name="T18" fmla="*/ 207 w 1281"/>
              <a:gd name="T19" fmla="*/ 337 h 398"/>
              <a:gd name="T20" fmla="*/ 223 w 1281"/>
              <a:gd name="T21" fmla="*/ 322 h 398"/>
              <a:gd name="T22" fmla="*/ 246 w 1281"/>
              <a:gd name="T23" fmla="*/ 314 h 398"/>
              <a:gd name="T24" fmla="*/ 269 w 1281"/>
              <a:gd name="T25" fmla="*/ 306 h 398"/>
              <a:gd name="T26" fmla="*/ 292 w 1281"/>
              <a:gd name="T27" fmla="*/ 299 h 398"/>
              <a:gd name="T28" fmla="*/ 307 w 1281"/>
              <a:gd name="T29" fmla="*/ 291 h 398"/>
              <a:gd name="T30" fmla="*/ 330 w 1281"/>
              <a:gd name="T31" fmla="*/ 291 h 398"/>
              <a:gd name="T32" fmla="*/ 345 w 1281"/>
              <a:gd name="T33" fmla="*/ 283 h 398"/>
              <a:gd name="T34" fmla="*/ 376 w 1281"/>
              <a:gd name="T35" fmla="*/ 276 h 398"/>
              <a:gd name="T36" fmla="*/ 391 w 1281"/>
              <a:gd name="T37" fmla="*/ 268 h 398"/>
              <a:gd name="T38" fmla="*/ 414 w 1281"/>
              <a:gd name="T39" fmla="*/ 268 h 398"/>
              <a:gd name="T40" fmla="*/ 430 w 1281"/>
              <a:gd name="T41" fmla="*/ 260 h 398"/>
              <a:gd name="T42" fmla="*/ 453 w 1281"/>
              <a:gd name="T43" fmla="*/ 260 h 398"/>
              <a:gd name="T44" fmla="*/ 476 w 1281"/>
              <a:gd name="T45" fmla="*/ 260 h 398"/>
              <a:gd name="T46" fmla="*/ 499 w 1281"/>
              <a:gd name="T47" fmla="*/ 260 h 398"/>
              <a:gd name="T48" fmla="*/ 514 w 1281"/>
              <a:gd name="T49" fmla="*/ 253 h 398"/>
              <a:gd name="T50" fmla="*/ 537 w 1281"/>
              <a:gd name="T51" fmla="*/ 245 h 398"/>
              <a:gd name="T52" fmla="*/ 552 w 1281"/>
              <a:gd name="T53" fmla="*/ 237 h 398"/>
              <a:gd name="T54" fmla="*/ 575 w 1281"/>
              <a:gd name="T55" fmla="*/ 237 h 398"/>
              <a:gd name="T56" fmla="*/ 598 w 1281"/>
              <a:gd name="T57" fmla="*/ 237 h 398"/>
              <a:gd name="T58" fmla="*/ 621 w 1281"/>
              <a:gd name="T59" fmla="*/ 230 h 398"/>
              <a:gd name="T60" fmla="*/ 637 w 1281"/>
              <a:gd name="T61" fmla="*/ 222 h 398"/>
              <a:gd name="T62" fmla="*/ 660 w 1281"/>
              <a:gd name="T63" fmla="*/ 214 h 398"/>
              <a:gd name="T64" fmla="*/ 683 w 1281"/>
              <a:gd name="T65" fmla="*/ 207 h 398"/>
              <a:gd name="T66" fmla="*/ 706 w 1281"/>
              <a:gd name="T67" fmla="*/ 199 h 398"/>
              <a:gd name="T68" fmla="*/ 729 w 1281"/>
              <a:gd name="T69" fmla="*/ 199 h 398"/>
              <a:gd name="T70" fmla="*/ 752 w 1281"/>
              <a:gd name="T71" fmla="*/ 199 h 398"/>
              <a:gd name="T72" fmla="*/ 767 w 1281"/>
              <a:gd name="T73" fmla="*/ 191 h 398"/>
              <a:gd name="T74" fmla="*/ 790 w 1281"/>
              <a:gd name="T75" fmla="*/ 191 h 398"/>
              <a:gd name="T76" fmla="*/ 806 w 1281"/>
              <a:gd name="T77" fmla="*/ 191 h 398"/>
              <a:gd name="T78" fmla="*/ 829 w 1281"/>
              <a:gd name="T79" fmla="*/ 191 h 398"/>
              <a:gd name="T80" fmla="*/ 852 w 1281"/>
              <a:gd name="T81" fmla="*/ 184 h 398"/>
              <a:gd name="T82" fmla="*/ 875 w 1281"/>
              <a:gd name="T83" fmla="*/ 176 h 398"/>
              <a:gd name="T84" fmla="*/ 890 w 1281"/>
              <a:gd name="T85" fmla="*/ 161 h 398"/>
              <a:gd name="T86" fmla="*/ 913 w 1281"/>
              <a:gd name="T87" fmla="*/ 153 h 398"/>
              <a:gd name="T88" fmla="*/ 928 w 1281"/>
              <a:gd name="T89" fmla="*/ 145 h 398"/>
              <a:gd name="T90" fmla="*/ 951 w 1281"/>
              <a:gd name="T91" fmla="*/ 145 h 398"/>
              <a:gd name="T92" fmla="*/ 974 w 1281"/>
              <a:gd name="T93" fmla="*/ 130 h 398"/>
              <a:gd name="T94" fmla="*/ 997 w 1281"/>
              <a:gd name="T95" fmla="*/ 130 h 398"/>
              <a:gd name="T96" fmla="*/ 1013 w 1281"/>
              <a:gd name="T97" fmla="*/ 123 h 398"/>
              <a:gd name="T98" fmla="*/ 1036 w 1281"/>
              <a:gd name="T99" fmla="*/ 123 h 398"/>
              <a:gd name="T100" fmla="*/ 1051 w 1281"/>
              <a:gd name="T101" fmla="*/ 115 h 398"/>
              <a:gd name="T102" fmla="*/ 1082 w 1281"/>
              <a:gd name="T103" fmla="*/ 100 h 398"/>
              <a:gd name="T104" fmla="*/ 1097 w 1281"/>
              <a:gd name="T105" fmla="*/ 92 h 398"/>
              <a:gd name="T106" fmla="*/ 1120 w 1281"/>
              <a:gd name="T107" fmla="*/ 92 h 398"/>
              <a:gd name="T108" fmla="*/ 1135 w 1281"/>
              <a:gd name="T109" fmla="*/ 92 h 398"/>
              <a:gd name="T110" fmla="*/ 1158 w 1281"/>
              <a:gd name="T111" fmla="*/ 84 h 398"/>
              <a:gd name="T112" fmla="*/ 1181 w 1281"/>
              <a:gd name="T113" fmla="*/ 84 h 398"/>
              <a:gd name="T114" fmla="*/ 1204 w 1281"/>
              <a:gd name="T115" fmla="*/ 77 h 398"/>
              <a:gd name="T116" fmla="*/ 1220 w 1281"/>
              <a:gd name="T117" fmla="*/ 61 h 398"/>
              <a:gd name="T118" fmla="*/ 1243 w 1281"/>
              <a:gd name="T119" fmla="*/ 54 h 398"/>
              <a:gd name="T120" fmla="*/ 1258 w 1281"/>
              <a:gd name="T121" fmla="*/ 31 h 398"/>
              <a:gd name="T122" fmla="*/ 1281 w 1281"/>
              <a:gd name="T123" fmla="*/ 0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81" h="398">
                <a:moveTo>
                  <a:pt x="0" y="398"/>
                </a:moveTo>
                <a:lnTo>
                  <a:pt x="8" y="398"/>
                </a:lnTo>
                <a:lnTo>
                  <a:pt x="8" y="398"/>
                </a:lnTo>
                <a:lnTo>
                  <a:pt x="15" y="398"/>
                </a:lnTo>
                <a:lnTo>
                  <a:pt x="15" y="398"/>
                </a:lnTo>
                <a:lnTo>
                  <a:pt x="23" y="398"/>
                </a:lnTo>
                <a:lnTo>
                  <a:pt x="23" y="398"/>
                </a:lnTo>
                <a:lnTo>
                  <a:pt x="23" y="398"/>
                </a:lnTo>
                <a:lnTo>
                  <a:pt x="23" y="391"/>
                </a:lnTo>
                <a:lnTo>
                  <a:pt x="31" y="391"/>
                </a:lnTo>
                <a:lnTo>
                  <a:pt x="31" y="391"/>
                </a:lnTo>
                <a:lnTo>
                  <a:pt x="38" y="391"/>
                </a:lnTo>
                <a:lnTo>
                  <a:pt x="38" y="383"/>
                </a:lnTo>
                <a:lnTo>
                  <a:pt x="46" y="383"/>
                </a:lnTo>
                <a:lnTo>
                  <a:pt x="46" y="383"/>
                </a:lnTo>
                <a:lnTo>
                  <a:pt x="46" y="383"/>
                </a:lnTo>
                <a:lnTo>
                  <a:pt x="46" y="383"/>
                </a:lnTo>
                <a:lnTo>
                  <a:pt x="54" y="383"/>
                </a:lnTo>
                <a:lnTo>
                  <a:pt x="54" y="383"/>
                </a:lnTo>
                <a:lnTo>
                  <a:pt x="61" y="383"/>
                </a:lnTo>
                <a:lnTo>
                  <a:pt x="61" y="383"/>
                </a:lnTo>
                <a:lnTo>
                  <a:pt x="69" y="383"/>
                </a:lnTo>
                <a:lnTo>
                  <a:pt x="69" y="383"/>
                </a:lnTo>
                <a:lnTo>
                  <a:pt x="69" y="383"/>
                </a:lnTo>
                <a:lnTo>
                  <a:pt x="69" y="375"/>
                </a:lnTo>
                <a:lnTo>
                  <a:pt x="77" y="375"/>
                </a:lnTo>
                <a:lnTo>
                  <a:pt x="77" y="375"/>
                </a:lnTo>
                <a:lnTo>
                  <a:pt x="84" y="375"/>
                </a:lnTo>
                <a:lnTo>
                  <a:pt x="84" y="375"/>
                </a:lnTo>
                <a:lnTo>
                  <a:pt x="92" y="375"/>
                </a:lnTo>
                <a:lnTo>
                  <a:pt x="92" y="368"/>
                </a:lnTo>
                <a:lnTo>
                  <a:pt x="100" y="368"/>
                </a:lnTo>
                <a:lnTo>
                  <a:pt x="100" y="368"/>
                </a:lnTo>
                <a:lnTo>
                  <a:pt x="100" y="368"/>
                </a:lnTo>
                <a:lnTo>
                  <a:pt x="100" y="368"/>
                </a:lnTo>
                <a:lnTo>
                  <a:pt x="107" y="368"/>
                </a:lnTo>
                <a:lnTo>
                  <a:pt x="107" y="360"/>
                </a:lnTo>
                <a:lnTo>
                  <a:pt x="115" y="360"/>
                </a:lnTo>
                <a:lnTo>
                  <a:pt x="115" y="360"/>
                </a:lnTo>
                <a:lnTo>
                  <a:pt x="123" y="360"/>
                </a:lnTo>
                <a:lnTo>
                  <a:pt x="123" y="360"/>
                </a:lnTo>
                <a:lnTo>
                  <a:pt x="123" y="360"/>
                </a:lnTo>
                <a:lnTo>
                  <a:pt x="123" y="360"/>
                </a:lnTo>
                <a:lnTo>
                  <a:pt x="130" y="360"/>
                </a:lnTo>
                <a:lnTo>
                  <a:pt x="130" y="360"/>
                </a:lnTo>
                <a:lnTo>
                  <a:pt x="138" y="360"/>
                </a:lnTo>
                <a:lnTo>
                  <a:pt x="138" y="360"/>
                </a:lnTo>
                <a:lnTo>
                  <a:pt x="146" y="360"/>
                </a:lnTo>
                <a:lnTo>
                  <a:pt x="146" y="360"/>
                </a:lnTo>
                <a:lnTo>
                  <a:pt x="146" y="360"/>
                </a:lnTo>
                <a:lnTo>
                  <a:pt x="146" y="360"/>
                </a:lnTo>
                <a:lnTo>
                  <a:pt x="154" y="360"/>
                </a:lnTo>
                <a:lnTo>
                  <a:pt x="154" y="352"/>
                </a:lnTo>
                <a:lnTo>
                  <a:pt x="161" y="352"/>
                </a:lnTo>
                <a:lnTo>
                  <a:pt x="161" y="352"/>
                </a:lnTo>
                <a:lnTo>
                  <a:pt x="169" y="352"/>
                </a:lnTo>
                <a:lnTo>
                  <a:pt x="169" y="352"/>
                </a:lnTo>
                <a:lnTo>
                  <a:pt x="169" y="352"/>
                </a:lnTo>
                <a:lnTo>
                  <a:pt x="169" y="352"/>
                </a:lnTo>
                <a:lnTo>
                  <a:pt x="177" y="352"/>
                </a:lnTo>
                <a:lnTo>
                  <a:pt x="177" y="352"/>
                </a:lnTo>
                <a:lnTo>
                  <a:pt x="184" y="352"/>
                </a:lnTo>
                <a:lnTo>
                  <a:pt x="184" y="352"/>
                </a:lnTo>
                <a:lnTo>
                  <a:pt x="192" y="352"/>
                </a:lnTo>
                <a:lnTo>
                  <a:pt x="192" y="345"/>
                </a:lnTo>
                <a:lnTo>
                  <a:pt x="200" y="345"/>
                </a:lnTo>
                <a:lnTo>
                  <a:pt x="200" y="345"/>
                </a:lnTo>
                <a:lnTo>
                  <a:pt x="200" y="345"/>
                </a:lnTo>
                <a:lnTo>
                  <a:pt x="200" y="337"/>
                </a:lnTo>
                <a:lnTo>
                  <a:pt x="207" y="337"/>
                </a:lnTo>
                <a:lnTo>
                  <a:pt x="207" y="337"/>
                </a:lnTo>
                <a:lnTo>
                  <a:pt x="215" y="337"/>
                </a:lnTo>
                <a:lnTo>
                  <a:pt x="215" y="329"/>
                </a:lnTo>
                <a:lnTo>
                  <a:pt x="223" y="329"/>
                </a:lnTo>
                <a:lnTo>
                  <a:pt x="223" y="329"/>
                </a:lnTo>
                <a:lnTo>
                  <a:pt x="223" y="329"/>
                </a:lnTo>
                <a:lnTo>
                  <a:pt x="223" y="322"/>
                </a:lnTo>
                <a:lnTo>
                  <a:pt x="230" y="322"/>
                </a:lnTo>
                <a:lnTo>
                  <a:pt x="230" y="322"/>
                </a:lnTo>
                <a:lnTo>
                  <a:pt x="238" y="322"/>
                </a:lnTo>
                <a:lnTo>
                  <a:pt x="238" y="322"/>
                </a:lnTo>
                <a:lnTo>
                  <a:pt x="246" y="322"/>
                </a:lnTo>
                <a:lnTo>
                  <a:pt x="246" y="314"/>
                </a:lnTo>
                <a:lnTo>
                  <a:pt x="246" y="314"/>
                </a:lnTo>
                <a:lnTo>
                  <a:pt x="246" y="314"/>
                </a:lnTo>
                <a:lnTo>
                  <a:pt x="253" y="314"/>
                </a:lnTo>
                <a:lnTo>
                  <a:pt x="253" y="314"/>
                </a:lnTo>
                <a:lnTo>
                  <a:pt x="261" y="314"/>
                </a:lnTo>
                <a:lnTo>
                  <a:pt x="261" y="306"/>
                </a:lnTo>
                <a:lnTo>
                  <a:pt x="269" y="306"/>
                </a:lnTo>
                <a:lnTo>
                  <a:pt x="269" y="306"/>
                </a:lnTo>
                <a:lnTo>
                  <a:pt x="276" y="306"/>
                </a:lnTo>
                <a:lnTo>
                  <a:pt x="276" y="299"/>
                </a:lnTo>
                <a:lnTo>
                  <a:pt x="276" y="299"/>
                </a:lnTo>
                <a:lnTo>
                  <a:pt x="276" y="299"/>
                </a:lnTo>
                <a:lnTo>
                  <a:pt x="284" y="299"/>
                </a:lnTo>
                <a:lnTo>
                  <a:pt x="284" y="299"/>
                </a:lnTo>
                <a:lnTo>
                  <a:pt x="292" y="299"/>
                </a:lnTo>
                <a:lnTo>
                  <a:pt x="292" y="291"/>
                </a:lnTo>
                <a:lnTo>
                  <a:pt x="299" y="291"/>
                </a:lnTo>
                <a:lnTo>
                  <a:pt x="299" y="291"/>
                </a:lnTo>
                <a:lnTo>
                  <a:pt x="299" y="291"/>
                </a:lnTo>
                <a:lnTo>
                  <a:pt x="299" y="291"/>
                </a:lnTo>
                <a:lnTo>
                  <a:pt x="307" y="291"/>
                </a:lnTo>
                <a:lnTo>
                  <a:pt x="307" y="291"/>
                </a:lnTo>
                <a:lnTo>
                  <a:pt x="315" y="291"/>
                </a:lnTo>
                <a:lnTo>
                  <a:pt x="315" y="291"/>
                </a:lnTo>
                <a:lnTo>
                  <a:pt x="322" y="291"/>
                </a:lnTo>
                <a:lnTo>
                  <a:pt x="322" y="291"/>
                </a:lnTo>
                <a:lnTo>
                  <a:pt x="322" y="291"/>
                </a:lnTo>
                <a:lnTo>
                  <a:pt x="322" y="291"/>
                </a:lnTo>
                <a:lnTo>
                  <a:pt x="330" y="291"/>
                </a:lnTo>
                <a:lnTo>
                  <a:pt x="330" y="291"/>
                </a:lnTo>
                <a:lnTo>
                  <a:pt x="338" y="291"/>
                </a:lnTo>
                <a:lnTo>
                  <a:pt x="338" y="291"/>
                </a:lnTo>
                <a:lnTo>
                  <a:pt x="345" y="291"/>
                </a:lnTo>
                <a:lnTo>
                  <a:pt x="345" y="291"/>
                </a:lnTo>
                <a:lnTo>
                  <a:pt x="345" y="291"/>
                </a:lnTo>
                <a:lnTo>
                  <a:pt x="345" y="283"/>
                </a:lnTo>
                <a:lnTo>
                  <a:pt x="353" y="283"/>
                </a:lnTo>
                <a:lnTo>
                  <a:pt x="353" y="283"/>
                </a:lnTo>
                <a:lnTo>
                  <a:pt x="361" y="283"/>
                </a:lnTo>
                <a:lnTo>
                  <a:pt x="361" y="283"/>
                </a:lnTo>
                <a:lnTo>
                  <a:pt x="368" y="283"/>
                </a:lnTo>
                <a:lnTo>
                  <a:pt x="368" y="276"/>
                </a:lnTo>
                <a:lnTo>
                  <a:pt x="376" y="276"/>
                </a:lnTo>
                <a:lnTo>
                  <a:pt x="376" y="276"/>
                </a:lnTo>
                <a:lnTo>
                  <a:pt x="376" y="276"/>
                </a:lnTo>
                <a:lnTo>
                  <a:pt x="376" y="276"/>
                </a:lnTo>
                <a:lnTo>
                  <a:pt x="384" y="276"/>
                </a:lnTo>
                <a:lnTo>
                  <a:pt x="384" y="268"/>
                </a:lnTo>
                <a:lnTo>
                  <a:pt x="391" y="268"/>
                </a:lnTo>
                <a:lnTo>
                  <a:pt x="391" y="268"/>
                </a:lnTo>
                <a:lnTo>
                  <a:pt x="399" y="268"/>
                </a:lnTo>
                <a:lnTo>
                  <a:pt x="399" y="268"/>
                </a:lnTo>
                <a:lnTo>
                  <a:pt x="399" y="268"/>
                </a:lnTo>
                <a:lnTo>
                  <a:pt x="399" y="268"/>
                </a:lnTo>
                <a:lnTo>
                  <a:pt x="407" y="268"/>
                </a:lnTo>
                <a:lnTo>
                  <a:pt x="407" y="268"/>
                </a:lnTo>
                <a:lnTo>
                  <a:pt x="414" y="268"/>
                </a:lnTo>
                <a:lnTo>
                  <a:pt x="414" y="268"/>
                </a:lnTo>
                <a:lnTo>
                  <a:pt x="422" y="268"/>
                </a:lnTo>
                <a:lnTo>
                  <a:pt x="422" y="268"/>
                </a:lnTo>
                <a:lnTo>
                  <a:pt x="422" y="268"/>
                </a:lnTo>
                <a:lnTo>
                  <a:pt x="422" y="260"/>
                </a:lnTo>
                <a:lnTo>
                  <a:pt x="430" y="260"/>
                </a:lnTo>
                <a:lnTo>
                  <a:pt x="430" y="260"/>
                </a:lnTo>
                <a:lnTo>
                  <a:pt x="437" y="260"/>
                </a:lnTo>
                <a:lnTo>
                  <a:pt x="437" y="260"/>
                </a:lnTo>
                <a:lnTo>
                  <a:pt x="445" y="260"/>
                </a:lnTo>
                <a:lnTo>
                  <a:pt x="445" y="260"/>
                </a:lnTo>
                <a:lnTo>
                  <a:pt x="453" y="260"/>
                </a:lnTo>
                <a:lnTo>
                  <a:pt x="453" y="260"/>
                </a:lnTo>
                <a:lnTo>
                  <a:pt x="453" y="260"/>
                </a:lnTo>
                <a:lnTo>
                  <a:pt x="453" y="260"/>
                </a:lnTo>
                <a:lnTo>
                  <a:pt x="460" y="260"/>
                </a:lnTo>
                <a:lnTo>
                  <a:pt x="460" y="260"/>
                </a:lnTo>
                <a:lnTo>
                  <a:pt x="468" y="260"/>
                </a:lnTo>
                <a:lnTo>
                  <a:pt x="468" y="260"/>
                </a:lnTo>
                <a:lnTo>
                  <a:pt x="476" y="260"/>
                </a:lnTo>
                <a:lnTo>
                  <a:pt x="476" y="260"/>
                </a:lnTo>
                <a:lnTo>
                  <a:pt x="476" y="260"/>
                </a:lnTo>
                <a:lnTo>
                  <a:pt x="476" y="260"/>
                </a:lnTo>
                <a:lnTo>
                  <a:pt x="483" y="260"/>
                </a:lnTo>
                <a:lnTo>
                  <a:pt x="483" y="260"/>
                </a:lnTo>
                <a:lnTo>
                  <a:pt x="491" y="260"/>
                </a:lnTo>
                <a:lnTo>
                  <a:pt x="491" y="260"/>
                </a:lnTo>
                <a:lnTo>
                  <a:pt x="499" y="260"/>
                </a:lnTo>
                <a:lnTo>
                  <a:pt x="499" y="253"/>
                </a:lnTo>
                <a:lnTo>
                  <a:pt x="499" y="253"/>
                </a:lnTo>
                <a:lnTo>
                  <a:pt x="499" y="253"/>
                </a:lnTo>
                <a:lnTo>
                  <a:pt x="506" y="253"/>
                </a:lnTo>
                <a:lnTo>
                  <a:pt x="506" y="253"/>
                </a:lnTo>
                <a:lnTo>
                  <a:pt x="514" y="253"/>
                </a:lnTo>
                <a:lnTo>
                  <a:pt x="514" y="253"/>
                </a:lnTo>
                <a:lnTo>
                  <a:pt x="522" y="253"/>
                </a:lnTo>
                <a:lnTo>
                  <a:pt x="522" y="253"/>
                </a:lnTo>
                <a:lnTo>
                  <a:pt x="522" y="253"/>
                </a:lnTo>
                <a:lnTo>
                  <a:pt x="522" y="253"/>
                </a:lnTo>
                <a:lnTo>
                  <a:pt x="529" y="253"/>
                </a:lnTo>
                <a:lnTo>
                  <a:pt x="529" y="245"/>
                </a:lnTo>
                <a:lnTo>
                  <a:pt x="537" y="245"/>
                </a:lnTo>
                <a:lnTo>
                  <a:pt x="537" y="245"/>
                </a:lnTo>
                <a:lnTo>
                  <a:pt x="545" y="245"/>
                </a:lnTo>
                <a:lnTo>
                  <a:pt x="545" y="245"/>
                </a:lnTo>
                <a:lnTo>
                  <a:pt x="552" y="245"/>
                </a:lnTo>
                <a:lnTo>
                  <a:pt x="552" y="245"/>
                </a:lnTo>
                <a:lnTo>
                  <a:pt x="552" y="245"/>
                </a:lnTo>
                <a:lnTo>
                  <a:pt x="552" y="237"/>
                </a:lnTo>
                <a:lnTo>
                  <a:pt x="560" y="237"/>
                </a:lnTo>
                <a:lnTo>
                  <a:pt x="560" y="237"/>
                </a:lnTo>
                <a:lnTo>
                  <a:pt x="568" y="237"/>
                </a:lnTo>
                <a:lnTo>
                  <a:pt x="568" y="237"/>
                </a:lnTo>
                <a:lnTo>
                  <a:pt x="575" y="237"/>
                </a:lnTo>
                <a:lnTo>
                  <a:pt x="575" y="237"/>
                </a:lnTo>
                <a:lnTo>
                  <a:pt x="575" y="237"/>
                </a:lnTo>
                <a:lnTo>
                  <a:pt x="575" y="237"/>
                </a:lnTo>
                <a:lnTo>
                  <a:pt x="583" y="237"/>
                </a:lnTo>
                <a:lnTo>
                  <a:pt x="583" y="237"/>
                </a:lnTo>
                <a:lnTo>
                  <a:pt x="591" y="237"/>
                </a:lnTo>
                <a:lnTo>
                  <a:pt x="591" y="237"/>
                </a:lnTo>
                <a:lnTo>
                  <a:pt x="598" y="237"/>
                </a:lnTo>
                <a:lnTo>
                  <a:pt x="598" y="237"/>
                </a:lnTo>
                <a:lnTo>
                  <a:pt x="598" y="237"/>
                </a:lnTo>
                <a:lnTo>
                  <a:pt x="598" y="237"/>
                </a:lnTo>
                <a:lnTo>
                  <a:pt x="606" y="237"/>
                </a:lnTo>
                <a:lnTo>
                  <a:pt x="606" y="237"/>
                </a:lnTo>
                <a:lnTo>
                  <a:pt x="614" y="237"/>
                </a:lnTo>
                <a:lnTo>
                  <a:pt x="614" y="230"/>
                </a:lnTo>
                <a:lnTo>
                  <a:pt x="621" y="230"/>
                </a:lnTo>
                <a:lnTo>
                  <a:pt x="621" y="222"/>
                </a:lnTo>
                <a:lnTo>
                  <a:pt x="629" y="222"/>
                </a:lnTo>
                <a:lnTo>
                  <a:pt x="629" y="222"/>
                </a:lnTo>
                <a:lnTo>
                  <a:pt x="629" y="222"/>
                </a:lnTo>
                <a:lnTo>
                  <a:pt x="629" y="222"/>
                </a:lnTo>
                <a:lnTo>
                  <a:pt x="637" y="222"/>
                </a:lnTo>
                <a:lnTo>
                  <a:pt x="637" y="222"/>
                </a:lnTo>
                <a:lnTo>
                  <a:pt x="644" y="222"/>
                </a:lnTo>
                <a:lnTo>
                  <a:pt x="644" y="222"/>
                </a:lnTo>
                <a:lnTo>
                  <a:pt x="652" y="222"/>
                </a:lnTo>
                <a:lnTo>
                  <a:pt x="652" y="222"/>
                </a:lnTo>
                <a:lnTo>
                  <a:pt x="652" y="222"/>
                </a:lnTo>
                <a:lnTo>
                  <a:pt x="652" y="214"/>
                </a:lnTo>
                <a:lnTo>
                  <a:pt x="660" y="214"/>
                </a:lnTo>
                <a:lnTo>
                  <a:pt x="660" y="214"/>
                </a:lnTo>
                <a:lnTo>
                  <a:pt x="667" y="214"/>
                </a:lnTo>
                <a:lnTo>
                  <a:pt x="667" y="207"/>
                </a:lnTo>
                <a:lnTo>
                  <a:pt x="675" y="207"/>
                </a:lnTo>
                <a:lnTo>
                  <a:pt x="675" y="207"/>
                </a:lnTo>
                <a:lnTo>
                  <a:pt x="683" y="207"/>
                </a:lnTo>
                <a:lnTo>
                  <a:pt x="683" y="207"/>
                </a:lnTo>
                <a:lnTo>
                  <a:pt x="690" y="207"/>
                </a:lnTo>
                <a:lnTo>
                  <a:pt x="690" y="207"/>
                </a:lnTo>
                <a:lnTo>
                  <a:pt x="698" y="207"/>
                </a:lnTo>
                <a:lnTo>
                  <a:pt x="698" y="199"/>
                </a:lnTo>
                <a:lnTo>
                  <a:pt x="698" y="199"/>
                </a:lnTo>
                <a:lnTo>
                  <a:pt x="698" y="199"/>
                </a:lnTo>
                <a:lnTo>
                  <a:pt x="706" y="199"/>
                </a:lnTo>
                <a:lnTo>
                  <a:pt x="706" y="199"/>
                </a:lnTo>
                <a:lnTo>
                  <a:pt x="713" y="199"/>
                </a:lnTo>
                <a:lnTo>
                  <a:pt x="713" y="199"/>
                </a:lnTo>
                <a:lnTo>
                  <a:pt x="721" y="199"/>
                </a:lnTo>
                <a:lnTo>
                  <a:pt x="721" y="199"/>
                </a:lnTo>
                <a:lnTo>
                  <a:pt x="729" y="199"/>
                </a:lnTo>
                <a:lnTo>
                  <a:pt x="729" y="199"/>
                </a:lnTo>
                <a:lnTo>
                  <a:pt x="729" y="199"/>
                </a:lnTo>
                <a:lnTo>
                  <a:pt x="729" y="199"/>
                </a:lnTo>
                <a:lnTo>
                  <a:pt x="736" y="199"/>
                </a:lnTo>
                <a:lnTo>
                  <a:pt x="736" y="199"/>
                </a:lnTo>
                <a:lnTo>
                  <a:pt x="744" y="199"/>
                </a:lnTo>
                <a:lnTo>
                  <a:pt x="744" y="199"/>
                </a:lnTo>
                <a:lnTo>
                  <a:pt x="752" y="199"/>
                </a:lnTo>
                <a:lnTo>
                  <a:pt x="752" y="199"/>
                </a:lnTo>
                <a:lnTo>
                  <a:pt x="752" y="199"/>
                </a:lnTo>
                <a:lnTo>
                  <a:pt x="752" y="199"/>
                </a:lnTo>
                <a:lnTo>
                  <a:pt x="759" y="199"/>
                </a:lnTo>
                <a:lnTo>
                  <a:pt x="759" y="191"/>
                </a:lnTo>
                <a:lnTo>
                  <a:pt x="767" y="191"/>
                </a:lnTo>
                <a:lnTo>
                  <a:pt x="767" y="191"/>
                </a:lnTo>
                <a:lnTo>
                  <a:pt x="775" y="191"/>
                </a:lnTo>
                <a:lnTo>
                  <a:pt x="775" y="191"/>
                </a:lnTo>
                <a:lnTo>
                  <a:pt x="775" y="191"/>
                </a:lnTo>
                <a:lnTo>
                  <a:pt x="775" y="191"/>
                </a:lnTo>
                <a:lnTo>
                  <a:pt x="783" y="191"/>
                </a:lnTo>
                <a:lnTo>
                  <a:pt x="783" y="191"/>
                </a:lnTo>
                <a:lnTo>
                  <a:pt x="790" y="191"/>
                </a:lnTo>
                <a:lnTo>
                  <a:pt x="790" y="191"/>
                </a:lnTo>
                <a:lnTo>
                  <a:pt x="798" y="191"/>
                </a:lnTo>
                <a:lnTo>
                  <a:pt x="798" y="191"/>
                </a:lnTo>
                <a:lnTo>
                  <a:pt x="806" y="191"/>
                </a:lnTo>
                <a:lnTo>
                  <a:pt x="806" y="191"/>
                </a:lnTo>
                <a:lnTo>
                  <a:pt x="806" y="191"/>
                </a:lnTo>
                <a:lnTo>
                  <a:pt x="806" y="191"/>
                </a:lnTo>
                <a:lnTo>
                  <a:pt x="813" y="191"/>
                </a:lnTo>
                <a:lnTo>
                  <a:pt x="813" y="191"/>
                </a:lnTo>
                <a:lnTo>
                  <a:pt x="821" y="191"/>
                </a:lnTo>
                <a:lnTo>
                  <a:pt x="821" y="191"/>
                </a:lnTo>
                <a:lnTo>
                  <a:pt x="829" y="191"/>
                </a:lnTo>
                <a:lnTo>
                  <a:pt x="829" y="191"/>
                </a:lnTo>
                <a:lnTo>
                  <a:pt x="829" y="191"/>
                </a:lnTo>
                <a:lnTo>
                  <a:pt x="829" y="184"/>
                </a:lnTo>
                <a:lnTo>
                  <a:pt x="836" y="184"/>
                </a:lnTo>
                <a:lnTo>
                  <a:pt x="836" y="184"/>
                </a:lnTo>
                <a:lnTo>
                  <a:pt x="844" y="184"/>
                </a:lnTo>
                <a:lnTo>
                  <a:pt x="844" y="184"/>
                </a:lnTo>
                <a:lnTo>
                  <a:pt x="852" y="184"/>
                </a:lnTo>
                <a:lnTo>
                  <a:pt x="852" y="184"/>
                </a:lnTo>
                <a:lnTo>
                  <a:pt x="852" y="184"/>
                </a:lnTo>
                <a:lnTo>
                  <a:pt x="852" y="176"/>
                </a:lnTo>
                <a:lnTo>
                  <a:pt x="859" y="176"/>
                </a:lnTo>
                <a:lnTo>
                  <a:pt x="859" y="176"/>
                </a:lnTo>
                <a:lnTo>
                  <a:pt x="867" y="176"/>
                </a:lnTo>
                <a:lnTo>
                  <a:pt x="867" y="176"/>
                </a:lnTo>
                <a:lnTo>
                  <a:pt x="875" y="176"/>
                </a:lnTo>
                <a:lnTo>
                  <a:pt x="875" y="168"/>
                </a:lnTo>
                <a:lnTo>
                  <a:pt x="875" y="168"/>
                </a:lnTo>
                <a:lnTo>
                  <a:pt x="875" y="168"/>
                </a:lnTo>
                <a:lnTo>
                  <a:pt x="882" y="168"/>
                </a:lnTo>
                <a:lnTo>
                  <a:pt x="882" y="161"/>
                </a:lnTo>
                <a:lnTo>
                  <a:pt x="890" y="161"/>
                </a:lnTo>
                <a:lnTo>
                  <a:pt x="890" y="161"/>
                </a:lnTo>
                <a:lnTo>
                  <a:pt x="898" y="161"/>
                </a:lnTo>
                <a:lnTo>
                  <a:pt x="898" y="161"/>
                </a:lnTo>
                <a:lnTo>
                  <a:pt x="905" y="161"/>
                </a:lnTo>
                <a:lnTo>
                  <a:pt x="905" y="153"/>
                </a:lnTo>
                <a:lnTo>
                  <a:pt x="905" y="153"/>
                </a:lnTo>
                <a:lnTo>
                  <a:pt x="905" y="153"/>
                </a:lnTo>
                <a:lnTo>
                  <a:pt x="913" y="153"/>
                </a:lnTo>
                <a:lnTo>
                  <a:pt x="913" y="153"/>
                </a:lnTo>
                <a:lnTo>
                  <a:pt x="921" y="153"/>
                </a:lnTo>
                <a:lnTo>
                  <a:pt x="921" y="153"/>
                </a:lnTo>
                <a:lnTo>
                  <a:pt x="928" y="153"/>
                </a:lnTo>
                <a:lnTo>
                  <a:pt x="928" y="153"/>
                </a:lnTo>
                <a:lnTo>
                  <a:pt x="928" y="153"/>
                </a:lnTo>
                <a:lnTo>
                  <a:pt x="928" y="145"/>
                </a:lnTo>
                <a:lnTo>
                  <a:pt x="936" y="145"/>
                </a:lnTo>
                <a:lnTo>
                  <a:pt x="936" y="145"/>
                </a:lnTo>
                <a:lnTo>
                  <a:pt x="944" y="145"/>
                </a:lnTo>
                <a:lnTo>
                  <a:pt x="944" y="145"/>
                </a:lnTo>
                <a:lnTo>
                  <a:pt x="951" y="145"/>
                </a:lnTo>
                <a:lnTo>
                  <a:pt x="951" y="145"/>
                </a:lnTo>
                <a:lnTo>
                  <a:pt x="951" y="145"/>
                </a:lnTo>
                <a:lnTo>
                  <a:pt x="951" y="145"/>
                </a:lnTo>
                <a:lnTo>
                  <a:pt x="959" y="145"/>
                </a:lnTo>
                <a:lnTo>
                  <a:pt x="959" y="145"/>
                </a:lnTo>
                <a:lnTo>
                  <a:pt x="967" y="145"/>
                </a:lnTo>
                <a:lnTo>
                  <a:pt x="967" y="130"/>
                </a:lnTo>
                <a:lnTo>
                  <a:pt x="974" y="130"/>
                </a:lnTo>
                <a:lnTo>
                  <a:pt x="974" y="130"/>
                </a:lnTo>
                <a:lnTo>
                  <a:pt x="974" y="130"/>
                </a:lnTo>
                <a:lnTo>
                  <a:pt x="974" y="130"/>
                </a:lnTo>
                <a:lnTo>
                  <a:pt x="982" y="130"/>
                </a:lnTo>
                <a:lnTo>
                  <a:pt x="982" y="130"/>
                </a:lnTo>
                <a:lnTo>
                  <a:pt x="990" y="130"/>
                </a:lnTo>
                <a:lnTo>
                  <a:pt x="990" y="130"/>
                </a:lnTo>
                <a:lnTo>
                  <a:pt x="997" y="130"/>
                </a:lnTo>
                <a:lnTo>
                  <a:pt x="997" y="123"/>
                </a:lnTo>
                <a:lnTo>
                  <a:pt x="1005" y="123"/>
                </a:lnTo>
                <a:lnTo>
                  <a:pt x="1005" y="123"/>
                </a:lnTo>
                <a:lnTo>
                  <a:pt x="1005" y="123"/>
                </a:lnTo>
                <a:lnTo>
                  <a:pt x="1005" y="123"/>
                </a:lnTo>
                <a:lnTo>
                  <a:pt x="1013" y="123"/>
                </a:lnTo>
                <a:lnTo>
                  <a:pt x="1013" y="123"/>
                </a:lnTo>
                <a:lnTo>
                  <a:pt x="1020" y="123"/>
                </a:lnTo>
                <a:lnTo>
                  <a:pt x="1020" y="123"/>
                </a:lnTo>
                <a:lnTo>
                  <a:pt x="1028" y="123"/>
                </a:lnTo>
                <a:lnTo>
                  <a:pt x="1028" y="123"/>
                </a:lnTo>
                <a:lnTo>
                  <a:pt x="1028" y="123"/>
                </a:lnTo>
                <a:lnTo>
                  <a:pt x="1028" y="123"/>
                </a:lnTo>
                <a:lnTo>
                  <a:pt x="1036" y="123"/>
                </a:lnTo>
                <a:lnTo>
                  <a:pt x="1036" y="123"/>
                </a:lnTo>
                <a:lnTo>
                  <a:pt x="1043" y="123"/>
                </a:lnTo>
                <a:lnTo>
                  <a:pt x="1043" y="123"/>
                </a:lnTo>
                <a:lnTo>
                  <a:pt x="1051" y="123"/>
                </a:lnTo>
                <a:lnTo>
                  <a:pt x="1051" y="123"/>
                </a:lnTo>
                <a:lnTo>
                  <a:pt x="1051" y="123"/>
                </a:lnTo>
                <a:lnTo>
                  <a:pt x="1051" y="115"/>
                </a:lnTo>
                <a:lnTo>
                  <a:pt x="1059" y="115"/>
                </a:lnTo>
                <a:lnTo>
                  <a:pt x="1059" y="115"/>
                </a:lnTo>
                <a:lnTo>
                  <a:pt x="1066" y="115"/>
                </a:lnTo>
                <a:lnTo>
                  <a:pt x="1066" y="100"/>
                </a:lnTo>
                <a:lnTo>
                  <a:pt x="1074" y="100"/>
                </a:lnTo>
                <a:lnTo>
                  <a:pt x="1074" y="100"/>
                </a:lnTo>
                <a:lnTo>
                  <a:pt x="1082" y="100"/>
                </a:lnTo>
                <a:lnTo>
                  <a:pt x="1082" y="100"/>
                </a:lnTo>
                <a:lnTo>
                  <a:pt x="1082" y="100"/>
                </a:lnTo>
                <a:lnTo>
                  <a:pt x="1082" y="100"/>
                </a:lnTo>
                <a:lnTo>
                  <a:pt x="1089" y="100"/>
                </a:lnTo>
                <a:lnTo>
                  <a:pt x="1089" y="92"/>
                </a:lnTo>
                <a:lnTo>
                  <a:pt x="1097" y="92"/>
                </a:lnTo>
                <a:lnTo>
                  <a:pt x="1097" y="92"/>
                </a:lnTo>
                <a:lnTo>
                  <a:pt x="1105" y="92"/>
                </a:lnTo>
                <a:lnTo>
                  <a:pt x="1105" y="92"/>
                </a:lnTo>
                <a:lnTo>
                  <a:pt x="1105" y="92"/>
                </a:lnTo>
                <a:lnTo>
                  <a:pt x="1105" y="92"/>
                </a:lnTo>
                <a:lnTo>
                  <a:pt x="1112" y="92"/>
                </a:lnTo>
                <a:lnTo>
                  <a:pt x="1112" y="92"/>
                </a:lnTo>
                <a:lnTo>
                  <a:pt x="1120" y="92"/>
                </a:lnTo>
                <a:lnTo>
                  <a:pt x="1120" y="92"/>
                </a:lnTo>
                <a:lnTo>
                  <a:pt x="1128" y="92"/>
                </a:lnTo>
                <a:lnTo>
                  <a:pt x="1128" y="92"/>
                </a:lnTo>
                <a:lnTo>
                  <a:pt x="1128" y="92"/>
                </a:lnTo>
                <a:lnTo>
                  <a:pt x="1128" y="92"/>
                </a:lnTo>
                <a:lnTo>
                  <a:pt x="1135" y="92"/>
                </a:lnTo>
                <a:lnTo>
                  <a:pt x="1135" y="92"/>
                </a:lnTo>
                <a:lnTo>
                  <a:pt x="1143" y="92"/>
                </a:lnTo>
                <a:lnTo>
                  <a:pt x="1143" y="92"/>
                </a:lnTo>
                <a:lnTo>
                  <a:pt x="1151" y="92"/>
                </a:lnTo>
                <a:lnTo>
                  <a:pt x="1151" y="84"/>
                </a:lnTo>
                <a:lnTo>
                  <a:pt x="1151" y="84"/>
                </a:lnTo>
                <a:lnTo>
                  <a:pt x="1151" y="84"/>
                </a:lnTo>
                <a:lnTo>
                  <a:pt x="1158" y="84"/>
                </a:lnTo>
                <a:lnTo>
                  <a:pt x="1158" y="84"/>
                </a:lnTo>
                <a:lnTo>
                  <a:pt x="1166" y="84"/>
                </a:lnTo>
                <a:lnTo>
                  <a:pt x="1166" y="84"/>
                </a:lnTo>
                <a:lnTo>
                  <a:pt x="1174" y="84"/>
                </a:lnTo>
                <a:lnTo>
                  <a:pt x="1174" y="84"/>
                </a:lnTo>
                <a:lnTo>
                  <a:pt x="1181" y="84"/>
                </a:lnTo>
                <a:lnTo>
                  <a:pt x="1181" y="84"/>
                </a:lnTo>
                <a:lnTo>
                  <a:pt x="1181" y="84"/>
                </a:lnTo>
                <a:lnTo>
                  <a:pt x="1181" y="77"/>
                </a:lnTo>
                <a:lnTo>
                  <a:pt x="1189" y="77"/>
                </a:lnTo>
                <a:lnTo>
                  <a:pt x="1189" y="77"/>
                </a:lnTo>
                <a:lnTo>
                  <a:pt x="1197" y="77"/>
                </a:lnTo>
                <a:lnTo>
                  <a:pt x="1197" y="77"/>
                </a:lnTo>
                <a:lnTo>
                  <a:pt x="1204" y="77"/>
                </a:lnTo>
                <a:lnTo>
                  <a:pt x="1204" y="77"/>
                </a:lnTo>
                <a:lnTo>
                  <a:pt x="1204" y="77"/>
                </a:lnTo>
                <a:lnTo>
                  <a:pt x="1204" y="77"/>
                </a:lnTo>
                <a:lnTo>
                  <a:pt x="1212" y="77"/>
                </a:lnTo>
                <a:lnTo>
                  <a:pt x="1212" y="69"/>
                </a:lnTo>
                <a:lnTo>
                  <a:pt x="1220" y="69"/>
                </a:lnTo>
                <a:lnTo>
                  <a:pt x="1220" y="61"/>
                </a:lnTo>
                <a:lnTo>
                  <a:pt x="1227" y="61"/>
                </a:lnTo>
                <a:lnTo>
                  <a:pt x="1227" y="54"/>
                </a:lnTo>
                <a:lnTo>
                  <a:pt x="1227" y="54"/>
                </a:lnTo>
                <a:lnTo>
                  <a:pt x="1227" y="54"/>
                </a:lnTo>
                <a:lnTo>
                  <a:pt x="1235" y="54"/>
                </a:lnTo>
                <a:lnTo>
                  <a:pt x="1235" y="54"/>
                </a:lnTo>
                <a:lnTo>
                  <a:pt x="1243" y="54"/>
                </a:lnTo>
                <a:lnTo>
                  <a:pt x="1243" y="38"/>
                </a:lnTo>
                <a:lnTo>
                  <a:pt x="1250" y="38"/>
                </a:lnTo>
                <a:lnTo>
                  <a:pt x="1250" y="38"/>
                </a:lnTo>
                <a:lnTo>
                  <a:pt x="1258" y="38"/>
                </a:lnTo>
                <a:lnTo>
                  <a:pt x="1258" y="31"/>
                </a:lnTo>
                <a:lnTo>
                  <a:pt x="1258" y="31"/>
                </a:lnTo>
                <a:lnTo>
                  <a:pt x="1258" y="31"/>
                </a:lnTo>
                <a:lnTo>
                  <a:pt x="1266" y="31"/>
                </a:lnTo>
                <a:lnTo>
                  <a:pt x="1266" y="31"/>
                </a:lnTo>
                <a:lnTo>
                  <a:pt x="1273" y="31"/>
                </a:lnTo>
                <a:lnTo>
                  <a:pt x="1273" y="0"/>
                </a:lnTo>
                <a:lnTo>
                  <a:pt x="1281" y="0"/>
                </a:lnTo>
                <a:lnTo>
                  <a:pt x="1281" y="0"/>
                </a:lnTo>
                <a:lnTo>
                  <a:pt x="1281" y="0"/>
                </a:lnTo>
                <a:lnTo>
                  <a:pt x="1281" y="0"/>
                </a:lnTo>
              </a:path>
            </a:pathLst>
          </a:custGeom>
          <a:noFill/>
          <a:ln w="25400" cap="sq">
            <a:solidFill>
              <a:srgbClr val="CE08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3" name="Rectangle 42"/>
          <p:cNvSpPr>
            <a:spLocks noChangeArrowheads="1"/>
          </p:cNvSpPr>
          <p:nvPr/>
        </p:nvSpPr>
        <p:spPr bwMode="auto">
          <a:xfrm>
            <a:off x="8623300" y="4913312"/>
            <a:ext cx="26828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rgbClr val="DF536B"/>
                </a:solidFill>
                <a:effectLst/>
                <a:latin typeface="Mulish" pitchFamily="2" charset="0"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9" name="Rectangle 48"/>
          <p:cNvSpPr>
            <a:spLocks noChangeArrowheads="1"/>
          </p:cNvSpPr>
          <p:nvPr/>
        </p:nvSpPr>
        <p:spPr bwMode="auto">
          <a:xfrm>
            <a:off x="1962149" y="1601787"/>
            <a:ext cx="8803692" cy="2954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In those allocated to </a:t>
            </a: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PLACEBO</a:t>
            </a: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400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</a:t>
            </a:r>
            <a:r>
              <a:rPr lang="en-US" altLang="en-US" sz="2400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   </a:t>
            </a: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558</a:t>
            </a:r>
            <a:r>
              <a:rPr kumimoji="0" lang="en-US" altLang="en-US" sz="2400" b="0" i="0" u="none" strike="noStrike" cap="none" normalizeH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 out of </a:t>
            </a: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3305 people (16.9%) had one of these outcomes</a:t>
            </a:r>
          </a:p>
          <a:p>
            <a:pPr lvl="0"/>
            <a:endParaRPr lang="en-US" altLang="en-US" sz="2400" dirty="0" smtClean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  <a:p>
            <a:pPr lvl="0"/>
            <a:r>
              <a:rPr lang="en-US" altLang="en-US" sz="2400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In </a:t>
            </a:r>
            <a:r>
              <a:rPr lang="en-US" altLang="en-US" sz="2400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those allocated to </a:t>
            </a:r>
            <a:r>
              <a:rPr lang="en-US" altLang="en-US" sz="2400" b="1" dirty="0" smtClean="0">
                <a:solidFill>
                  <a:srgbClr val="CE08A8"/>
                </a:solidFill>
                <a:latin typeface="Mulish" pitchFamily="2" charset="0"/>
              </a:rPr>
              <a:t>EMPAGLIFLOZIN</a:t>
            </a:r>
            <a:r>
              <a:rPr lang="en-US" altLang="en-US" sz="2400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:</a:t>
            </a:r>
            <a:endParaRPr lang="en-US" altLang="en-US" sz="2400" dirty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  <a:p>
            <a:pPr lvl="0"/>
            <a:r>
              <a:rPr lang="en-US" altLang="en-US" sz="2400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</a:t>
            </a:r>
            <a:r>
              <a:rPr lang="en-US" altLang="en-US" sz="2400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   432 </a:t>
            </a:r>
            <a:r>
              <a:rPr lang="en-US" altLang="en-US" sz="2400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out of </a:t>
            </a:r>
            <a:r>
              <a:rPr lang="en-US" altLang="en-US" sz="2400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3304 </a:t>
            </a:r>
            <a:r>
              <a:rPr lang="en-US" altLang="en-US" sz="2400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people (</a:t>
            </a:r>
            <a:r>
              <a:rPr lang="en-US" altLang="en-US" sz="2400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13.1%) </a:t>
            </a:r>
            <a:r>
              <a:rPr lang="en-US" altLang="en-US" sz="2400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had one of these outcomes</a:t>
            </a:r>
          </a:p>
          <a:p>
            <a:pPr lvl="0"/>
            <a:endParaRPr lang="en-US" altLang="en-US" sz="2400" dirty="0">
              <a:solidFill>
                <a:schemeClr val="tx2">
                  <a:lumMod val="50000"/>
                </a:schemeClr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400" b="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Mulish" pitchFamily="2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400" b="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85390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Main result: kidney disease progression or cardiovascular death</a:t>
            </a:r>
            <a:endParaRPr dirty="0"/>
          </a:p>
        </p:txBody>
      </p:sp>
      <p:sp>
        <p:nvSpPr>
          <p:cNvPr id="5" name="AutoShape 3"/>
          <p:cNvSpPr>
            <a:spLocks noChangeAspect="1" noChangeArrowheads="1" noTextEdit="1"/>
          </p:cNvSpPr>
          <p:nvPr/>
        </p:nvSpPr>
        <p:spPr bwMode="auto">
          <a:xfrm>
            <a:off x="812800" y="1592263"/>
            <a:ext cx="10548938" cy="452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" name="Line 5"/>
          <p:cNvSpPr>
            <a:spLocks noChangeShapeType="1"/>
          </p:cNvSpPr>
          <p:nvPr/>
        </p:nvSpPr>
        <p:spPr bwMode="auto">
          <a:xfrm>
            <a:off x="1816100" y="5424487"/>
            <a:ext cx="8512175" cy="0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7" name="Line 6"/>
          <p:cNvSpPr>
            <a:spLocks noChangeShapeType="1"/>
          </p:cNvSpPr>
          <p:nvPr/>
        </p:nvSpPr>
        <p:spPr bwMode="auto">
          <a:xfrm flipV="1">
            <a:off x="1816100" y="2309812"/>
            <a:ext cx="0" cy="3114675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8" name="Line 7"/>
          <p:cNvSpPr>
            <a:spLocks noChangeShapeType="1"/>
          </p:cNvSpPr>
          <p:nvPr/>
        </p:nvSpPr>
        <p:spPr bwMode="auto">
          <a:xfrm>
            <a:off x="1816100" y="5424487"/>
            <a:ext cx="8512175" cy="0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9" name="Line 8"/>
          <p:cNvSpPr>
            <a:spLocks noChangeShapeType="1"/>
          </p:cNvSpPr>
          <p:nvPr/>
        </p:nvSpPr>
        <p:spPr bwMode="auto">
          <a:xfrm>
            <a:off x="1816100" y="5424487"/>
            <a:ext cx="0" cy="96838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0" name="Line 9"/>
          <p:cNvSpPr>
            <a:spLocks noChangeShapeType="1"/>
          </p:cNvSpPr>
          <p:nvPr/>
        </p:nvSpPr>
        <p:spPr bwMode="auto">
          <a:xfrm>
            <a:off x="3521075" y="5424487"/>
            <a:ext cx="0" cy="96838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1" name="Line 10"/>
          <p:cNvSpPr>
            <a:spLocks noChangeShapeType="1"/>
          </p:cNvSpPr>
          <p:nvPr/>
        </p:nvSpPr>
        <p:spPr bwMode="auto">
          <a:xfrm>
            <a:off x="3521075" y="5424487"/>
            <a:ext cx="0" cy="96838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5226050" y="5424487"/>
            <a:ext cx="0" cy="96838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3" name="Line 12"/>
          <p:cNvSpPr>
            <a:spLocks noChangeShapeType="1"/>
          </p:cNvSpPr>
          <p:nvPr/>
        </p:nvSpPr>
        <p:spPr bwMode="auto">
          <a:xfrm>
            <a:off x="5226050" y="5424487"/>
            <a:ext cx="0" cy="96838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4" name="Line 13"/>
          <p:cNvSpPr>
            <a:spLocks noChangeShapeType="1"/>
          </p:cNvSpPr>
          <p:nvPr/>
        </p:nvSpPr>
        <p:spPr bwMode="auto">
          <a:xfrm>
            <a:off x="6931025" y="5424487"/>
            <a:ext cx="0" cy="96838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5" name="Line 14"/>
          <p:cNvSpPr>
            <a:spLocks noChangeShapeType="1"/>
          </p:cNvSpPr>
          <p:nvPr/>
        </p:nvSpPr>
        <p:spPr bwMode="auto">
          <a:xfrm>
            <a:off x="6931025" y="5424487"/>
            <a:ext cx="0" cy="96838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6" name="Line 15"/>
          <p:cNvSpPr>
            <a:spLocks noChangeShapeType="1"/>
          </p:cNvSpPr>
          <p:nvPr/>
        </p:nvSpPr>
        <p:spPr bwMode="auto">
          <a:xfrm>
            <a:off x="8623300" y="5424487"/>
            <a:ext cx="0" cy="96838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7" name="Line 16"/>
          <p:cNvSpPr>
            <a:spLocks noChangeShapeType="1"/>
          </p:cNvSpPr>
          <p:nvPr/>
        </p:nvSpPr>
        <p:spPr bwMode="auto">
          <a:xfrm>
            <a:off x="8623300" y="5424487"/>
            <a:ext cx="0" cy="96838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8" name="Line 17"/>
          <p:cNvSpPr>
            <a:spLocks noChangeShapeType="1"/>
          </p:cNvSpPr>
          <p:nvPr/>
        </p:nvSpPr>
        <p:spPr bwMode="auto">
          <a:xfrm>
            <a:off x="10328275" y="5424487"/>
            <a:ext cx="0" cy="96838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9" name="Line 18"/>
          <p:cNvSpPr>
            <a:spLocks noChangeShapeType="1"/>
          </p:cNvSpPr>
          <p:nvPr/>
        </p:nvSpPr>
        <p:spPr bwMode="auto">
          <a:xfrm flipV="1">
            <a:off x="1816100" y="2309812"/>
            <a:ext cx="0" cy="3114675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Line 19"/>
          <p:cNvSpPr>
            <a:spLocks noChangeShapeType="1"/>
          </p:cNvSpPr>
          <p:nvPr/>
        </p:nvSpPr>
        <p:spPr bwMode="auto">
          <a:xfrm flipH="1">
            <a:off x="1719262" y="5424487"/>
            <a:ext cx="96838" cy="0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1" name="Line 20"/>
          <p:cNvSpPr>
            <a:spLocks noChangeShapeType="1"/>
          </p:cNvSpPr>
          <p:nvPr/>
        </p:nvSpPr>
        <p:spPr bwMode="auto">
          <a:xfrm flipH="1">
            <a:off x="1719262" y="4645025"/>
            <a:ext cx="96838" cy="0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2" name="Line 21"/>
          <p:cNvSpPr>
            <a:spLocks noChangeShapeType="1"/>
          </p:cNvSpPr>
          <p:nvPr/>
        </p:nvSpPr>
        <p:spPr bwMode="auto">
          <a:xfrm flipH="1">
            <a:off x="1719262" y="3867150"/>
            <a:ext cx="96838" cy="0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3" name="Line 22"/>
          <p:cNvSpPr>
            <a:spLocks noChangeShapeType="1"/>
          </p:cNvSpPr>
          <p:nvPr/>
        </p:nvSpPr>
        <p:spPr bwMode="auto">
          <a:xfrm flipH="1">
            <a:off x="1719262" y="3087687"/>
            <a:ext cx="96838" cy="0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Line 23"/>
          <p:cNvSpPr>
            <a:spLocks noChangeShapeType="1"/>
          </p:cNvSpPr>
          <p:nvPr/>
        </p:nvSpPr>
        <p:spPr bwMode="auto">
          <a:xfrm flipH="1">
            <a:off x="1719262" y="2309812"/>
            <a:ext cx="96838" cy="0"/>
          </a:xfrm>
          <a:prstGeom prst="line">
            <a:avLst/>
          </a:prstGeom>
          <a:noFill/>
          <a:ln w="23813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5" name="Rectangle 24"/>
          <p:cNvSpPr>
            <a:spLocks noChangeArrowheads="1"/>
          </p:cNvSpPr>
          <p:nvPr/>
        </p:nvSpPr>
        <p:spPr bwMode="auto">
          <a:xfrm>
            <a:off x="1616075" y="5557837"/>
            <a:ext cx="192360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rPr>
              <a:t>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3186112" y="5557837"/>
            <a:ext cx="464871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rPr>
              <a:t>0.5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</a:endParaRPr>
          </a:p>
        </p:txBody>
      </p:sp>
      <p:sp>
        <p:nvSpPr>
          <p:cNvPr id="27" name="Rectangle 26"/>
          <p:cNvSpPr>
            <a:spLocks noChangeArrowheads="1"/>
          </p:cNvSpPr>
          <p:nvPr/>
        </p:nvSpPr>
        <p:spPr bwMode="auto">
          <a:xfrm>
            <a:off x="5024437" y="5557837"/>
            <a:ext cx="192360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rPr>
              <a:t>1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</a:endParaRPr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6596062" y="5557837"/>
            <a:ext cx="464871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rPr>
              <a:t>1.5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</a:endParaRPr>
          </a:p>
        </p:txBody>
      </p:sp>
      <p:sp>
        <p:nvSpPr>
          <p:cNvPr id="29" name="Rectangle 28"/>
          <p:cNvSpPr>
            <a:spLocks noChangeArrowheads="1"/>
          </p:cNvSpPr>
          <p:nvPr/>
        </p:nvSpPr>
        <p:spPr bwMode="auto">
          <a:xfrm>
            <a:off x="8434387" y="5557837"/>
            <a:ext cx="192360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rPr>
              <a:t>2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</a:endParaRPr>
          </a:p>
        </p:txBody>
      </p:sp>
      <p:sp>
        <p:nvSpPr>
          <p:cNvPr id="30" name="Rectangle 29"/>
          <p:cNvSpPr>
            <a:spLocks noChangeArrowheads="1"/>
          </p:cNvSpPr>
          <p:nvPr/>
        </p:nvSpPr>
        <p:spPr bwMode="auto">
          <a:xfrm>
            <a:off x="10006012" y="5557837"/>
            <a:ext cx="464871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rPr>
              <a:t>2.5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</a:endParaRPr>
          </a:p>
        </p:txBody>
      </p:sp>
      <p:sp>
        <p:nvSpPr>
          <p:cNvPr id="31" name="Rectangle 30"/>
          <p:cNvSpPr>
            <a:spLocks noChangeArrowheads="1"/>
          </p:cNvSpPr>
          <p:nvPr/>
        </p:nvSpPr>
        <p:spPr bwMode="auto">
          <a:xfrm>
            <a:off x="1195387" y="5218112"/>
            <a:ext cx="192360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rPr>
              <a:t>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</a:endParaRPr>
          </a:p>
        </p:txBody>
      </p:sp>
      <p:sp>
        <p:nvSpPr>
          <p:cNvPr id="32" name="Rectangle 31"/>
          <p:cNvSpPr>
            <a:spLocks noChangeArrowheads="1"/>
          </p:cNvSpPr>
          <p:nvPr/>
        </p:nvSpPr>
        <p:spPr bwMode="auto">
          <a:xfrm>
            <a:off x="1012825" y="4438650"/>
            <a:ext cx="384721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rPr>
              <a:t>1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</a:endParaRPr>
          </a:p>
        </p:txBody>
      </p:sp>
      <p:sp>
        <p:nvSpPr>
          <p:cNvPr id="33" name="Rectangle 32"/>
          <p:cNvSpPr>
            <a:spLocks noChangeArrowheads="1"/>
          </p:cNvSpPr>
          <p:nvPr/>
        </p:nvSpPr>
        <p:spPr bwMode="auto">
          <a:xfrm>
            <a:off x="1012825" y="3660775"/>
            <a:ext cx="384721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rPr>
              <a:t>2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</a:endParaRP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1012825" y="2881312"/>
            <a:ext cx="384721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rPr>
              <a:t>3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</a:endParaRPr>
          </a:p>
        </p:txBody>
      </p:sp>
      <p:sp>
        <p:nvSpPr>
          <p:cNvPr id="35" name="Rectangle 34"/>
          <p:cNvSpPr>
            <a:spLocks noChangeArrowheads="1"/>
          </p:cNvSpPr>
          <p:nvPr/>
        </p:nvSpPr>
        <p:spPr bwMode="auto">
          <a:xfrm>
            <a:off x="1012825" y="2103437"/>
            <a:ext cx="384721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rPr>
              <a:t>40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</a:endParaRPr>
          </a:p>
        </p:txBody>
      </p:sp>
      <p:sp>
        <p:nvSpPr>
          <p:cNvPr id="36" name="Rectangle 35"/>
          <p:cNvSpPr>
            <a:spLocks noChangeArrowheads="1"/>
          </p:cNvSpPr>
          <p:nvPr/>
        </p:nvSpPr>
        <p:spPr bwMode="auto">
          <a:xfrm>
            <a:off x="4556124" y="5997574"/>
            <a:ext cx="2890215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rPr>
              <a:t>Years of Follow-up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</a:endParaRPr>
          </a:p>
        </p:txBody>
      </p:sp>
      <p:sp>
        <p:nvSpPr>
          <p:cNvPr id="37" name="Rectangle 36"/>
          <p:cNvSpPr>
            <a:spLocks noChangeArrowheads="1"/>
          </p:cNvSpPr>
          <p:nvPr/>
        </p:nvSpPr>
        <p:spPr bwMode="auto">
          <a:xfrm rot="16200000">
            <a:off x="-1375300" y="3662089"/>
            <a:ext cx="437619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rPr>
              <a:t>Participants with Event (%) 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</a:endParaRPr>
          </a:p>
        </p:txBody>
      </p:sp>
      <p:sp>
        <p:nvSpPr>
          <p:cNvPr id="38" name="Freeform 37"/>
          <p:cNvSpPr>
            <a:spLocks/>
          </p:cNvSpPr>
          <p:nvPr/>
        </p:nvSpPr>
        <p:spPr bwMode="auto">
          <a:xfrm>
            <a:off x="1816100" y="4341812"/>
            <a:ext cx="6478588" cy="1082675"/>
          </a:xfrm>
          <a:custGeom>
            <a:avLst/>
            <a:gdLst>
              <a:gd name="T0" fmla="*/ 299 w 4081"/>
              <a:gd name="T1" fmla="*/ 674 h 682"/>
              <a:gd name="T2" fmla="*/ 391 w 4081"/>
              <a:gd name="T3" fmla="*/ 667 h 682"/>
              <a:gd name="T4" fmla="*/ 507 w 4081"/>
              <a:gd name="T5" fmla="*/ 659 h 682"/>
              <a:gd name="T6" fmla="*/ 652 w 4081"/>
              <a:gd name="T7" fmla="*/ 651 h 682"/>
              <a:gd name="T8" fmla="*/ 760 w 4081"/>
              <a:gd name="T9" fmla="*/ 651 h 682"/>
              <a:gd name="T10" fmla="*/ 875 w 4081"/>
              <a:gd name="T11" fmla="*/ 644 h 682"/>
              <a:gd name="T12" fmla="*/ 951 w 4081"/>
              <a:gd name="T13" fmla="*/ 636 h 682"/>
              <a:gd name="T14" fmla="*/ 1028 w 4081"/>
              <a:gd name="T15" fmla="*/ 621 h 682"/>
              <a:gd name="T16" fmla="*/ 1105 w 4081"/>
              <a:gd name="T17" fmla="*/ 605 h 682"/>
              <a:gd name="T18" fmla="*/ 1166 w 4081"/>
              <a:gd name="T19" fmla="*/ 598 h 682"/>
              <a:gd name="T20" fmla="*/ 1258 w 4081"/>
              <a:gd name="T21" fmla="*/ 590 h 682"/>
              <a:gd name="T22" fmla="*/ 1412 w 4081"/>
              <a:gd name="T23" fmla="*/ 590 h 682"/>
              <a:gd name="T24" fmla="*/ 1519 w 4081"/>
              <a:gd name="T25" fmla="*/ 582 h 682"/>
              <a:gd name="T26" fmla="*/ 1596 w 4081"/>
              <a:gd name="T27" fmla="*/ 575 h 682"/>
              <a:gd name="T28" fmla="*/ 1688 w 4081"/>
              <a:gd name="T29" fmla="*/ 567 h 682"/>
              <a:gd name="T30" fmla="*/ 1826 w 4081"/>
              <a:gd name="T31" fmla="*/ 559 h 682"/>
              <a:gd name="T32" fmla="*/ 1903 w 4081"/>
              <a:gd name="T33" fmla="*/ 559 h 682"/>
              <a:gd name="T34" fmla="*/ 1964 w 4081"/>
              <a:gd name="T35" fmla="*/ 544 h 682"/>
              <a:gd name="T36" fmla="*/ 2010 w 4081"/>
              <a:gd name="T37" fmla="*/ 521 h 682"/>
              <a:gd name="T38" fmla="*/ 2064 w 4081"/>
              <a:gd name="T39" fmla="*/ 506 h 682"/>
              <a:gd name="T40" fmla="*/ 2110 w 4081"/>
              <a:gd name="T41" fmla="*/ 483 h 682"/>
              <a:gd name="T42" fmla="*/ 2163 w 4081"/>
              <a:gd name="T43" fmla="*/ 460 h 682"/>
              <a:gd name="T44" fmla="*/ 2209 w 4081"/>
              <a:gd name="T45" fmla="*/ 444 h 682"/>
              <a:gd name="T46" fmla="*/ 2255 w 4081"/>
              <a:gd name="T47" fmla="*/ 437 h 682"/>
              <a:gd name="T48" fmla="*/ 2301 w 4081"/>
              <a:gd name="T49" fmla="*/ 429 h 682"/>
              <a:gd name="T50" fmla="*/ 2347 w 4081"/>
              <a:gd name="T51" fmla="*/ 429 h 682"/>
              <a:gd name="T52" fmla="*/ 2409 w 4081"/>
              <a:gd name="T53" fmla="*/ 421 h 682"/>
              <a:gd name="T54" fmla="*/ 2455 w 4081"/>
              <a:gd name="T55" fmla="*/ 414 h 682"/>
              <a:gd name="T56" fmla="*/ 2501 w 4081"/>
              <a:gd name="T57" fmla="*/ 398 h 682"/>
              <a:gd name="T58" fmla="*/ 2547 w 4081"/>
              <a:gd name="T59" fmla="*/ 398 h 682"/>
              <a:gd name="T60" fmla="*/ 2593 w 4081"/>
              <a:gd name="T61" fmla="*/ 398 h 682"/>
              <a:gd name="T62" fmla="*/ 2639 w 4081"/>
              <a:gd name="T63" fmla="*/ 391 h 682"/>
              <a:gd name="T64" fmla="*/ 2693 w 4081"/>
              <a:gd name="T65" fmla="*/ 383 h 682"/>
              <a:gd name="T66" fmla="*/ 2739 w 4081"/>
              <a:gd name="T67" fmla="*/ 375 h 682"/>
              <a:gd name="T68" fmla="*/ 2785 w 4081"/>
              <a:gd name="T69" fmla="*/ 368 h 682"/>
              <a:gd name="T70" fmla="*/ 2831 w 4081"/>
              <a:gd name="T71" fmla="*/ 368 h 682"/>
              <a:gd name="T72" fmla="*/ 2877 w 4081"/>
              <a:gd name="T73" fmla="*/ 360 h 682"/>
              <a:gd name="T74" fmla="*/ 2923 w 4081"/>
              <a:gd name="T75" fmla="*/ 360 h 682"/>
              <a:gd name="T76" fmla="*/ 2969 w 4081"/>
              <a:gd name="T77" fmla="*/ 337 h 682"/>
              <a:gd name="T78" fmla="*/ 3023 w 4081"/>
              <a:gd name="T79" fmla="*/ 329 h 682"/>
              <a:gd name="T80" fmla="*/ 3069 w 4081"/>
              <a:gd name="T81" fmla="*/ 306 h 682"/>
              <a:gd name="T82" fmla="*/ 3115 w 4081"/>
              <a:gd name="T83" fmla="*/ 283 h 682"/>
              <a:gd name="T84" fmla="*/ 3161 w 4081"/>
              <a:gd name="T85" fmla="*/ 260 h 682"/>
              <a:gd name="T86" fmla="*/ 3207 w 4081"/>
              <a:gd name="T87" fmla="*/ 237 h 682"/>
              <a:gd name="T88" fmla="*/ 3253 w 4081"/>
              <a:gd name="T89" fmla="*/ 222 h 682"/>
              <a:gd name="T90" fmla="*/ 3299 w 4081"/>
              <a:gd name="T91" fmla="*/ 184 h 682"/>
              <a:gd name="T92" fmla="*/ 3345 w 4081"/>
              <a:gd name="T93" fmla="*/ 153 h 682"/>
              <a:gd name="T94" fmla="*/ 3398 w 4081"/>
              <a:gd name="T95" fmla="*/ 138 h 682"/>
              <a:gd name="T96" fmla="*/ 3444 w 4081"/>
              <a:gd name="T97" fmla="*/ 122 h 682"/>
              <a:gd name="T98" fmla="*/ 3490 w 4081"/>
              <a:gd name="T99" fmla="*/ 115 h 682"/>
              <a:gd name="T100" fmla="*/ 3536 w 4081"/>
              <a:gd name="T101" fmla="*/ 99 h 682"/>
              <a:gd name="T102" fmla="*/ 3582 w 4081"/>
              <a:gd name="T103" fmla="*/ 84 h 682"/>
              <a:gd name="T104" fmla="*/ 3629 w 4081"/>
              <a:gd name="T105" fmla="*/ 84 h 682"/>
              <a:gd name="T106" fmla="*/ 3675 w 4081"/>
              <a:gd name="T107" fmla="*/ 76 h 682"/>
              <a:gd name="T108" fmla="*/ 3728 w 4081"/>
              <a:gd name="T109" fmla="*/ 69 h 682"/>
              <a:gd name="T110" fmla="*/ 3774 w 4081"/>
              <a:gd name="T111" fmla="*/ 61 h 682"/>
              <a:gd name="T112" fmla="*/ 3820 w 4081"/>
              <a:gd name="T113" fmla="*/ 46 h 682"/>
              <a:gd name="T114" fmla="*/ 3866 w 4081"/>
              <a:gd name="T115" fmla="*/ 38 h 682"/>
              <a:gd name="T116" fmla="*/ 3912 w 4081"/>
              <a:gd name="T117" fmla="*/ 30 h 682"/>
              <a:gd name="T118" fmla="*/ 3958 w 4081"/>
              <a:gd name="T119" fmla="*/ 15 h 682"/>
              <a:gd name="T120" fmla="*/ 4004 w 4081"/>
              <a:gd name="T121" fmla="*/ 15 h 682"/>
              <a:gd name="T122" fmla="*/ 4058 w 4081"/>
              <a:gd name="T123" fmla="*/ 7 h 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081" h="682">
                <a:moveTo>
                  <a:pt x="0" y="682"/>
                </a:moveTo>
                <a:lnTo>
                  <a:pt x="108" y="682"/>
                </a:lnTo>
                <a:lnTo>
                  <a:pt x="108" y="674"/>
                </a:lnTo>
                <a:lnTo>
                  <a:pt x="177" y="674"/>
                </a:lnTo>
                <a:lnTo>
                  <a:pt x="177" y="674"/>
                </a:lnTo>
                <a:lnTo>
                  <a:pt x="223" y="674"/>
                </a:lnTo>
                <a:lnTo>
                  <a:pt x="223" y="674"/>
                </a:lnTo>
                <a:lnTo>
                  <a:pt x="230" y="674"/>
                </a:lnTo>
                <a:lnTo>
                  <a:pt x="230" y="674"/>
                </a:lnTo>
                <a:lnTo>
                  <a:pt x="246" y="674"/>
                </a:lnTo>
                <a:lnTo>
                  <a:pt x="246" y="674"/>
                </a:lnTo>
                <a:lnTo>
                  <a:pt x="253" y="674"/>
                </a:lnTo>
                <a:lnTo>
                  <a:pt x="253" y="674"/>
                </a:lnTo>
                <a:lnTo>
                  <a:pt x="269" y="674"/>
                </a:lnTo>
                <a:lnTo>
                  <a:pt x="269" y="674"/>
                </a:lnTo>
                <a:lnTo>
                  <a:pt x="299" y="674"/>
                </a:lnTo>
                <a:lnTo>
                  <a:pt x="299" y="674"/>
                </a:lnTo>
                <a:lnTo>
                  <a:pt x="322" y="674"/>
                </a:lnTo>
                <a:lnTo>
                  <a:pt x="322" y="674"/>
                </a:lnTo>
                <a:lnTo>
                  <a:pt x="330" y="674"/>
                </a:lnTo>
                <a:lnTo>
                  <a:pt x="330" y="674"/>
                </a:lnTo>
                <a:lnTo>
                  <a:pt x="353" y="674"/>
                </a:lnTo>
                <a:lnTo>
                  <a:pt x="353" y="674"/>
                </a:lnTo>
                <a:lnTo>
                  <a:pt x="368" y="674"/>
                </a:lnTo>
                <a:lnTo>
                  <a:pt x="368" y="667"/>
                </a:lnTo>
                <a:lnTo>
                  <a:pt x="376" y="667"/>
                </a:lnTo>
                <a:lnTo>
                  <a:pt x="376" y="667"/>
                </a:lnTo>
                <a:lnTo>
                  <a:pt x="376" y="667"/>
                </a:lnTo>
                <a:lnTo>
                  <a:pt x="376" y="667"/>
                </a:lnTo>
                <a:lnTo>
                  <a:pt x="384" y="667"/>
                </a:lnTo>
                <a:lnTo>
                  <a:pt x="384" y="667"/>
                </a:lnTo>
                <a:lnTo>
                  <a:pt x="391" y="667"/>
                </a:lnTo>
                <a:lnTo>
                  <a:pt x="391" y="659"/>
                </a:lnTo>
                <a:lnTo>
                  <a:pt x="399" y="659"/>
                </a:lnTo>
                <a:lnTo>
                  <a:pt x="399" y="659"/>
                </a:lnTo>
                <a:lnTo>
                  <a:pt x="399" y="659"/>
                </a:lnTo>
                <a:lnTo>
                  <a:pt x="399" y="659"/>
                </a:lnTo>
                <a:lnTo>
                  <a:pt x="430" y="659"/>
                </a:lnTo>
                <a:lnTo>
                  <a:pt x="430" y="659"/>
                </a:lnTo>
                <a:lnTo>
                  <a:pt x="437" y="659"/>
                </a:lnTo>
                <a:lnTo>
                  <a:pt x="437" y="659"/>
                </a:lnTo>
                <a:lnTo>
                  <a:pt x="445" y="659"/>
                </a:lnTo>
                <a:lnTo>
                  <a:pt x="445" y="659"/>
                </a:lnTo>
                <a:lnTo>
                  <a:pt x="483" y="659"/>
                </a:lnTo>
                <a:lnTo>
                  <a:pt x="483" y="659"/>
                </a:lnTo>
                <a:lnTo>
                  <a:pt x="507" y="659"/>
                </a:lnTo>
                <a:lnTo>
                  <a:pt x="507" y="659"/>
                </a:lnTo>
                <a:lnTo>
                  <a:pt x="507" y="659"/>
                </a:lnTo>
                <a:lnTo>
                  <a:pt x="507" y="659"/>
                </a:lnTo>
                <a:lnTo>
                  <a:pt x="576" y="659"/>
                </a:lnTo>
                <a:lnTo>
                  <a:pt x="576" y="651"/>
                </a:lnTo>
                <a:lnTo>
                  <a:pt x="583" y="651"/>
                </a:lnTo>
                <a:lnTo>
                  <a:pt x="583" y="651"/>
                </a:lnTo>
                <a:lnTo>
                  <a:pt x="599" y="651"/>
                </a:lnTo>
                <a:lnTo>
                  <a:pt x="599" y="651"/>
                </a:lnTo>
                <a:lnTo>
                  <a:pt x="622" y="651"/>
                </a:lnTo>
                <a:lnTo>
                  <a:pt x="622" y="651"/>
                </a:lnTo>
                <a:lnTo>
                  <a:pt x="629" y="651"/>
                </a:lnTo>
                <a:lnTo>
                  <a:pt x="629" y="651"/>
                </a:lnTo>
                <a:lnTo>
                  <a:pt x="645" y="651"/>
                </a:lnTo>
                <a:lnTo>
                  <a:pt x="645" y="651"/>
                </a:lnTo>
                <a:lnTo>
                  <a:pt x="652" y="651"/>
                </a:lnTo>
                <a:lnTo>
                  <a:pt x="652" y="651"/>
                </a:lnTo>
                <a:lnTo>
                  <a:pt x="652" y="651"/>
                </a:lnTo>
                <a:lnTo>
                  <a:pt x="652" y="651"/>
                </a:lnTo>
                <a:lnTo>
                  <a:pt x="675" y="651"/>
                </a:lnTo>
                <a:lnTo>
                  <a:pt x="675" y="651"/>
                </a:lnTo>
                <a:lnTo>
                  <a:pt x="706" y="651"/>
                </a:lnTo>
                <a:lnTo>
                  <a:pt x="706" y="651"/>
                </a:lnTo>
                <a:lnTo>
                  <a:pt x="714" y="651"/>
                </a:lnTo>
                <a:lnTo>
                  <a:pt x="714" y="651"/>
                </a:lnTo>
                <a:lnTo>
                  <a:pt x="721" y="651"/>
                </a:lnTo>
                <a:lnTo>
                  <a:pt x="721" y="651"/>
                </a:lnTo>
                <a:lnTo>
                  <a:pt x="744" y="651"/>
                </a:lnTo>
                <a:lnTo>
                  <a:pt x="744" y="651"/>
                </a:lnTo>
                <a:lnTo>
                  <a:pt x="752" y="651"/>
                </a:lnTo>
                <a:lnTo>
                  <a:pt x="752" y="651"/>
                </a:lnTo>
                <a:lnTo>
                  <a:pt x="752" y="651"/>
                </a:lnTo>
                <a:lnTo>
                  <a:pt x="752" y="651"/>
                </a:lnTo>
                <a:lnTo>
                  <a:pt x="760" y="651"/>
                </a:lnTo>
                <a:lnTo>
                  <a:pt x="760" y="644"/>
                </a:lnTo>
                <a:lnTo>
                  <a:pt x="775" y="644"/>
                </a:lnTo>
                <a:lnTo>
                  <a:pt x="775" y="644"/>
                </a:lnTo>
                <a:lnTo>
                  <a:pt x="783" y="644"/>
                </a:lnTo>
                <a:lnTo>
                  <a:pt x="783" y="644"/>
                </a:lnTo>
                <a:lnTo>
                  <a:pt x="783" y="644"/>
                </a:lnTo>
                <a:lnTo>
                  <a:pt x="783" y="644"/>
                </a:lnTo>
                <a:lnTo>
                  <a:pt x="813" y="644"/>
                </a:lnTo>
                <a:lnTo>
                  <a:pt x="813" y="644"/>
                </a:lnTo>
                <a:lnTo>
                  <a:pt x="829" y="644"/>
                </a:lnTo>
                <a:lnTo>
                  <a:pt x="829" y="644"/>
                </a:lnTo>
                <a:lnTo>
                  <a:pt x="852" y="644"/>
                </a:lnTo>
                <a:lnTo>
                  <a:pt x="852" y="644"/>
                </a:lnTo>
                <a:lnTo>
                  <a:pt x="859" y="644"/>
                </a:lnTo>
                <a:lnTo>
                  <a:pt x="859" y="644"/>
                </a:lnTo>
                <a:lnTo>
                  <a:pt x="875" y="644"/>
                </a:lnTo>
                <a:lnTo>
                  <a:pt x="875" y="644"/>
                </a:lnTo>
                <a:lnTo>
                  <a:pt x="882" y="644"/>
                </a:lnTo>
                <a:lnTo>
                  <a:pt x="882" y="644"/>
                </a:lnTo>
                <a:lnTo>
                  <a:pt x="890" y="644"/>
                </a:lnTo>
                <a:lnTo>
                  <a:pt x="890" y="644"/>
                </a:lnTo>
                <a:lnTo>
                  <a:pt x="905" y="644"/>
                </a:lnTo>
                <a:lnTo>
                  <a:pt x="905" y="636"/>
                </a:lnTo>
                <a:lnTo>
                  <a:pt x="905" y="636"/>
                </a:lnTo>
                <a:lnTo>
                  <a:pt x="905" y="636"/>
                </a:lnTo>
                <a:lnTo>
                  <a:pt x="913" y="636"/>
                </a:lnTo>
                <a:lnTo>
                  <a:pt x="913" y="636"/>
                </a:lnTo>
                <a:lnTo>
                  <a:pt x="921" y="636"/>
                </a:lnTo>
                <a:lnTo>
                  <a:pt x="921" y="636"/>
                </a:lnTo>
                <a:lnTo>
                  <a:pt x="928" y="636"/>
                </a:lnTo>
                <a:lnTo>
                  <a:pt x="928" y="636"/>
                </a:lnTo>
                <a:lnTo>
                  <a:pt x="951" y="636"/>
                </a:lnTo>
                <a:lnTo>
                  <a:pt x="951" y="636"/>
                </a:lnTo>
                <a:lnTo>
                  <a:pt x="959" y="636"/>
                </a:lnTo>
                <a:lnTo>
                  <a:pt x="959" y="636"/>
                </a:lnTo>
                <a:lnTo>
                  <a:pt x="974" y="636"/>
                </a:lnTo>
                <a:lnTo>
                  <a:pt x="974" y="628"/>
                </a:lnTo>
                <a:lnTo>
                  <a:pt x="982" y="628"/>
                </a:lnTo>
                <a:lnTo>
                  <a:pt x="982" y="628"/>
                </a:lnTo>
                <a:lnTo>
                  <a:pt x="982" y="628"/>
                </a:lnTo>
                <a:lnTo>
                  <a:pt x="982" y="628"/>
                </a:lnTo>
                <a:lnTo>
                  <a:pt x="990" y="628"/>
                </a:lnTo>
                <a:lnTo>
                  <a:pt x="990" y="628"/>
                </a:lnTo>
                <a:lnTo>
                  <a:pt x="1005" y="628"/>
                </a:lnTo>
                <a:lnTo>
                  <a:pt x="1005" y="621"/>
                </a:lnTo>
                <a:lnTo>
                  <a:pt x="1020" y="621"/>
                </a:lnTo>
                <a:lnTo>
                  <a:pt x="1020" y="621"/>
                </a:lnTo>
                <a:lnTo>
                  <a:pt x="1028" y="621"/>
                </a:lnTo>
                <a:lnTo>
                  <a:pt x="1028" y="621"/>
                </a:lnTo>
                <a:lnTo>
                  <a:pt x="1028" y="621"/>
                </a:lnTo>
                <a:lnTo>
                  <a:pt x="1028" y="621"/>
                </a:lnTo>
                <a:lnTo>
                  <a:pt x="1036" y="621"/>
                </a:lnTo>
                <a:lnTo>
                  <a:pt x="1036" y="621"/>
                </a:lnTo>
                <a:lnTo>
                  <a:pt x="1043" y="621"/>
                </a:lnTo>
                <a:lnTo>
                  <a:pt x="1043" y="613"/>
                </a:lnTo>
                <a:lnTo>
                  <a:pt x="1059" y="613"/>
                </a:lnTo>
                <a:lnTo>
                  <a:pt x="1059" y="613"/>
                </a:lnTo>
                <a:lnTo>
                  <a:pt x="1066" y="613"/>
                </a:lnTo>
                <a:lnTo>
                  <a:pt x="1066" y="613"/>
                </a:lnTo>
                <a:lnTo>
                  <a:pt x="1074" y="613"/>
                </a:lnTo>
                <a:lnTo>
                  <a:pt x="1074" y="605"/>
                </a:lnTo>
                <a:lnTo>
                  <a:pt x="1082" y="605"/>
                </a:lnTo>
                <a:lnTo>
                  <a:pt x="1082" y="605"/>
                </a:lnTo>
                <a:lnTo>
                  <a:pt x="1105" y="605"/>
                </a:lnTo>
                <a:lnTo>
                  <a:pt x="1105" y="605"/>
                </a:lnTo>
                <a:lnTo>
                  <a:pt x="1105" y="605"/>
                </a:lnTo>
                <a:lnTo>
                  <a:pt x="1105" y="605"/>
                </a:lnTo>
                <a:lnTo>
                  <a:pt x="1128" y="605"/>
                </a:lnTo>
                <a:lnTo>
                  <a:pt x="1128" y="605"/>
                </a:lnTo>
                <a:lnTo>
                  <a:pt x="1136" y="605"/>
                </a:lnTo>
                <a:lnTo>
                  <a:pt x="1136" y="605"/>
                </a:lnTo>
                <a:lnTo>
                  <a:pt x="1143" y="605"/>
                </a:lnTo>
                <a:lnTo>
                  <a:pt x="1143" y="605"/>
                </a:lnTo>
                <a:lnTo>
                  <a:pt x="1151" y="605"/>
                </a:lnTo>
                <a:lnTo>
                  <a:pt x="1151" y="598"/>
                </a:lnTo>
                <a:lnTo>
                  <a:pt x="1159" y="598"/>
                </a:lnTo>
                <a:lnTo>
                  <a:pt x="1159" y="598"/>
                </a:lnTo>
                <a:lnTo>
                  <a:pt x="1159" y="598"/>
                </a:lnTo>
                <a:lnTo>
                  <a:pt x="1159" y="598"/>
                </a:lnTo>
                <a:lnTo>
                  <a:pt x="1166" y="598"/>
                </a:lnTo>
                <a:lnTo>
                  <a:pt x="1166" y="598"/>
                </a:lnTo>
                <a:lnTo>
                  <a:pt x="1182" y="598"/>
                </a:lnTo>
                <a:lnTo>
                  <a:pt x="1182" y="598"/>
                </a:lnTo>
                <a:lnTo>
                  <a:pt x="1197" y="598"/>
                </a:lnTo>
                <a:lnTo>
                  <a:pt x="1197" y="590"/>
                </a:lnTo>
                <a:lnTo>
                  <a:pt x="1205" y="590"/>
                </a:lnTo>
                <a:lnTo>
                  <a:pt x="1205" y="590"/>
                </a:lnTo>
                <a:lnTo>
                  <a:pt x="1205" y="590"/>
                </a:lnTo>
                <a:lnTo>
                  <a:pt x="1205" y="590"/>
                </a:lnTo>
                <a:lnTo>
                  <a:pt x="1220" y="590"/>
                </a:lnTo>
                <a:lnTo>
                  <a:pt x="1220" y="590"/>
                </a:lnTo>
                <a:lnTo>
                  <a:pt x="1228" y="590"/>
                </a:lnTo>
                <a:lnTo>
                  <a:pt x="1228" y="590"/>
                </a:lnTo>
                <a:lnTo>
                  <a:pt x="1235" y="590"/>
                </a:lnTo>
                <a:lnTo>
                  <a:pt x="1235" y="590"/>
                </a:lnTo>
                <a:lnTo>
                  <a:pt x="1258" y="590"/>
                </a:lnTo>
                <a:lnTo>
                  <a:pt x="1258" y="590"/>
                </a:lnTo>
                <a:lnTo>
                  <a:pt x="1289" y="590"/>
                </a:lnTo>
                <a:lnTo>
                  <a:pt x="1289" y="590"/>
                </a:lnTo>
                <a:lnTo>
                  <a:pt x="1304" y="590"/>
                </a:lnTo>
                <a:lnTo>
                  <a:pt x="1304" y="590"/>
                </a:lnTo>
                <a:lnTo>
                  <a:pt x="1335" y="590"/>
                </a:lnTo>
                <a:lnTo>
                  <a:pt x="1335" y="590"/>
                </a:lnTo>
                <a:lnTo>
                  <a:pt x="1350" y="590"/>
                </a:lnTo>
                <a:lnTo>
                  <a:pt x="1350" y="590"/>
                </a:lnTo>
                <a:lnTo>
                  <a:pt x="1358" y="590"/>
                </a:lnTo>
                <a:lnTo>
                  <a:pt x="1358" y="590"/>
                </a:lnTo>
                <a:lnTo>
                  <a:pt x="1358" y="590"/>
                </a:lnTo>
                <a:lnTo>
                  <a:pt x="1358" y="590"/>
                </a:lnTo>
                <a:lnTo>
                  <a:pt x="1404" y="590"/>
                </a:lnTo>
                <a:lnTo>
                  <a:pt x="1404" y="590"/>
                </a:lnTo>
                <a:lnTo>
                  <a:pt x="1412" y="590"/>
                </a:lnTo>
                <a:lnTo>
                  <a:pt x="1412" y="590"/>
                </a:lnTo>
                <a:lnTo>
                  <a:pt x="1419" y="590"/>
                </a:lnTo>
                <a:lnTo>
                  <a:pt x="1419" y="590"/>
                </a:lnTo>
                <a:lnTo>
                  <a:pt x="1442" y="590"/>
                </a:lnTo>
                <a:lnTo>
                  <a:pt x="1442" y="590"/>
                </a:lnTo>
                <a:lnTo>
                  <a:pt x="1458" y="590"/>
                </a:lnTo>
                <a:lnTo>
                  <a:pt x="1458" y="582"/>
                </a:lnTo>
                <a:lnTo>
                  <a:pt x="1458" y="582"/>
                </a:lnTo>
                <a:lnTo>
                  <a:pt x="1458" y="582"/>
                </a:lnTo>
                <a:lnTo>
                  <a:pt x="1496" y="582"/>
                </a:lnTo>
                <a:lnTo>
                  <a:pt x="1496" y="582"/>
                </a:lnTo>
                <a:lnTo>
                  <a:pt x="1511" y="582"/>
                </a:lnTo>
                <a:lnTo>
                  <a:pt x="1511" y="582"/>
                </a:lnTo>
                <a:lnTo>
                  <a:pt x="1511" y="582"/>
                </a:lnTo>
                <a:lnTo>
                  <a:pt x="1511" y="582"/>
                </a:lnTo>
                <a:lnTo>
                  <a:pt x="1519" y="582"/>
                </a:lnTo>
                <a:lnTo>
                  <a:pt x="1519" y="582"/>
                </a:lnTo>
                <a:lnTo>
                  <a:pt x="1534" y="582"/>
                </a:lnTo>
                <a:lnTo>
                  <a:pt x="1534" y="582"/>
                </a:lnTo>
                <a:lnTo>
                  <a:pt x="1542" y="582"/>
                </a:lnTo>
                <a:lnTo>
                  <a:pt x="1542" y="582"/>
                </a:lnTo>
                <a:lnTo>
                  <a:pt x="1550" y="582"/>
                </a:lnTo>
                <a:lnTo>
                  <a:pt x="1550" y="582"/>
                </a:lnTo>
                <a:lnTo>
                  <a:pt x="1557" y="582"/>
                </a:lnTo>
                <a:lnTo>
                  <a:pt x="1557" y="575"/>
                </a:lnTo>
                <a:lnTo>
                  <a:pt x="1557" y="575"/>
                </a:lnTo>
                <a:lnTo>
                  <a:pt x="1557" y="575"/>
                </a:lnTo>
                <a:lnTo>
                  <a:pt x="1573" y="575"/>
                </a:lnTo>
                <a:lnTo>
                  <a:pt x="1573" y="575"/>
                </a:lnTo>
                <a:lnTo>
                  <a:pt x="1588" y="575"/>
                </a:lnTo>
                <a:lnTo>
                  <a:pt x="1588" y="575"/>
                </a:lnTo>
                <a:lnTo>
                  <a:pt x="1596" y="575"/>
                </a:lnTo>
                <a:lnTo>
                  <a:pt x="1596" y="567"/>
                </a:lnTo>
                <a:lnTo>
                  <a:pt x="1603" y="567"/>
                </a:lnTo>
                <a:lnTo>
                  <a:pt x="1603" y="567"/>
                </a:lnTo>
                <a:lnTo>
                  <a:pt x="1611" y="567"/>
                </a:lnTo>
                <a:lnTo>
                  <a:pt x="1611" y="567"/>
                </a:lnTo>
                <a:lnTo>
                  <a:pt x="1611" y="567"/>
                </a:lnTo>
                <a:lnTo>
                  <a:pt x="1611" y="567"/>
                </a:lnTo>
                <a:lnTo>
                  <a:pt x="1619" y="567"/>
                </a:lnTo>
                <a:lnTo>
                  <a:pt x="1619" y="567"/>
                </a:lnTo>
                <a:lnTo>
                  <a:pt x="1657" y="567"/>
                </a:lnTo>
                <a:lnTo>
                  <a:pt x="1657" y="567"/>
                </a:lnTo>
                <a:lnTo>
                  <a:pt x="1665" y="567"/>
                </a:lnTo>
                <a:lnTo>
                  <a:pt x="1665" y="567"/>
                </a:lnTo>
                <a:lnTo>
                  <a:pt x="1688" y="567"/>
                </a:lnTo>
                <a:lnTo>
                  <a:pt x="1688" y="567"/>
                </a:lnTo>
                <a:lnTo>
                  <a:pt x="1688" y="567"/>
                </a:lnTo>
                <a:lnTo>
                  <a:pt x="1688" y="567"/>
                </a:lnTo>
                <a:lnTo>
                  <a:pt x="1711" y="567"/>
                </a:lnTo>
                <a:lnTo>
                  <a:pt x="1711" y="567"/>
                </a:lnTo>
                <a:lnTo>
                  <a:pt x="1711" y="567"/>
                </a:lnTo>
                <a:lnTo>
                  <a:pt x="1711" y="567"/>
                </a:lnTo>
                <a:lnTo>
                  <a:pt x="1742" y="567"/>
                </a:lnTo>
                <a:lnTo>
                  <a:pt x="1742" y="559"/>
                </a:lnTo>
                <a:lnTo>
                  <a:pt x="1765" y="559"/>
                </a:lnTo>
                <a:lnTo>
                  <a:pt x="1765" y="559"/>
                </a:lnTo>
                <a:lnTo>
                  <a:pt x="1788" y="559"/>
                </a:lnTo>
                <a:lnTo>
                  <a:pt x="1788" y="559"/>
                </a:lnTo>
                <a:lnTo>
                  <a:pt x="1811" y="559"/>
                </a:lnTo>
                <a:lnTo>
                  <a:pt x="1811" y="559"/>
                </a:lnTo>
                <a:lnTo>
                  <a:pt x="1818" y="559"/>
                </a:lnTo>
                <a:lnTo>
                  <a:pt x="1818" y="559"/>
                </a:lnTo>
                <a:lnTo>
                  <a:pt x="1826" y="559"/>
                </a:lnTo>
                <a:lnTo>
                  <a:pt x="1826" y="559"/>
                </a:lnTo>
                <a:lnTo>
                  <a:pt x="1834" y="559"/>
                </a:lnTo>
                <a:lnTo>
                  <a:pt x="1834" y="559"/>
                </a:lnTo>
                <a:lnTo>
                  <a:pt x="1864" y="559"/>
                </a:lnTo>
                <a:lnTo>
                  <a:pt x="1864" y="559"/>
                </a:lnTo>
                <a:lnTo>
                  <a:pt x="1864" y="559"/>
                </a:lnTo>
                <a:lnTo>
                  <a:pt x="1864" y="559"/>
                </a:lnTo>
                <a:lnTo>
                  <a:pt x="1872" y="559"/>
                </a:lnTo>
                <a:lnTo>
                  <a:pt x="1872" y="559"/>
                </a:lnTo>
                <a:lnTo>
                  <a:pt x="1887" y="559"/>
                </a:lnTo>
                <a:lnTo>
                  <a:pt x="1887" y="559"/>
                </a:lnTo>
                <a:lnTo>
                  <a:pt x="1887" y="559"/>
                </a:lnTo>
                <a:lnTo>
                  <a:pt x="1887" y="559"/>
                </a:lnTo>
                <a:lnTo>
                  <a:pt x="1895" y="559"/>
                </a:lnTo>
                <a:lnTo>
                  <a:pt x="1895" y="559"/>
                </a:lnTo>
                <a:lnTo>
                  <a:pt x="1903" y="559"/>
                </a:lnTo>
                <a:lnTo>
                  <a:pt x="1903" y="552"/>
                </a:lnTo>
                <a:lnTo>
                  <a:pt x="1910" y="552"/>
                </a:lnTo>
                <a:lnTo>
                  <a:pt x="1910" y="552"/>
                </a:lnTo>
                <a:lnTo>
                  <a:pt x="1910" y="552"/>
                </a:lnTo>
                <a:lnTo>
                  <a:pt x="1910" y="552"/>
                </a:lnTo>
                <a:lnTo>
                  <a:pt x="1941" y="552"/>
                </a:lnTo>
                <a:lnTo>
                  <a:pt x="1941" y="552"/>
                </a:lnTo>
                <a:lnTo>
                  <a:pt x="1941" y="552"/>
                </a:lnTo>
                <a:lnTo>
                  <a:pt x="1941" y="544"/>
                </a:lnTo>
                <a:lnTo>
                  <a:pt x="1949" y="544"/>
                </a:lnTo>
                <a:lnTo>
                  <a:pt x="1949" y="544"/>
                </a:lnTo>
                <a:lnTo>
                  <a:pt x="1956" y="544"/>
                </a:lnTo>
                <a:lnTo>
                  <a:pt x="1956" y="544"/>
                </a:lnTo>
                <a:lnTo>
                  <a:pt x="1964" y="544"/>
                </a:lnTo>
                <a:lnTo>
                  <a:pt x="1964" y="544"/>
                </a:lnTo>
                <a:lnTo>
                  <a:pt x="1964" y="544"/>
                </a:lnTo>
                <a:lnTo>
                  <a:pt x="1964" y="544"/>
                </a:lnTo>
                <a:lnTo>
                  <a:pt x="1972" y="544"/>
                </a:lnTo>
                <a:lnTo>
                  <a:pt x="1972" y="544"/>
                </a:lnTo>
                <a:lnTo>
                  <a:pt x="1979" y="544"/>
                </a:lnTo>
                <a:lnTo>
                  <a:pt x="1979" y="529"/>
                </a:lnTo>
                <a:lnTo>
                  <a:pt x="1987" y="529"/>
                </a:lnTo>
                <a:lnTo>
                  <a:pt x="1987" y="529"/>
                </a:lnTo>
                <a:lnTo>
                  <a:pt x="1987" y="529"/>
                </a:lnTo>
                <a:lnTo>
                  <a:pt x="1987" y="521"/>
                </a:lnTo>
                <a:lnTo>
                  <a:pt x="1995" y="521"/>
                </a:lnTo>
                <a:lnTo>
                  <a:pt x="1995" y="521"/>
                </a:lnTo>
                <a:lnTo>
                  <a:pt x="2002" y="521"/>
                </a:lnTo>
                <a:lnTo>
                  <a:pt x="2002" y="521"/>
                </a:lnTo>
                <a:lnTo>
                  <a:pt x="2010" y="521"/>
                </a:lnTo>
                <a:lnTo>
                  <a:pt x="2010" y="521"/>
                </a:lnTo>
                <a:lnTo>
                  <a:pt x="2010" y="521"/>
                </a:lnTo>
                <a:lnTo>
                  <a:pt x="2010" y="521"/>
                </a:lnTo>
                <a:lnTo>
                  <a:pt x="2018" y="521"/>
                </a:lnTo>
                <a:lnTo>
                  <a:pt x="2018" y="513"/>
                </a:lnTo>
                <a:lnTo>
                  <a:pt x="2025" y="513"/>
                </a:lnTo>
                <a:lnTo>
                  <a:pt x="2025" y="513"/>
                </a:lnTo>
                <a:lnTo>
                  <a:pt x="2033" y="513"/>
                </a:lnTo>
                <a:lnTo>
                  <a:pt x="2033" y="513"/>
                </a:lnTo>
                <a:lnTo>
                  <a:pt x="2041" y="513"/>
                </a:lnTo>
                <a:lnTo>
                  <a:pt x="2041" y="513"/>
                </a:lnTo>
                <a:lnTo>
                  <a:pt x="2041" y="513"/>
                </a:lnTo>
                <a:lnTo>
                  <a:pt x="2041" y="513"/>
                </a:lnTo>
                <a:lnTo>
                  <a:pt x="2048" y="513"/>
                </a:lnTo>
                <a:lnTo>
                  <a:pt x="2048" y="506"/>
                </a:lnTo>
                <a:lnTo>
                  <a:pt x="2056" y="506"/>
                </a:lnTo>
                <a:lnTo>
                  <a:pt x="2056" y="506"/>
                </a:lnTo>
                <a:lnTo>
                  <a:pt x="2064" y="506"/>
                </a:lnTo>
                <a:lnTo>
                  <a:pt x="2064" y="506"/>
                </a:lnTo>
                <a:lnTo>
                  <a:pt x="2064" y="506"/>
                </a:lnTo>
                <a:lnTo>
                  <a:pt x="2064" y="498"/>
                </a:lnTo>
                <a:lnTo>
                  <a:pt x="2071" y="498"/>
                </a:lnTo>
                <a:lnTo>
                  <a:pt x="2071" y="498"/>
                </a:lnTo>
                <a:lnTo>
                  <a:pt x="2079" y="498"/>
                </a:lnTo>
                <a:lnTo>
                  <a:pt x="2079" y="498"/>
                </a:lnTo>
                <a:lnTo>
                  <a:pt x="2087" y="498"/>
                </a:lnTo>
                <a:lnTo>
                  <a:pt x="2087" y="498"/>
                </a:lnTo>
                <a:lnTo>
                  <a:pt x="2087" y="498"/>
                </a:lnTo>
                <a:lnTo>
                  <a:pt x="2087" y="498"/>
                </a:lnTo>
                <a:lnTo>
                  <a:pt x="2094" y="498"/>
                </a:lnTo>
                <a:lnTo>
                  <a:pt x="2094" y="490"/>
                </a:lnTo>
                <a:lnTo>
                  <a:pt x="2102" y="490"/>
                </a:lnTo>
                <a:lnTo>
                  <a:pt x="2102" y="483"/>
                </a:lnTo>
                <a:lnTo>
                  <a:pt x="2110" y="483"/>
                </a:lnTo>
                <a:lnTo>
                  <a:pt x="2110" y="483"/>
                </a:lnTo>
                <a:lnTo>
                  <a:pt x="2117" y="483"/>
                </a:lnTo>
                <a:lnTo>
                  <a:pt x="2117" y="483"/>
                </a:lnTo>
                <a:lnTo>
                  <a:pt x="2117" y="483"/>
                </a:lnTo>
                <a:lnTo>
                  <a:pt x="2117" y="475"/>
                </a:lnTo>
                <a:lnTo>
                  <a:pt x="2125" y="475"/>
                </a:lnTo>
                <a:lnTo>
                  <a:pt x="2125" y="475"/>
                </a:lnTo>
                <a:lnTo>
                  <a:pt x="2140" y="475"/>
                </a:lnTo>
                <a:lnTo>
                  <a:pt x="2140" y="475"/>
                </a:lnTo>
                <a:lnTo>
                  <a:pt x="2140" y="475"/>
                </a:lnTo>
                <a:lnTo>
                  <a:pt x="2140" y="460"/>
                </a:lnTo>
                <a:lnTo>
                  <a:pt x="2148" y="460"/>
                </a:lnTo>
                <a:lnTo>
                  <a:pt x="2148" y="460"/>
                </a:lnTo>
                <a:lnTo>
                  <a:pt x="2156" y="460"/>
                </a:lnTo>
                <a:lnTo>
                  <a:pt x="2156" y="460"/>
                </a:lnTo>
                <a:lnTo>
                  <a:pt x="2163" y="460"/>
                </a:lnTo>
                <a:lnTo>
                  <a:pt x="2163" y="460"/>
                </a:lnTo>
                <a:lnTo>
                  <a:pt x="2163" y="460"/>
                </a:lnTo>
                <a:lnTo>
                  <a:pt x="2163" y="460"/>
                </a:lnTo>
                <a:lnTo>
                  <a:pt x="2171" y="460"/>
                </a:lnTo>
                <a:lnTo>
                  <a:pt x="2171" y="460"/>
                </a:lnTo>
                <a:lnTo>
                  <a:pt x="2179" y="460"/>
                </a:lnTo>
                <a:lnTo>
                  <a:pt x="2179" y="452"/>
                </a:lnTo>
                <a:lnTo>
                  <a:pt x="2186" y="452"/>
                </a:lnTo>
                <a:lnTo>
                  <a:pt x="2186" y="452"/>
                </a:lnTo>
                <a:lnTo>
                  <a:pt x="2186" y="452"/>
                </a:lnTo>
                <a:lnTo>
                  <a:pt x="2186" y="444"/>
                </a:lnTo>
                <a:lnTo>
                  <a:pt x="2194" y="444"/>
                </a:lnTo>
                <a:lnTo>
                  <a:pt x="2194" y="444"/>
                </a:lnTo>
                <a:lnTo>
                  <a:pt x="2202" y="444"/>
                </a:lnTo>
                <a:lnTo>
                  <a:pt x="2202" y="444"/>
                </a:lnTo>
                <a:lnTo>
                  <a:pt x="2209" y="444"/>
                </a:lnTo>
                <a:lnTo>
                  <a:pt x="2209" y="444"/>
                </a:lnTo>
                <a:lnTo>
                  <a:pt x="2217" y="444"/>
                </a:lnTo>
                <a:lnTo>
                  <a:pt x="2217" y="444"/>
                </a:lnTo>
                <a:lnTo>
                  <a:pt x="2217" y="444"/>
                </a:lnTo>
                <a:lnTo>
                  <a:pt x="2217" y="437"/>
                </a:lnTo>
                <a:lnTo>
                  <a:pt x="2225" y="437"/>
                </a:lnTo>
                <a:lnTo>
                  <a:pt x="2225" y="437"/>
                </a:lnTo>
                <a:lnTo>
                  <a:pt x="2232" y="437"/>
                </a:lnTo>
                <a:lnTo>
                  <a:pt x="2232" y="437"/>
                </a:lnTo>
                <a:lnTo>
                  <a:pt x="2240" y="437"/>
                </a:lnTo>
                <a:lnTo>
                  <a:pt x="2240" y="437"/>
                </a:lnTo>
                <a:lnTo>
                  <a:pt x="2240" y="437"/>
                </a:lnTo>
                <a:lnTo>
                  <a:pt x="2240" y="437"/>
                </a:lnTo>
                <a:lnTo>
                  <a:pt x="2248" y="437"/>
                </a:lnTo>
                <a:lnTo>
                  <a:pt x="2248" y="437"/>
                </a:lnTo>
                <a:lnTo>
                  <a:pt x="2255" y="437"/>
                </a:lnTo>
                <a:lnTo>
                  <a:pt x="2255" y="437"/>
                </a:lnTo>
                <a:lnTo>
                  <a:pt x="2263" y="437"/>
                </a:lnTo>
                <a:lnTo>
                  <a:pt x="2263" y="437"/>
                </a:lnTo>
                <a:lnTo>
                  <a:pt x="2263" y="437"/>
                </a:lnTo>
                <a:lnTo>
                  <a:pt x="2263" y="429"/>
                </a:lnTo>
                <a:lnTo>
                  <a:pt x="2271" y="429"/>
                </a:lnTo>
                <a:lnTo>
                  <a:pt x="2271" y="429"/>
                </a:lnTo>
                <a:lnTo>
                  <a:pt x="2278" y="429"/>
                </a:lnTo>
                <a:lnTo>
                  <a:pt x="2278" y="429"/>
                </a:lnTo>
                <a:lnTo>
                  <a:pt x="2286" y="429"/>
                </a:lnTo>
                <a:lnTo>
                  <a:pt x="2286" y="429"/>
                </a:lnTo>
                <a:lnTo>
                  <a:pt x="2294" y="429"/>
                </a:lnTo>
                <a:lnTo>
                  <a:pt x="2294" y="429"/>
                </a:lnTo>
                <a:lnTo>
                  <a:pt x="2294" y="429"/>
                </a:lnTo>
                <a:lnTo>
                  <a:pt x="2294" y="429"/>
                </a:lnTo>
                <a:lnTo>
                  <a:pt x="2301" y="429"/>
                </a:lnTo>
                <a:lnTo>
                  <a:pt x="2301" y="429"/>
                </a:lnTo>
                <a:lnTo>
                  <a:pt x="2309" y="429"/>
                </a:lnTo>
                <a:lnTo>
                  <a:pt x="2309" y="429"/>
                </a:lnTo>
                <a:lnTo>
                  <a:pt x="2317" y="429"/>
                </a:lnTo>
                <a:lnTo>
                  <a:pt x="2317" y="429"/>
                </a:lnTo>
                <a:lnTo>
                  <a:pt x="2317" y="429"/>
                </a:lnTo>
                <a:lnTo>
                  <a:pt x="2317" y="429"/>
                </a:lnTo>
                <a:lnTo>
                  <a:pt x="2324" y="429"/>
                </a:lnTo>
                <a:lnTo>
                  <a:pt x="2324" y="429"/>
                </a:lnTo>
                <a:lnTo>
                  <a:pt x="2332" y="429"/>
                </a:lnTo>
                <a:lnTo>
                  <a:pt x="2332" y="429"/>
                </a:lnTo>
                <a:lnTo>
                  <a:pt x="2340" y="429"/>
                </a:lnTo>
                <a:lnTo>
                  <a:pt x="2340" y="429"/>
                </a:lnTo>
                <a:lnTo>
                  <a:pt x="2340" y="429"/>
                </a:lnTo>
                <a:lnTo>
                  <a:pt x="2340" y="429"/>
                </a:lnTo>
                <a:lnTo>
                  <a:pt x="2347" y="429"/>
                </a:lnTo>
                <a:lnTo>
                  <a:pt x="2347" y="421"/>
                </a:lnTo>
                <a:lnTo>
                  <a:pt x="2355" y="421"/>
                </a:lnTo>
                <a:lnTo>
                  <a:pt x="2355" y="421"/>
                </a:lnTo>
                <a:lnTo>
                  <a:pt x="2363" y="421"/>
                </a:lnTo>
                <a:lnTo>
                  <a:pt x="2363" y="421"/>
                </a:lnTo>
                <a:lnTo>
                  <a:pt x="2378" y="421"/>
                </a:lnTo>
                <a:lnTo>
                  <a:pt x="2378" y="421"/>
                </a:lnTo>
                <a:lnTo>
                  <a:pt x="2386" y="421"/>
                </a:lnTo>
                <a:lnTo>
                  <a:pt x="2386" y="421"/>
                </a:lnTo>
                <a:lnTo>
                  <a:pt x="2394" y="421"/>
                </a:lnTo>
                <a:lnTo>
                  <a:pt x="2394" y="421"/>
                </a:lnTo>
                <a:lnTo>
                  <a:pt x="2394" y="421"/>
                </a:lnTo>
                <a:lnTo>
                  <a:pt x="2394" y="421"/>
                </a:lnTo>
                <a:lnTo>
                  <a:pt x="2401" y="421"/>
                </a:lnTo>
                <a:lnTo>
                  <a:pt x="2401" y="421"/>
                </a:lnTo>
                <a:lnTo>
                  <a:pt x="2409" y="421"/>
                </a:lnTo>
                <a:lnTo>
                  <a:pt x="2409" y="421"/>
                </a:lnTo>
                <a:lnTo>
                  <a:pt x="2417" y="421"/>
                </a:lnTo>
                <a:lnTo>
                  <a:pt x="2417" y="421"/>
                </a:lnTo>
                <a:lnTo>
                  <a:pt x="2417" y="421"/>
                </a:lnTo>
                <a:lnTo>
                  <a:pt x="2417" y="421"/>
                </a:lnTo>
                <a:lnTo>
                  <a:pt x="2424" y="421"/>
                </a:lnTo>
                <a:lnTo>
                  <a:pt x="2424" y="414"/>
                </a:lnTo>
                <a:lnTo>
                  <a:pt x="2432" y="414"/>
                </a:lnTo>
                <a:lnTo>
                  <a:pt x="2432" y="414"/>
                </a:lnTo>
                <a:lnTo>
                  <a:pt x="2440" y="414"/>
                </a:lnTo>
                <a:lnTo>
                  <a:pt x="2440" y="414"/>
                </a:lnTo>
                <a:lnTo>
                  <a:pt x="2440" y="414"/>
                </a:lnTo>
                <a:lnTo>
                  <a:pt x="2440" y="414"/>
                </a:lnTo>
                <a:lnTo>
                  <a:pt x="2447" y="414"/>
                </a:lnTo>
                <a:lnTo>
                  <a:pt x="2447" y="414"/>
                </a:lnTo>
                <a:lnTo>
                  <a:pt x="2455" y="414"/>
                </a:lnTo>
                <a:lnTo>
                  <a:pt x="2455" y="414"/>
                </a:lnTo>
                <a:lnTo>
                  <a:pt x="2463" y="414"/>
                </a:lnTo>
                <a:lnTo>
                  <a:pt x="2463" y="414"/>
                </a:lnTo>
                <a:lnTo>
                  <a:pt x="2470" y="414"/>
                </a:lnTo>
                <a:lnTo>
                  <a:pt x="2470" y="406"/>
                </a:lnTo>
                <a:lnTo>
                  <a:pt x="2470" y="406"/>
                </a:lnTo>
                <a:lnTo>
                  <a:pt x="2470" y="406"/>
                </a:lnTo>
                <a:lnTo>
                  <a:pt x="2478" y="406"/>
                </a:lnTo>
                <a:lnTo>
                  <a:pt x="2478" y="398"/>
                </a:lnTo>
                <a:lnTo>
                  <a:pt x="2486" y="398"/>
                </a:lnTo>
                <a:lnTo>
                  <a:pt x="2486" y="398"/>
                </a:lnTo>
                <a:lnTo>
                  <a:pt x="2493" y="398"/>
                </a:lnTo>
                <a:lnTo>
                  <a:pt x="2493" y="398"/>
                </a:lnTo>
                <a:lnTo>
                  <a:pt x="2493" y="398"/>
                </a:lnTo>
                <a:lnTo>
                  <a:pt x="2493" y="398"/>
                </a:lnTo>
                <a:lnTo>
                  <a:pt x="2501" y="398"/>
                </a:lnTo>
                <a:lnTo>
                  <a:pt x="2501" y="398"/>
                </a:lnTo>
                <a:lnTo>
                  <a:pt x="2509" y="398"/>
                </a:lnTo>
                <a:lnTo>
                  <a:pt x="2509" y="398"/>
                </a:lnTo>
                <a:lnTo>
                  <a:pt x="2516" y="398"/>
                </a:lnTo>
                <a:lnTo>
                  <a:pt x="2516" y="398"/>
                </a:lnTo>
                <a:lnTo>
                  <a:pt x="2516" y="398"/>
                </a:lnTo>
                <a:lnTo>
                  <a:pt x="2516" y="398"/>
                </a:lnTo>
                <a:lnTo>
                  <a:pt x="2524" y="398"/>
                </a:lnTo>
                <a:lnTo>
                  <a:pt x="2524" y="398"/>
                </a:lnTo>
                <a:lnTo>
                  <a:pt x="2532" y="398"/>
                </a:lnTo>
                <a:lnTo>
                  <a:pt x="2532" y="398"/>
                </a:lnTo>
                <a:lnTo>
                  <a:pt x="2539" y="398"/>
                </a:lnTo>
                <a:lnTo>
                  <a:pt x="2539" y="398"/>
                </a:lnTo>
                <a:lnTo>
                  <a:pt x="2539" y="398"/>
                </a:lnTo>
                <a:lnTo>
                  <a:pt x="2539" y="398"/>
                </a:lnTo>
                <a:lnTo>
                  <a:pt x="2547" y="398"/>
                </a:lnTo>
                <a:lnTo>
                  <a:pt x="2547" y="398"/>
                </a:lnTo>
                <a:lnTo>
                  <a:pt x="2555" y="398"/>
                </a:lnTo>
                <a:lnTo>
                  <a:pt x="2555" y="398"/>
                </a:lnTo>
                <a:lnTo>
                  <a:pt x="2562" y="398"/>
                </a:lnTo>
                <a:lnTo>
                  <a:pt x="2562" y="398"/>
                </a:lnTo>
                <a:lnTo>
                  <a:pt x="2570" y="398"/>
                </a:lnTo>
                <a:lnTo>
                  <a:pt x="2570" y="398"/>
                </a:lnTo>
                <a:lnTo>
                  <a:pt x="2570" y="398"/>
                </a:lnTo>
                <a:lnTo>
                  <a:pt x="2570" y="398"/>
                </a:lnTo>
                <a:lnTo>
                  <a:pt x="2578" y="398"/>
                </a:lnTo>
                <a:lnTo>
                  <a:pt x="2578" y="398"/>
                </a:lnTo>
                <a:lnTo>
                  <a:pt x="2585" y="398"/>
                </a:lnTo>
                <a:lnTo>
                  <a:pt x="2585" y="398"/>
                </a:lnTo>
                <a:lnTo>
                  <a:pt x="2593" y="398"/>
                </a:lnTo>
                <a:lnTo>
                  <a:pt x="2593" y="398"/>
                </a:lnTo>
                <a:lnTo>
                  <a:pt x="2593" y="398"/>
                </a:lnTo>
                <a:lnTo>
                  <a:pt x="2593" y="398"/>
                </a:lnTo>
                <a:lnTo>
                  <a:pt x="2601" y="398"/>
                </a:lnTo>
                <a:lnTo>
                  <a:pt x="2601" y="398"/>
                </a:lnTo>
                <a:lnTo>
                  <a:pt x="2608" y="398"/>
                </a:lnTo>
                <a:lnTo>
                  <a:pt x="2608" y="398"/>
                </a:lnTo>
                <a:lnTo>
                  <a:pt x="2616" y="398"/>
                </a:lnTo>
                <a:lnTo>
                  <a:pt x="2616" y="398"/>
                </a:lnTo>
                <a:lnTo>
                  <a:pt x="2616" y="398"/>
                </a:lnTo>
                <a:lnTo>
                  <a:pt x="2616" y="391"/>
                </a:lnTo>
                <a:lnTo>
                  <a:pt x="2624" y="391"/>
                </a:lnTo>
                <a:lnTo>
                  <a:pt x="2624" y="391"/>
                </a:lnTo>
                <a:lnTo>
                  <a:pt x="2631" y="391"/>
                </a:lnTo>
                <a:lnTo>
                  <a:pt x="2631" y="391"/>
                </a:lnTo>
                <a:lnTo>
                  <a:pt x="2639" y="391"/>
                </a:lnTo>
                <a:lnTo>
                  <a:pt x="2639" y="391"/>
                </a:lnTo>
                <a:lnTo>
                  <a:pt x="2639" y="391"/>
                </a:lnTo>
                <a:lnTo>
                  <a:pt x="2639" y="391"/>
                </a:lnTo>
                <a:lnTo>
                  <a:pt x="2647" y="391"/>
                </a:lnTo>
                <a:lnTo>
                  <a:pt x="2647" y="391"/>
                </a:lnTo>
                <a:lnTo>
                  <a:pt x="2654" y="391"/>
                </a:lnTo>
                <a:lnTo>
                  <a:pt x="2654" y="391"/>
                </a:lnTo>
                <a:lnTo>
                  <a:pt x="2662" y="391"/>
                </a:lnTo>
                <a:lnTo>
                  <a:pt x="2662" y="391"/>
                </a:lnTo>
                <a:lnTo>
                  <a:pt x="2670" y="391"/>
                </a:lnTo>
                <a:lnTo>
                  <a:pt x="2670" y="391"/>
                </a:lnTo>
                <a:lnTo>
                  <a:pt x="2670" y="391"/>
                </a:lnTo>
                <a:lnTo>
                  <a:pt x="2670" y="391"/>
                </a:lnTo>
                <a:lnTo>
                  <a:pt x="2677" y="391"/>
                </a:lnTo>
                <a:lnTo>
                  <a:pt x="2677" y="383"/>
                </a:lnTo>
                <a:lnTo>
                  <a:pt x="2685" y="383"/>
                </a:lnTo>
                <a:lnTo>
                  <a:pt x="2685" y="383"/>
                </a:lnTo>
                <a:lnTo>
                  <a:pt x="2693" y="383"/>
                </a:lnTo>
                <a:lnTo>
                  <a:pt x="2693" y="375"/>
                </a:lnTo>
                <a:lnTo>
                  <a:pt x="2693" y="375"/>
                </a:lnTo>
                <a:lnTo>
                  <a:pt x="2693" y="375"/>
                </a:lnTo>
                <a:lnTo>
                  <a:pt x="2700" y="375"/>
                </a:lnTo>
                <a:lnTo>
                  <a:pt x="2700" y="375"/>
                </a:lnTo>
                <a:lnTo>
                  <a:pt x="2708" y="375"/>
                </a:lnTo>
                <a:lnTo>
                  <a:pt x="2708" y="375"/>
                </a:lnTo>
                <a:lnTo>
                  <a:pt x="2716" y="375"/>
                </a:lnTo>
                <a:lnTo>
                  <a:pt x="2716" y="375"/>
                </a:lnTo>
                <a:lnTo>
                  <a:pt x="2716" y="375"/>
                </a:lnTo>
                <a:lnTo>
                  <a:pt x="2716" y="375"/>
                </a:lnTo>
                <a:lnTo>
                  <a:pt x="2723" y="375"/>
                </a:lnTo>
                <a:lnTo>
                  <a:pt x="2723" y="375"/>
                </a:lnTo>
                <a:lnTo>
                  <a:pt x="2731" y="375"/>
                </a:lnTo>
                <a:lnTo>
                  <a:pt x="2731" y="375"/>
                </a:lnTo>
                <a:lnTo>
                  <a:pt x="2739" y="375"/>
                </a:lnTo>
                <a:lnTo>
                  <a:pt x="2739" y="375"/>
                </a:lnTo>
                <a:lnTo>
                  <a:pt x="2746" y="375"/>
                </a:lnTo>
                <a:lnTo>
                  <a:pt x="2746" y="375"/>
                </a:lnTo>
                <a:lnTo>
                  <a:pt x="2746" y="375"/>
                </a:lnTo>
                <a:lnTo>
                  <a:pt x="2746" y="368"/>
                </a:lnTo>
                <a:lnTo>
                  <a:pt x="2754" y="368"/>
                </a:lnTo>
                <a:lnTo>
                  <a:pt x="2754" y="368"/>
                </a:lnTo>
                <a:lnTo>
                  <a:pt x="2762" y="368"/>
                </a:lnTo>
                <a:lnTo>
                  <a:pt x="2762" y="368"/>
                </a:lnTo>
                <a:lnTo>
                  <a:pt x="2769" y="368"/>
                </a:lnTo>
                <a:lnTo>
                  <a:pt x="2769" y="368"/>
                </a:lnTo>
                <a:lnTo>
                  <a:pt x="2769" y="368"/>
                </a:lnTo>
                <a:lnTo>
                  <a:pt x="2769" y="368"/>
                </a:lnTo>
                <a:lnTo>
                  <a:pt x="2777" y="368"/>
                </a:lnTo>
                <a:lnTo>
                  <a:pt x="2777" y="368"/>
                </a:lnTo>
                <a:lnTo>
                  <a:pt x="2785" y="368"/>
                </a:lnTo>
                <a:lnTo>
                  <a:pt x="2785" y="368"/>
                </a:lnTo>
                <a:lnTo>
                  <a:pt x="2792" y="368"/>
                </a:lnTo>
                <a:lnTo>
                  <a:pt x="2792" y="368"/>
                </a:lnTo>
                <a:lnTo>
                  <a:pt x="2792" y="368"/>
                </a:lnTo>
                <a:lnTo>
                  <a:pt x="2792" y="368"/>
                </a:lnTo>
                <a:lnTo>
                  <a:pt x="2800" y="368"/>
                </a:lnTo>
                <a:lnTo>
                  <a:pt x="2800" y="368"/>
                </a:lnTo>
                <a:lnTo>
                  <a:pt x="2808" y="368"/>
                </a:lnTo>
                <a:lnTo>
                  <a:pt x="2808" y="368"/>
                </a:lnTo>
                <a:lnTo>
                  <a:pt x="2815" y="368"/>
                </a:lnTo>
                <a:lnTo>
                  <a:pt x="2815" y="368"/>
                </a:lnTo>
                <a:lnTo>
                  <a:pt x="2815" y="368"/>
                </a:lnTo>
                <a:lnTo>
                  <a:pt x="2815" y="368"/>
                </a:lnTo>
                <a:lnTo>
                  <a:pt x="2823" y="368"/>
                </a:lnTo>
                <a:lnTo>
                  <a:pt x="2823" y="368"/>
                </a:lnTo>
                <a:lnTo>
                  <a:pt x="2831" y="368"/>
                </a:lnTo>
                <a:lnTo>
                  <a:pt x="2831" y="368"/>
                </a:lnTo>
                <a:lnTo>
                  <a:pt x="2838" y="368"/>
                </a:lnTo>
                <a:lnTo>
                  <a:pt x="2838" y="368"/>
                </a:lnTo>
                <a:lnTo>
                  <a:pt x="2846" y="368"/>
                </a:lnTo>
                <a:lnTo>
                  <a:pt x="2846" y="360"/>
                </a:lnTo>
                <a:lnTo>
                  <a:pt x="2846" y="360"/>
                </a:lnTo>
                <a:lnTo>
                  <a:pt x="2846" y="360"/>
                </a:lnTo>
                <a:lnTo>
                  <a:pt x="2854" y="360"/>
                </a:lnTo>
                <a:lnTo>
                  <a:pt x="2854" y="360"/>
                </a:lnTo>
                <a:lnTo>
                  <a:pt x="2861" y="360"/>
                </a:lnTo>
                <a:lnTo>
                  <a:pt x="2861" y="360"/>
                </a:lnTo>
                <a:lnTo>
                  <a:pt x="2869" y="360"/>
                </a:lnTo>
                <a:lnTo>
                  <a:pt x="2869" y="360"/>
                </a:lnTo>
                <a:lnTo>
                  <a:pt x="2869" y="360"/>
                </a:lnTo>
                <a:lnTo>
                  <a:pt x="2869" y="360"/>
                </a:lnTo>
                <a:lnTo>
                  <a:pt x="2877" y="360"/>
                </a:lnTo>
                <a:lnTo>
                  <a:pt x="2877" y="360"/>
                </a:lnTo>
                <a:lnTo>
                  <a:pt x="2884" y="360"/>
                </a:lnTo>
                <a:lnTo>
                  <a:pt x="2884" y="360"/>
                </a:lnTo>
                <a:lnTo>
                  <a:pt x="2892" y="360"/>
                </a:lnTo>
                <a:lnTo>
                  <a:pt x="2892" y="360"/>
                </a:lnTo>
                <a:lnTo>
                  <a:pt x="2892" y="360"/>
                </a:lnTo>
                <a:lnTo>
                  <a:pt x="2892" y="360"/>
                </a:lnTo>
                <a:lnTo>
                  <a:pt x="2900" y="360"/>
                </a:lnTo>
                <a:lnTo>
                  <a:pt x="2900" y="360"/>
                </a:lnTo>
                <a:lnTo>
                  <a:pt x="2907" y="360"/>
                </a:lnTo>
                <a:lnTo>
                  <a:pt x="2907" y="360"/>
                </a:lnTo>
                <a:lnTo>
                  <a:pt x="2915" y="360"/>
                </a:lnTo>
                <a:lnTo>
                  <a:pt x="2915" y="360"/>
                </a:lnTo>
                <a:lnTo>
                  <a:pt x="2923" y="360"/>
                </a:lnTo>
                <a:lnTo>
                  <a:pt x="2923" y="360"/>
                </a:lnTo>
                <a:lnTo>
                  <a:pt x="2923" y="360"/>
                </a:lnTo>
                <a:lnTo>
                  <a:pt x="2923" y="352"/>
                </a:lnTo>
                <a:lnTo>
                  <a:pt x="2930" y="352"/>
                </a:lnTo>
                <a:lnTo>
                  <a:pt x="2930" y="352"/>
                </a:lnTo>
                <a:lnTo>
                  <a:pt x="2938" y="352"/>
                </a:lnTo>
                <a:lnTo>
                  <a:pt x="2938" y="352"/>
                </a:lnTo>
                <a:lnTo>
                  <a:pt x="2946" y="352"/>
                </a:lnTo>
                <a:lnTo>
                  <a:pt x="2946" y="352"/>
                </a:lnTo>
                <a:lnTo>
                  <a:pt x="2946" y="352"/>
                </a:lnTo>
                <a:lnTo>
                  <a:pt x="2946" y="352"/>
                </a:lnTo>
                <a:lnTo>
                  <a:pt x="2953" y="352"/>
                </a:lnTo>
                <a:lnTo>
                  <a:pt x="2953" y="352"/>
                </a:lnTo>
                <a:lnTo>
                  <a:pt x="2961" y="352"/>
                </a:lnTo>
                <a:lnTo>
                  <a:pt x="2961" y="345"/>
                </a:lnTo>
                <a:lnTo>
                  <a:pt x="2969" y="345"/>
                </a:lnTo>
                <a:lnTo>
                  <a:pt x="2969" y="337"/>
                </a:lnTo>
                <a:lnTo>
                  <a:pt x="2969" y="337"/>
                </a:lnTo>
                <a:lnTo>
                  <a:pt x="2969" y="337"/>
                </a:lnTo>
                <a:lnTo>
                  <a:pt x="2976" y="337"/>
                </a:lnTo>
                <a:lnTo>
                  <a:pt x="2976" y="337"/>
                </a:lnTo>
                <a:lnTo>
                  <a:pt x="2984" y="337"/>
                </a:lnTo>
                <a:lnTo>
                  <a:pt x="2984" y="337"/>
                </a:lnTo>
                <a:lnTo>
                  <a:pt x="2992" y="337"/>
                </a:lnTo>
                <a:lnTo>
                  <a:pt x="2992" y="337"/>
                </a:lnTo>
                <a:lnTo>
                  <a:pt x="2992" y="337"/>
                </a:lnTo>
                <a:lnTo>
                  <a:pt x="2992" y="329"/>
                </a:lnTo>
                <a:lnTo>
                  <a:pt x="3000" y="329"/>
                </a:lnTo>
                <a:lnTo>
                  <a:pt x="3000" y="329"/>
                </a:lnTo>
                <a:lnTo>
                  <a:pt x="3007" y="329"/>
                </a:lnTo>
                <a:lnTo>
                  <a:pt x="3007" y="329"/>
                </a:lnTo>
                <a:lnTo>
                  <a:pt x="3015" y="329"/>
                </a:lnTo>
                <a:lnTo>
                  <a:pt x="3015" y="329"/>
                </a:lnTo>
                <a:lnTo>
                  <a:pt x="3023" y="329"/>
                </a:lnTo>
                <a:lnTo>
                  <a:pt x="3023" y="329"/>
                </a:lnTo>
                <a:lnTo>
                  <a:pt x="3023" y="329"/>
                </a:lnTo>
                <a:lnTo>
                  <a:pt x="3023" y="322"/>
                </a:lnTo>
                <a:lnTo>
                  <a:pt x="3030" y="322"/>
                </a:lnTo>
                <a:lnTo>
                  <a:pt x="3030" y="322"/>
                </a:lnTo>
                <a:lnTo>
                  <a:pt x="3038" y="322"/>
                </a:lnTo>
                <a:lnTo>
                  <a:pt x="3038" y="322"/>
                </a:lnTo>
                <a:lnTo>
                  <a:pt x="3046" y="322"/>
                </a:lnTo>
                <a:lnTo>
                  <a:pt x="3046" y="314"/>
                </a:lnTo>
                <a:lnTo>
                  <a:pt x="3046" y="314"/>
                </a:lnTo>
                <a:lnTo>
                  <a:pt x="3046" y="306"/>
                </a:lnTo>
                <a:lnTo>
                  <a:pt x="3053" y="306"/>
                </a:lnTo>
                <a:lnTo>
                  <a:pt x="3053" y="306"/>
                </a:lnTo>
                <a:lnTo>
                  <a:pt x="3061" y="306"/>
                </a:lnTo>
                <a:lnTo>
                  <a:pt x="3061" y="306"/>
                </a:lnTo>
                <a:lnTo>
                  <a:pt x="3069" y="306"/>
                </a:lnTo>
                <a:lnTo>
                  <a:pt x="3069" y="306"/>
                </a:lnTo>
                <a:lnTo>
                  <a:pt x="3069" y="306"/>
                </a:lnTo>
                <a:lnTo>
                  <a:pt x="3069" y="306"/>
                </a:lnTo>
                <a:lnTo>
                  <a:pt x="3076" y="306"/>
                </a:lnTo>
                <a:lnTo>
                  <a:pt x="3076" y="299"/>
                </a:lnTo>
                <a:lnTo>
                  <a:pt x="3084" y="299"/>
                </a:lnTo>
                <a:lnTo>
                  <a:pt x="3084" y="299"/>
                </a:lnTo>
                <a:lnTo>
                  <a:pt x="3092" y="299"/>
                </a:lnTo>
                <a:lnTo>
                  <a:pt x="3092" y="291"/>
                </a:lnTo>
                <a:lnTo>
                  <a:pt x="3099" y="291"/>
                </a:lnTo>
                <a:lnTo>
                  <a:pt x="3099" y="291"/>
                </a:lnTo>
                <a:lnTo>
                  <a:pt x="3099" y="291"/>
                </a:lnTo>
                <a:lnTo>
                  <a:pt x="3099" y="283"/>
                </a:lnTo>
                <a:lnTo>
                  <a:pt x="3107" y="283"/>
                </a:lnTo>
                <a:lnTo>
                  <a:pt x="3107" y="283"/>
                </a:lnTo>
                <a:lnTo>
                  <a:pt x="3115" y="283"/>
                </a:lnTo>
                <a:lnTo>
                  <a:pt x="3115" y="283"/>
                </a:lnTo>
                <a:lnTo>
                  <a:pt x="3122" y="283"/>
                </a:lnTo>
                <a:lnTo>
                  <a:pt x="3122" y="283"/>
                </a:lnTo>
                <a:lnTo>
                  <a:pt x="3122" y="283"/>
                </a:lnTo>
                <a:lnTo>
                  <a:pt x="3122" y="283"/>
                </a:lnTo>
                <a:lnTo>
                  <a:pt x="3130" y="283"/>
                </a:lnTo>
                <a:lnTo>
                  <a:pt x="3130" y="276"/>
                </a:lnTo>
                <a:lnTo>
                  <a:pt x="3138" y="276"/>
                </a:lnTo>
                <a:lnTo>
                  <a:pt x="3138" y="276"/>
                </a:lnTo>
                <a:lnTo>
                  <a:pt x="3145" y="276"/>
                </a:lnTo>
                <a:lnTo>
                  <a:pt x="3145" y="268"/>
                </a:lnTo>
                <a:lnTo>
                  <a:pt x="3145" y="268"/>
                </a:lnTo>
                <a:lnTo>
                  <a:pt x="3145" y="268"/>
                </a:lnTo>
                <a:lnTo>
                  <a:pt x="3153" y="268"/>
                </a:lnTo>
                <a:lnTo>
                  <a:pt x="3153" y="260"/>
                </a:lnTo>
                <a:lnTo>
                  <a:pt x="3161" y="260"/>
                </a:lnTo>
                <a:lnTo>
                  <a:pt x="3161" y="260"/>
                </a:lnTo>
                <a:lnTo>
                  <a:pt x="3168" y="260"/>
                </a:lnTo>
                <a:lnTo>
                  <a:pt x="3168" y="260"/>
                </a:lnTo>
                <a:lnTo>
                  <a:pt x="3168" y="260"/>
                </a:lnTo>
                <a:lnTo>
                  <a:pt x="3168" y="260"/>
                </a:lnTo>
                <a:lnTo>
                  <a:pt x="3176" y="260"/>
                </a:lnTo>
                <a:lnTo>
                  <a:pt x="3176" y="253"/>
                </a:lnTo>
                <a:lnTo>
                  <a:pt x="3184" y="253"/>
                </a:lnTo>
                <a:lnTo>
                  <a:pt x="3184" y="253"/>
                </a:lnTo>
                <a:lnTo>
                  <a:pt x="3191" y="253"/>
                </a:lnTo>
                <a:lnTo>
                  <a:pt x="3191" y="245"/>
                </a:lnTo>
                <a:lnTo>
                  <a:pt x="3199" y="245"/>
                </a:lnTo>
                <a:lnTo>
                  <a:pt x="3199" y="245"/>
                </a:lnTo>
                <a:lnTo>
                  <a:pt x="3199" y="245"/>
                </a:lnTo>
                <a:lnTo>
                  <a:pt x="3199" y="237"/>
                </a:lnTo>
                <a:lnTo>
                  <a:pt x="3207" y="237"/>
                </a:lnTo>
                <a:lnTo>
                  <a:pt x="3207" y="237"/>
                </a:lnTo>
                <a:lnTo>
                  <a:pt x="3214" y="237"/>
                </a:lnTo>
                <a:lnTo>
                  <a:pt x="3214" y="237"/>
                </a:lnTo>
                <a:lnTo>
                  <a:pt x="3222" y="237"/>
                </a:lnTo>
                <a:lnTo>
                  <a:pt x="3222" y="230"/>
                </a:lnTo>
                <a:lnTo>
                  <a:pt x="3222" y="230"/>
                </a:lnTo>
                <a:lnTo>
                  <a:pt x="3222" y="230"/>
                </a:lnTo>
                <a:lnTo>
                  <a:pt x="3230" y="230"/>
                </a:lnTo>
                <a:lnTo>
                  <a:pt x="3230" y="230"/>
                </a:lnTo>
                <a:lnTo>
                  <a:pt x="3237" y="230"/>
                </a:lnTo>
                <a:lnTo>
                  <a:pt x="3237" y="230"/>
                </a:lnTo>
                <a:lnTo>
                  <a:pt x="3245" y="230"/>
                </a:lnTo>
                <a:lnTo>
                  <a:pt x="3245" y="222"/>
                </a:lnTo>
                <a:lnTo>
                  <a:pt x="3245" y="222"/>
                </a:lnTo>
                <a:lnTo>
                  <a:pt x="3245" y="222"/>
                </a:lnTo>
                <a:lnTo>
                  <a:pt x="3253" y="222"/>
                </a:lnTo>
                <a:lnTo>
                  <a:pt x="3253" y="207"/>
                </a:lnTo>
                <a:lnTo>
                  <a:pt x="3260" y="207"/>
                </a:lnTo>
                <a:lnTo>
                  <a:pt x="3260" y="207"/>
                </a:lnTo>
                <a:lnTo>
                  <a:pt x="3268" y="207"/>
                </a:lnTo>
                <a:lnTo>
                  <a:pt x="3268" y="199"/>
                </a:lnTo>
                <a:lnTo>
                  <a:pt x="3276" y="199"/>
                </a:lnTo>
                <a:lnTo>
                  <a:pt x="3276" y="199"/>
                </a:lnTo>
                <a:lnTo>
                  <a:pt x="3276" y="199"/>
                </a:lnTo>
                <a:lnTo>
                  <a:pt x="3276" y="199"/>
                </a:lnTo>
                <a:lnTo>
                  <a:pt x="3283" y="199"/>
                </a:lnTo>
                <a:lnTo>
                  <a:pt x="3283" y="199"/>
                </a:lnTo>
                <a:lnTo>
                  <a:pt x="3291" y="199"/>
                </a:lnTo>
                <a:lnTo>
                  <a:pt x="3291" y="191"/>
                </a:lnTo>
                <a:lnTo>
                  <a:pt x="3299" y="191"/>
                </a:lnTo>
                <a:lnTo>
                  <a:pt x="3299" y="184"/>
                </a:lnTo>
                <a:lnTo>
                  <a:pt x="3299" y="184"/>
                </a:lnTo>
                <a:lnTo>
                  <a:pt x="3299" y="176"/>
                </a:lnTo>
                <a:lnTo>
                  <a:pt x="3306" y="176"/>
                </a:lnTo>
                <a:lnTo>
                  <a:pt x="3306" y="176"/>
                </a:lnTo>
                <a:lnTo>
                  <a:pt x="3314" y="176"/>
                </a:lnTo>
                <a:lnTo>
                  <a:pt x="3314" y="176"/>
                </a:lnTo>
                <a:lnTo>
                  <a:pt x="3322" y="176"/>
                </a:lnTo>
                <a:lnTo>
                  <a:pt x="3322" y="176"/>
                </a:lnTo>
                <a:lnTo>
                  <a:pt x="3322" y="176"/>
                </a:lnTo>
                <a:lnTo>
                  <a:pt x="3322" y="168"/>
                </a:lnTo>
                <a:lnTo>
                  <a:pt x="3329" y="168"/>
                </a:lnTo>
                <a:lnTo>
                  <a:pt x="3329" y="168"/>
                </a:lnTo>
                <a:lnTo>
                  <a:pt x="3337" y="168"/>
                </a:lnTo>
                <a:lnTo>
                  <a:pt x="3337" y="161"/>
                </a:lnTo>
                <a:lnTo>
                  <a:pt x="3345" y="161"/>
                </a:lnTo>
                <a:lnTo>
                  <a:pt x="3345" y="153"/>
                </a:lnTo>
                <a:lnTo>
                  <a:pt x="3345" y="153"/>
                </a:lnTo>
                <a:lnTo>
                  <a:pt x="3345" y="153"/>
                </a:lnTo>
                <a:lnTo>
                  <a:pt x="3352" y="153"/>
                </a:lnTo>
                <a:lnTo>
                  <a:pt x="3352" y="153"/>
                </a:lnTo>
                <a:lnTo>
                  <a:pt x="3360" y="153"/>
                </a:lnTo>
                <a:lnTo>
                  <a:pt x="3360" y="153"/>
                </a:lnTo>
                <a:lnTo>
                  <a:pt x="3368" y="153"/>
                </a:lnTo>
                <a:lnTo>
                  <a:pt x="3368" y="153"/>
                </a:lnTo>
                <a:lnTo>
                  <a:pt x="3375" y="153"/>
                </a:lnTo>
                <a:lnTo>
                  <a:pt x="3375" y="153"/>
                </a:lnTo>
                <a:lnTo>
                  <a:pt x="3375" y="153"/>
                </a:lnTo>
                <a:lnTo>
                  <a:pt x="3375" y="138"/>
                </a:lnTo>
                <a:lnTo>
                  <a:pt x="3383" y="138"/>
                </a:lnTo>
                <a:lnTo>
                  <a:pt x="3383" y="138"/>
                </a:lnTo>
                <a:lnTo>
                  <a:pt x="3391" y="138"/>
                </a:lnTo>
                <a:lnTo>
                  <a:pt x="3391" y="138"/>
                </a:lnTo>
                <a:lnTo>
                  <a:pt x="3398" y="138"/>
                </a:lnTo>
                <a:lnTo>
                  <a:pt x="3398" y="138"/>
                </a:lnTo>
                <a:lnTo>
                  <a:pt x="3398" y="138"/>
                </a:lnTo>
                <a:lnTo>
                  <a:pt x="3398" y="138"/>
                </a:lnTo>
                <a:lnTo>
                  <a:pt x="3406" y="138"/>
                </a:lnTo>
                <a:lnTo>
                  <a:pt x="3406" y="130"/>
                </a:lnTo>
                <a:lnTo>
                  <a:pt x="3414" y="130"/>
                </a:lnTo>
                <a:lnTo>
                  <a:pt x="3414" y="130"/>
                </a:lnTo>
                <a:lnTo>
                  <a:pt x="3421" y="130"/>
                </a:lnTo>
                <a:lnTo>
                  <a:pt x="3421" y="122"/>
                </a:lnTo>
                <a:lnTo>
                  <a:pt x="3421" y="122"/>
                </a:lnTo>
                <a:lnTo>
                  <a:pt x="3421" y="122"/>
                </a:lnTo>
                <a:lnTo>
                  <a:pt x="3429" y="122"/>
                </a:lnTo>
                <a:lnTo>
                  <a:pt x="3429" y="122"/>
                </a:lnTo>
                <a:lnTo>
                  <a:pt x="3437" y="122"/>
                </a:lnTo>
                <a:lnTo>
                  <a:pt x="3437" y="122"/>
                </a:lnTo>
                <a:lnTo>
                  <a:pt x="3444" y="122"/>
                </a:lnTo>
                <a:lnTo>
                  <a:pt x="3444" y="122"/>
                </a:lnTo>
                <a:lnTo>
                  <a:pt x="3444" y="122"/>
                </a:lnTo>
                <a:lnTo>
                  <a:pt x="3444" y="115"/>
                </a:lnTo>
                <a:lnTo>
                  <a:pt x="3452" y="115"/>
                </a:lnTo>
                <a:lnTo>
                  <a:pt x="3452" y="115"/>
                </a:lnTo>
                <a:lnTo>
                  <a:pt x="3460" y="115"/>
                </a:lnTo>
                <a:lnTo>
                  <a:pt x="3460" y="115"/>
                </a:lnTo>
                <a:lnTo>
                  <a:pt x="3467" y="115"/>
                </a:lnTo>
                <a:lnTo>
                  <a:pt x="3467" y="115"/>
                </a:lnTo>
                <a:lnTo>
                  <a:pt x="3475" y="115"/>
                </a:lnTo>
                <a:lnTo>
                  <a:pt x="3475" y="115"/>
                </a:lnTo>
                <a:lnTo>
                  <a:pt x="3475" y="115"/>
                </a:lnTo>
                <a:lnTo>
                  <a:pt x="3475" y="115"/>
                </a:lnTo>
                <a:lnTo>
                  <a:pt x="3483" y="115"/>
                </a:lnTo>
                <a:lnTo>
                  <a:pt x="3483" y="115"/>
                </a:lnTo>
                <a:lnTo>
                  <a:pt x="3490" y="115"/>
                </a:lnTo>
                <a:lnTo>
                  <a:pt x="3490" y="107"/>
                </a:lnTo>
                <a:lnTo>
                  <a:pt x="3498" y="107"/>
                </a:lnTo>
                <a:lnTo>
                  <a:pt x="3498" y="107"/>
                </a:lnTo>
                <a:lnTo>
                  <a:pt x="3498" y="107"/>
                </a:lnTo>
                <a:lnTo>
                  <a:pt x="3498" y="107"/>
                </a:lnTo>
                <a:lnTo>
                  <a:pt x="3506" y="107"/>
                </a:lnTo>
                <a:lnTo>
                  <a:pt x="3506" y="107"/>
                </a:lnTo>
                <a:lnTo>
                  <a:pt x="3513" y="107"/>
                </a:lnTo>
                <a:lnTo>
                  <a:pt x="3513" y="107"/>
                </a:lnTo>
                <a:lnTo>
                  <a:pt x="3521" y="107"/>
                </a:lnTo>
                <a:lnTo>
                  <a:pt x="3521" y="99"/>
                </a:lnTo>
                <a:lnTo>
                  <a:pt x="3521" y="99"/>
                </a:lnTo>
                <a:lnTo>
                  <a:pt x="3521" y="99"/>
                </a:lnTo>
                <a:lnTo>
                  <a:pt x="3529" y="99"/>
                </a:lnTo>
                <a:lnTo>
                  <a:pt x="3529" y="99"/>
                </a:lnTo>
                <a:lnTo>
                  <a:pt x="3536" y="99"/>
                </a:lnTo>
                <a:lnTo>
                  <a:pt x="3536" y="92"/>
                </a:lnTo>
                <a:lnTo>
                  <a:pt x="3544" y="92"/>
                </a:lnTo>
                <a:lnTo>
                  <a:pt x="3544" y="92"/>
                </a:lnTo>
                <a:lnTo>
                  <a:pt x="3552" y="92"/>
                </a:lnTo>
                <a:lnTo>
                  <a:pt x="3552" y="92"/>
                </a:lnTo>
                <a:lnTo>
                  <a:pt x="3552" y="92"/>
                </a:lnTo>
                <a:lnTo>
                  <a:pt x="3552" y="92"/>
                </a:lnTo>
                <a:lnTo>
                  <a:pt x="3559" y="92"/>
                </a:lnTo>
                <a:lnTo>
                  <a:pt x="3559" y="84"/>
                </a:lnTo>
                <a:lnTo>
                  <a:pt x="3567" y="84"/>
                </a:lnTo>
                <a:lnTo>
                  <a:pt x="3567" y="84"/>
                </a:lnTo>
                <a:lnTo>
                  <a:pt x="3575" y="84"/>
                </a:lnTo>
                <a:lnTo>
                  <a:pt x="3575" y="84"/>
                </a:lnTo>
                <a:lnTo>
                  <a:pt x="3575" y="84"/>
                </a:lnTo>
                <a:lnTo>
                  <a:pt x="3575" y="84"/>
                </a:lnTo>
                <a:lnTo>
                  <a:pt x="3582" y="84"/>
                </a:lnTo>
                <a:lnTo>
                  <a:pt x="3582" y="84"/>
                </a:lnTo>
                <a:lnTo>
                  <a:pt x="3590" y="84"/>
                </a:lnTo>
                <a:lnTo>
                  <a:pt x="3590" y="84"/>
                </a:lnTo>
                <a:lnTo>
                  <a:pt x="3598" y="84"/>
                </a:lnTo>
                <a:lnTo>
                  <a:pt x="3598" y="84"/>
                </a:lnTo>
                <a:lnTo>
                  <a:pt x="3598" y="84"/>
                </a:lnTo>
                <a:lnTo>
                  <a:pt x="3598" y="84"/>
                </a:lnTo>
                <a:lnTo>
                  <a:pt x="3606" y="84"/>
                </a:lnTo>
                <a:lnTo>
                  <a:pt x="3606" y="84"/>
                </a:lnTo>
                <a:lnTo>
                  <a:pt x="3613" y="84"/>
                </a:lnTo>
                <a:lnTo>
                  <a:pt x="3613" y="84"/>
                </a:lnTo>
                <a:lnTo>
                  <a:pt x="3621" y="84"/>
                </a:lnTo>
                <a:lnTo>
                  <a:pt x="3621" y="84"/>
                </a:lnTo>
                <a:lnTo>
                  <a:pt x="3621" y="84"/>
                </a:lnTo>
                <a:lnTo>
                  <a:pt x="3621" y="84"/>
                </a:lnTo>
                <a:lnTo>
                  <a:pt x="3629" y="84"/>
                </a:lnTo>
                <a:lnTo>
                  <a:pt x="3629" y="84"/>
                </a:lnTo>
                <a:lnTo>
                  <a:pt x="3636" y="84"/>
                </a:lnTo>
                <a:lnTo>
                  <a:pt x="3636" y="76"/>
                </a:lnTo>
                <a:lnTo>
                  <a:pt x="3644" y="76"/>
                </a:lnTo>
                <a:lnTo>
                  <a:pt x="3644" y="76"/>
                </a:lnTo>
                <a:lnTo>
                  <a:pt x="3652" y="76"/>
                </a:lnTo>
                <a:lnTo>
                  <a:pt x="3652" y="76"/>
                </a:lnTo>
                <a:lnTo>
                  <a:pt x="3652" y="76"/>
                </a:lnTo>
                <a:lnTo>
                  <a:pt x="3652" y="76"/>
                </a:lnTo>
                <a:lnTo>
                  <a:pt x="3659" y="76"/>
                </a:lnTo>
                <a:lnTo>
                  <a:pt x="3659" y="76"/>
                </a:lnTo>
                <a:lnTo>
                  <a:pt x="3667" y="76"/>
                </a:lnTo>
                <a:lnTo>
                  <a:pt x="3667" y="76"/>
                </a:lnTo>
                <a:lnTo>
                  <a:pt x="3675" y="76"/>
                </a:lnTo>
                <a:lnTo>
                  <a:pt x="3675" y="76"/>
                </a:lnTo>
                <a:lnTo>
                  <a:pt x="3675" y="76"/>
                </a:lnTo>
                <a:lnTo>
                  <a:pt x="3675" y="76"/>
                </a:lnTo>
                <a:lnTo>
                  <a:pt x="3682" y="76"/>
                </a:lnTo>
                <a:lnTo>
                  <a:pt x="3682" y="76"/>
                </a:lnTo>
                <a:lnTo>
                  <a:pt x="3690" y="76"/>
                </a:lnTo>
                <a:lnTo>
                  <a:pt x="3690" y="76"/>
                </a:lnTo>
                <a:lnTo>
                  <a:pt x="3698" y="76"/>
                </a:lnTo>
                <a:lnTo>
                  <a:pt x="3698" y="76"/>
                </a:lnTo>
                <a:lnTo>
                  <a:pt x="3698" y="76"/>
                </a:lnTo>
                <a:lnTo>
                  <a:pt x="3698" y="69"/>
                </a:lnTo>
                <a:lnTo>
                  <a:pt x="3705" y="69"/>
                </a:lnTo>
                <a:lnTo>
                  <a:pt x="3705" y="69"/>
                </a:lnTo>
                <a:lnTo>
                  <a:pt x="3713" y="69"/>
                </a:lnTo>
                <a:lnTo>
                  <a:pt x="3713" y="69"/>
                </a:lnTo>
                <a:lnTo>
                  <a:pt x="3721" y="69"/>
                </a:lnTo>
                <a:lnTo>
                  <a:pt x="3721" y="69"/>
                </a:lnTo>
                <a:lnTo>
                  <a:pt x="3728" y="69"/>
                </a:lnTo>
                <a:lnTo>
                  <a:pt x="3728" y="69"/>
                </a:lnTo>
                <a:lnTo>
                  <a:pt x="3728" y="69"/>
                </a:lnTo>
                <a:lnTo>
                  <a:pt x="3728" y="61"/>
                </a:lnTo>
                <a:lnTo>
                  <a:pt x="3736" y="61"/>
                </a:lnTo>
                <a:lnTo>
                  <a:pt x="3736" y="61"/>
                </a:lnTo>
                <a:lnTo>
                  <a:pt x="3744" y="61"/>
                </a:lnTo>
                <a:lnTo>
                  <a:pt x="3744" y="61"/>
                </a:lnTo>
                <a:lnTo>
                  <a:pt x="3751" y="61"/>
                </a:lnTo>
                <a:lnTo>
                  <a:pt x="3751" y="61"/>
                </a:lnTo>
                <a:lnTo>
                  <a:pt x="3751" y="61"/>
                </a:lnTo>
                <a:lnTo>
                  <a:pt x="3751" y="61"/>
                </a:lnTo>
                <a:lnTo>
                  <a:pt x="3759" y="61"/>
                </a:lnTo>
                <a:lnTo>
                  <a:pt x="3759" y="61"/>
                </a:lnTo>
                <a:lnTo>
                  <a:pt x="3767" y="61"/>
                </a:lnTo>
                <a:lnTo>
                  <a:pt x="3767" y="61"/>
                </a:lnTo>
                <a:lnTo>
                  <a:pt x="3774" y="61"/>
                </a:lnTo>
                <a:lnTo>
                  <a:pt x="3774" y="61"/>
                </a:lnTo>
                <a:lnTo>
                  <a:pt x="3774" y="61"/>
                </a:lnTo>
                <a:lnTo>
                  <a:pt x="3774" y="61"/>
                </a:lnTo>
                <a:lnTo>
                  <a:pt x="3782" y="61"/>
                </a:lnTo>
                <a:lnTo>
                  <a:pt x="3782" y="53"/>
                </a:lnTo>
                <a:lnTo>
                  <a:pt x="3790" y="53"/>
                </a:lnTo>
                <a:lnTo>
                  <a:pt x="3790" y="53"/>
                </a:lnTo>
                <a:lnTo>
                  <a:pt x="3797" y="53"/>
                </a:lnTo>
                <a:lnTo>
                  <a:pt x="3797" y="46"/>
                </a:lnTo>
                <a:lnTo>
                  <a:pt x="3797" y="46"/>
                </a:lnTo>
                <a:lnTo>
                  <a:pt x="3797" y="46"/>
                </a:lnTo>
                <a:lnTo>
                  <a:pt x="3805" y="46"/>
                </a:lnTo>
                <a:lnTo>
                  <a:pt x="3805" y="46"/>
                </a:lnTo>
                <a:lnTo>
                  <a:pt x="3813" y="46"/>
                </a:lnTo>
                <a:lnTo>
                  <a:pt x="3813" y="46"/>
                </a:lnTo>
                <a:lnTo>
                  <a:pt x="3820" y="46"/>
                </a:lnTo>
                <a:lnTo>
                  <a:pt x="3820" y="38"/>
                </a:lnTo>
                <a:lnTo>
                  <a:pt x="3828" y="38"/>
                </a:lnTo>
                <a:lnTo>
                  <a:pt x="3828" y="38"/>
                </a:lnTo>
                <a:lnTo>
                  <a:pt x="3828" y="38"/>
                </a:lnTo>
                <a:lnTo>
                  <a:pt x="3828" y="38"/>
                </a:lnTo>
                <a:lnTo>
                  <a:pt x="3836" y="38"/>
                </a:lnTo>
                <a:lnTo>
                  <a:pt x="3836" y="38"/>
                </a:lnTo>
                <a:lnTo>
                  <a:pt x="3843" y="38"/>
                </a:lnTo>
                <a:lnTo>
                  <a:pt x="3843" y="38"/>
                </a:lnTo>
                <a:lnTo>
                  <a:pt x="3851" y="38"/>
                </a:lnTo>
                <a:lnTo>
                  <a:pt x="3851" y="38"/>
                </a:lnTo>
                <a:lnTo>
                  <a:pt x="3851" y="38"/>
                </a:lnTo>
                <a:lnTo>
                  <a:pt x="3851" y="38"/>
                </a:lnTo>
                <a:lnTo>
                  <a:pt x="3859" y="38"/>
                </a:lnTo>
                <a:lnTo>
                  <a:pt x="3859" y="38"/>
                </a:lnTo>
                <a:lnTo>
                  <a:pt x="3866" y="38"/>
                </a:lnTo>
                <a:lnTo>
                  <a:pt x="3866" y="38"/>
                </a:lnTo>
                <a:lnTo>
                  <a:pt x="3874" y="38"/>
                </a:lnTo>
                <a:lnTo>
                  <a:pt x="3874" y="38"/>
                </a:lnTo>
                <a:lnTo>
                  <a:pt x="3874" y="38"/>
                </a:lnTo>
                <a:lnTo>
                  <a:pt x="3874" y="38"/>
                </a:lnTo>
                <a:lnTo>
                  <a:pt x="3882" y="38"/>
                </a:lnTo>
                <a:lnTo>
                  <a:pt x="3882" y="38"/>
                </a:lnTo>
                <a:lnTo>
                  <a:pt x="3889" y="38"/>
                </a:lnTo>
                <a:lnTo>
                  <a:pt x="3889" y="30"/>
                </a:lnTo>
                <a:lnTo>
                  <a:pt x="3897" y="30"/>
                </a:lnTo>
                <a:lnTo>
                  <a:pt x="3897" y="30"/>
                </a:lnTo>
                <a:lnTo>
                  <a:pt x="3905" y="30"/>
                </a:lnTo>
                <a:lnTo>
                  <a:pt x="3905" y="30"/>
                </a:lnTo>
                <a:lnTo>
                  <a:pt x="3905" y="30"/>
                </a:lnTo>
                <a:lnTo>
                  <a:pt x="3905" y="30"/>
                </a:lnTo>
                <a:lnTo>
                  <a:pt x="3912" y="30"/>
                </a:lnTo>
                <a:lnTo>
                  <a:pt x="3912" y="23"/>
                </a:lnTo>
                <a:lnTo>
                  <a:pt x="3920" y="23"/>
                </a:lnTo>
                <a:lnTo>
                  <a:pt x="3920" y="23"/>
                </a:lnTo>
                <a:lnTo>
                  <a:pt x="3928" y="23"/>
                </a:lnTo>
                <a:lnTo>
                  <a:pt x="3928" y="23"/>
                </a:lnTo>
                <a:lnTo>
                  <a:pt x="3928" y="23"/>
                </a:lnTo>
                <a:lnTo>
                  <a:pt x="3928" y="15"/>
                </a:lnTo>
                <a:lnTo>
                  <a:pt x="3935" y="15"/>
                </a:lnTo>
                <a:lnTo>
                  <a:pt x="3935" y="15"/>
                </a:lnTo>
                <a:lnTo>
                  <a:pt x="3943" y="15"/>
                </a:lnTo>
                <a:lnTo>
                  <a:pt x="3943" y="15"/>
                </a:lnTo>
                <a:lnTo>
                  <a:pt x="3951" y="15"/>
                </a:lnTo>
                <a:lnTo>
                  <a:pt x="3951" y="15"/>
                </a:lnTo>
                <a:lnTo>
                  <a:pt x="3951" y="15"/>
                </a:lnTo>
                <a:lnTo>
                  <a:pt x="3951" y="15"/>
                </a:lnTo>
                <a:lnTo>
                  <a:pt x="3958" y="15"/>
                </a:lnTo>
                <a:lnTo>
                  <a:pt x="3958" y="15"/>
                </a:lnTo>
                <a:lnTo>
                  <a:pt x="3966" y="15"/>
                </a:lnTo>
                <a:lnTo>
                  <a:pt x="3966" y="15"/>
                </a:lnTo>
                <a:lnTo>
                  <a:pt x="3974" y="15"/>
                </a:lnTo>
                <a:lnTo>
                  <a:pt x="3974" y="15"/>
                </a:lnTo>
                <a:lnTo>
                  <a:pt x="3974" y="15"/>
                </a:lnTo>
                <a:lnTo>
                  <a:pt x="3974" y="15"/>
                </a:lnTo>
                <a:lnTo>
                  <a:pt x="3981" y="15"/>
                </a:lnTo>
                <a:lnTo>
                  <a:pt x="3981" y="15"/>
                </a:lnTo>
                <a:lnTo>
                  <a:pt x="3989" y="15"/>
                </a:lnTo>
                <a:lnTo>
                  <a:pt x="3989" y="15"/>
                </a:lnTo>
                <a:lnTo>
                  <a:pt x="3997" y="15"/>
                </a:lnTo>
                <a:lnTo>
                  <a:pt x="3997" y="15"/>
                </a:lnTo>
                <a:lnTo>
                  <a:pt x="4004" y="15"/>
                </a:lnTo>
                <a:lnTo>
                  <a:pt x="4004" y="15"/>
                </a:lnTo>
                <a:lnTo>
                  <a:pt x="4004" y="15"/>
                </a:lnTo>
                <a:lnTo>
                  <a:pt x="4004" y="15"/>
                </a:lnTo>
                <a:lnTo>
                  <a:pt x="4012" y="15"/>
                </a:lnTo>
                <a:lnTo>
                  <a:pt x="4012" y="15"/>
                </a:lnTo>
                <a:lnTo>
                  <a:pt x="4020" y="15"/>
                </a:lnTo>
                <a:lnTo>
                  <a:pt x="4020" y="15"/>
                </a:lnTo>
                <a:lnTo>
                  <a:pt x="4027" y="15"/>
                </a:lnTo>
                <a:lnTo>
                  <a:pt x="4027" y="7"/>
                </a:lnTo>
                <a:lnTo>
                  <a:pt x="4035" y="7"/>
                </a:lnTo>
                <a:lnTo>
                  <a:pt x="4035" y="7"/>
                </a:lnTo>
                <a:lnTo>
                  <a:pt x="4043" y="7"/>
                </a:lnTo>
                <a:lnTo>
                  <a:pt x="4043" y="7"/>
                </a:lnTo>
                <a:lnTo>
                  <a:pt x="4050" y="7"/>
                </a:lnTo>
                <a:lnTo>
                  <a:pt x="4050" y="7"/>
                </a:lnTo>
                <a:lnTo>
                  <a:pt x="4050" y="7"/>
                </a:lnTo>
                <a:lnTo>
                  <a:pt x="4050" y="7"/>
                </a:lnTo>
                <a:lnTo>
                  <a:pt x="4058" y="7"/>
                </a:lnTo>
                <a:lnTo>
                  <a:pt x="4058" y="7"/>
                </a:lnTo>
                <a:lnTo>
                  <a:pt x="4066" y="7"/>
                </a:lnTo>
                <a:lnTo>
                  <a:pt x="4066" y="7"/>
                </a:lnTo>
                <a:lnTo>
                  <a:pt x="4073" y="7"/>
                </a:lnTo>
                <a:lnTo>
                  <a:pt x="4073" y="7"/>
                </a:lnTo>
                <a:lnTo>
                  <a:pt x="4081" y="7"/>
                </a:lnTo>
                <a:lnTo>
                  <a:pt x="4081" y="0"/>
                </a:lnTo>
                <a:lnTo>
                  <a:pt x="4081" y="0"/>
                </a:lnTo>
                <a:lnTo>
                  <a:pt x="4081" y="0"/>
                </a:lnTo>
              </a:path>
            </a:pathLst>
          </a:custGeom>
          <a:noFill/>
          <a:ln w="25400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9" name="Freeform 38"/>
          <p:cNvSpPr>
            <a:spLocks/>
          </p:cNvSpPr>
          <p:nvPr/>
        </p:nvSpPr>
        <p:spPr bwMode="auto">
          <a:xfrm>
            <a:off x="8294687" y="3551237"/>
            <a:ext cx="2033588" cy="790575"/>
          </a:xfrm>
          <a:custGeom>
            <a:avLst/>
            <a:gdLst>
              <a:gd name="T0" fmla="*/ 23 w 1281"/>
              <a:gd name="T1" fmla="*/ 490 h 498"/>
              <a:gd name="T2" fmla="*/ 46 w 1281"/>
              <a:gd name="T3" fmla="*/ 482 h 498"/>
              <a:gd name="T4" fmla="*/ 61 w 1281"/>
              <a:gd name="T5" fmla="*/ 482 h 498"/>
              <a:gd name="T6" fmla="*/ 84 w 1281"/>
              <a:gd name="T7" fmla="*/ 475 h 498"/>
              <a:gd name="T8" fmla="*/ 100 w 1281"/>
              <a:gd name="T9" fmla="*/ 467 h 498"/>
              <a:gd name="T10" fmla="*/ 123 w 1281"/>
              <a:gd name="T11" fmla="*/ 459 h 498"/>
              <a:gd name="T12" fmla="*/ 146 w 1281"/>
              <a:gd name="T13" fmla="*/ 452 h 498"/>
              <a:gd name="T14" fmla="*/ 169 w 1281"/>
              <a:gd name="T15" fmla="*/ 444 h 498"/>
              <a:gd name="T16" fmla="*/ 184 w 1281"/>
              <a:gd name="T17" fmla="*/ 429 h 498"/>
              <a:gd name="T18" fmla="*/ 207 w 1281"/>
              <a:gd name="T19" fmla="*/ 414 h 498"/>
              <a:gd name="T20" fmla="*/ 223 w 1281"/>
              <a:gd name="T21" fmla="*/ 406 h 498"/>
              <a:gd name="T22" fmla="*/ 246 w 1281"/>
              <a:gd name="T23" fmla="*/ 391 h 498"/>
              <a:gd name="T24" fmla="*/ 269 w 1281"/>
              <a:gd name="T25" fmla="*/ 383 h 498"/>
              <a:gd name="T26" fmla="*/ 292 w 1281"/>
              <a:gd name="T27" fmla="*/ 375 h 498"/>
              <a:gd name="T28" fmla="*/ 307 w 1281"/>
              <a:gd name="T29" fmla="*/ 375 h 498"/>
              <a:gd name="T30" fmla="*/ 330 w 1281"/>
              <a:gd name="T31" fmla="*/ 368 h 498"/>
              <a:gd name="T32" fmla="*/ 345 w 1281"/>
              <a:gd name="T33" fmla="*/ 360 h 498"/>
              <a:gd name="T34" fmla="*/ 376 w 1281"/>
              <a:gd name="T35" fmla="*/ 360 h 498"/>
              <a:gd name="T36" fmla="*/ 391 w 1281"/>
              <a:gd name="T37" fmla="*/ 360 h 498"/>
              <a:gd name="T38" fmla="*/ 414 w 1281"/>
              <a:gd name="T39" fmla="*/ 337 h 498"/>
              <a:gd name="T40" fmla="*/ 430 w 1281"/>
              <a:gd name="T41" fmla="*/ 337 h 498"/>
              <a:gd name="T42" fmla="*/ 453 w 1281"/>
              <a:gd name="T43" fmla="*/ 329 h 498"/>
              <a:gd name="T44" fmla="*/ 476 w 1281"/>
              <a:gd name="T45" fmla="*/ 329 h 498"/>
              <a:gd name="T46" fmla="*/ 499 w 1281"/>
              <a:gd name="T47" fmla="*/ 322 h 498"/>
              <a:gd name="T48" fmla="*/ 514 w 1281"/>
              <a:gd name="T49" fmla="*/ 322 h 498"/>
              <a:gd name="T50" fmla="*/ 537 w 1281"/>
              <a:gd name="T51" fmla="*/ 322 h 498"/>
              <a:gd name="T52" fmla="*/ 552 w 1281"/>
              <a:gd name="T53" fmla="*/ 314 h 498"/>
              <a:gd name="T54" fmla="*/ 575 w 1281"/>
              <a:gd name="T55" fmla="*/ 314 h 498"/>
              <a:gd name="T56" fmla="*/ 598 w 1281"/>
              <a:gd name="T57" fmla="*/ 299 h 498"/>
              <a:gd name="T58" fmla="*/ 621 w 1281"/>
              <a:gd name="T59" fmla="*/ 299 h 498"/>
              <a:gd name="T60" fmla="*/ 637 w 1281"/>
              <a:gd name="T61" fmla="*/ 299 h 498"/>
              <a:gd name="T62" fmla="*/ 660 w 1281"/>
              <a:gd name="T63" fmla="*/ 291 h 498"/>
              <a:gd name="T64" fmla="*/ 683 w 1281"/>
              <a:gd name="T65" fmla="*/ 291 h 498"/>
              <a:gd name="T66" fmla="*/ 706 w 1281"/>
              <a:gd name="T67" fmla="*/ 283 h 498"/>
              <a:gd name="T68" fmla="*/ 729 w 1281"/>
              <a:gd name="T69" fmla="*/ 283 h 498"/>
              <a:gd name="T70" fmla="*/ 752 w 1281"/>
              <a:gd name="T71" fmla="*/ 283 h 498"/>
              <a:gd name="T72" fmla="*/ 767 w 1281"/>
              <a:gd name="T73" fmla="*/ 276 h 498"/>
              <a:gd name="T74" fmla="*/ 790 w 1281"/>
              <a:gd name="T75" fmla="*/ 268 h 498"/>
              <a:gd name="T76" fmla="*/ 806 w 1281"/>
              <a:gd name="T77" fmla="*/ 260 h 498"/>
              <a:gd name="T78" fmla="*/ 829 w 1281"/>
              <a:gd name="T79" fmla="*/ 260 h 498"/>
              <a:gd name="T80" fmla="*/ 852 w 1281"/>
              <a:gd name="T81" fmla="*/ 253 h 498"/>
              <a:gd name="T82" fmla="*/ 875 w 1281"/>
              <a:gd name="T83" fmla="*/ 253 h 498"/>
              <a:gd name="T84" fmla="*/ 890 w 1281"/>
              <a:gd name="T85" fmla="*/ 245 h 498"/>
              <a:gd name="T86" fmla="*/ 913 w 1281"/>
              <a:gd name="T87" fmla="*/ 230 h 498"/>
              <a:gd name="T88" fmla="*/ 928 w 1281"/>
              <a:gd name="T89" fmla="*/ 230 h 498"/>
              <a:gd name="T90" fmla="*/ 951 w 1281"/>
              <a:gd name="T91" fmla="*/ 222 h 498"/>
              <a:gd name="T92" fmla="*/ 974 w 1281"/>
              <a:gd name="T93" fmla="*/ 222 h 498"/>
              <a:gd name="T94" fmla="*/ 997 w 1281"/>
              <a:gd name="T95" fmla="*/ 207 h 498"/>
              <a:gd name="T96" fmla="*/ 1013 w 1281"/>
              <a:gd name="T97" fmla="*/ 191 h 498"/>
              <a:gd name="T98" fmla="*/ 1036 w 1281"/>
              <a:gd name="T99" fmla="*/ 184 h 498"/>
              <a:gd name="T100" fmla="*/ 1051 w 1281"/>
              <a:gd name="T101" fmla="*/ 176 h 498"/>
              <a:gd name="T102" fmla="*/ 1082 w 1281"/>
              <a:gd name="T103" fmla="*/ 168 h 498"/>
              <a:gd name="T104" fmla="*/ 1097 w 1281"/>
              <a:gd name="T105" fmla="*/ 161 h 498"/>
              <a:gd name="T106" fmla="*/ 1120 w 1281"/>
              <a:gd name="T107" fmla="*/ 153 h 498"/>
              <a:gd name="T108" fmla="*/ 1135 w 1281"/>
              <a:gd name="T109" fmla="*/ 122 h 498"/>
              <a:gd name="T110" fmla="*/ 1158 w 1281"/>
              <a:gd name="T111" fmla="*/ 92 h 498"/>
              <a:gd name="T112" fmla="*/ 1181 w 1281"/>
              <a:gd name="T113" fmla="*/ 84 h 498"/>
              <a:gd name="T114" fmla="*/ 1204 w 1281"/>
              <a:gd name="T115" fmla="*/ 76 h 498"/>
              <a:gd name="T116" fmla="*/ 1220 w 1281"/>
              <a:gd name="T117" fmla="*/ 53 h 498"/>
              <a:gd name="T118" fmla="*/ 1243 w 1281"/>
              <a:gd name="T119" fmla="*/ 30 h 498"/>
              <a:gd name="T120" fmla="*/ 1258 w 1281"/>
              <a:gd name="T121" fmla="*/ 23 h 498"/>
              <a:gd name="T122" fmla="*/ 1281 w 1281"/>
              <a:gd name="T123" fmla="*/ 7 h 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81" h="498">
                <a:moveTo>
                  <a:pt x="0" y="498"/>
                </a:moveTo>
                <a:lnTo>
                  <a:pt x="8" y="498"/>
                </a:lnTo>
                <a:lnTo>
                  <a:pt x="8" y="498"/>
                </a:lnTo>
                <a:lnTo>
                  <a:pt x="15" y="498"/>
                </a:lnTo>
                <a:lnTo>
                  <a:pt x="15" y="498"/>
                </a:lnTo>
                <a:lnTo>
                  <a:pt x="23" y="498"/>
                </a:lnTo>
                <a:lnTo>
                  <a:pt x="23" y="490"/>
                </a:lnTo>
                <a:lnTo>
                  <a:pt x="23" y="490"/>
                </a:lnTo>
                <a:lnTo>
                  <a:pt x="23" y="490"/>
                </a:lnTo>
                <a:lnTo>
                  <a:pt x="31" y="490"/>
                </a:lnTo>
                <a:lnTo>
                  <a:pt x="31" y="490"/>
                </a:lnTo>
                <a:lnTo>
                  <a:pt x="38" y="490"/>
                </a:lnTo>
                <a:lnTo>
                  <a:pt x="38" y="482"/>
                </a:lnTo>
                <a:lnTo>
                  <a:pt x="46" y="482"/>
                </a:lnTo>
                <a:lnTo>
                  <a:pt x="46" y="482"/>
                </a:lnTo>
                <a:lnTo>
                  <a:pt x="46" y="482"/>
                </a:lnTo>
                <a:lnTo>
                  <a:pt x="46" y="482"/>
                </a:lnTo>
                <a:lnTo>
                  <a:pt x="54" y="482"/>
                </a:lnTo>
                <a:lnTo>
                  <a:pt x="54" y="482"/>
                </a:lnTo>
                <a:lnTo>
                  <a:pt x="61" y="482"/>
                </a:lnTo>
                <a:lnTo>
                  <a:pt x="61" y="482"/>
                </a:lnTo>
                <a:lnTo>
                  <a:pt x="69" y="482"/>
                </a:lnTo>
                <a:lnTo>
                  <a:pt x="69" y="482"/>
                </a:lnTo>
                <a:lnTo>
                  <a:pt x="69" y="482"/>
                </a:lnTo>
                <a:lnTo>
                  <a:pt x="69" y="475"/>
                </a:lnTo>
                <a:lnTo>
                  <a:pt x="77" y="475"/>
                </a:lnTo>
                <a:lnTo>
                  <a:pt x="77" y="475"/>
                </a:lnTo>
                <a:lnTo>
                  <a:pt x="84" y="475"/>
                </a:lnTo>
                <a:lnTo>
                  <a:pt x="84" y="475"/>
                </a:lnTo>
                <a:lnTo>
                  <a:pt x="92" y="475"/>
                </a:lnTo>
                <a:lnTo>
                  <a:pt x="92" y="467"/>
                </a:lnTo>
                <a:lnTo>
                  <a:pt x="100" y="467"/>
                </a:lnTo>
                <a:lnTo>
                  <a:pt x="100" y="467"/>
                </a:lnTo>
                <a:lnTo>
                  <a:pt x="100" y="467"/>
                </a:lnTo>
                <a:lnTo>
                  <a:pt x="100" y="467"/>
                </a:lnTo>
                <a:lnTo>
                  <a:pt x="107" y="467"/>
                </a:lnTo>
                <a:lnTo>
                  <a:pt x="107" y="459"/>
                </a:lnTo>
                <a:lnTo>
                  <a:pt x="115" y="459"/>
                </a:lnTo>
                <a:lnTo>
                  <a:pt x="115" y="459"/>
                </a:lnTo>
                <a:lnTo>
                  <a:pt x="123" y="459"/>
                </a:lnTo>
                <a:lnTo>
                  <a:pt x="123" y="459"/>
                </a:lnTo>
                <a:lnTo>
                  <a:pt x="123" y="459"/>
                </a:lnTo>
                <a:lnTo>
                  <a:pt x="123" y="452"/>
                </a:lnTo>
                <a:lnTo>
                  <a:pt x="130" y="452"/>
                </a:lnTo>
                <a:lnTo>
                  <a:pt x="130" y="452"/>
                </a:lnTo>
                <a:lnTo>
                  <a:pt x="138" y="452"/>
                </a:lnTo>
                <a:lnTo>
                  <a:pt x="138" y="452"/>
                </a:lnTo>
                <a:lnTo>
                  <a:pt x="146" y="452"/>
                </a:lnTo>
                <a:lnTo>
                  <a:pt x="146" y="452"/>
                </a:lnTo>
                <a:lnTo>
                  <a:pt x="146" y="452"/>
                </a:lnTo>
                <a:lnTo>
                  <a:pt x="146" y="452"/>
                </a:lnTo>
                <a:lnTo>
                  <a:pt x="154" y="452"/>
                </a:lnTo>
                <a:lnTo>
                  <a:pt x="154" y="444"/>
                </a:lnTo>
                <a:lnTo>
                  <a:pt x="161" y="444"/>
                </a:lnTo>
                <a:lnTo>
                  <a:pt x="161" y="444"/>
                </a:lnTo>
                <a:lnTo>
                  <a:pt x="169" y="444"/>
                </a:lnTo>
                <a:lnTo>
                  <a:pt x="169" y="444"/>
                </a:lnTo>
                <a:lnTo>
                  <a:pt x="169" y="444"/>
                </a:lnTo>
                <a:lnTo>
                  <a:pt x="169" y="436"/>
                </a:lnTo>
                <a:lnTo>
                  <a:pt x="177" y="436"/>
                </a:lnTo>
                <a:lnTo>
                  <a:pt x="177" y="436"/>
                </a:lnTo>
                <a:lnTo>
                  <a:pt x="184" y="436"/>
                </a:lnTo>
                <a:lnTo>
                  <a:pt x="184" y="429"/>
                </a:lnTo>
                <a:lnTo>
                  <a:pt x="192" y="429"/>
                </a:lnTo>
                <a:lnTo>
                  <a:pt x="192" y="429"/>
                </a:lnTo>
                <a:lnTo>
                  <a:pt x="200" y="429"/>
                </a:lnTo>
                <a:lnTo>
                  <a:pt x="200" y="429"/>
                </a:lnTo>
                <a:lnTo>
                  <a:pt x="200" y="429"/>
                </a:lnTo>
                <a:lnTo>
                  <a:pt x="200" y="414"/>
                </a:lnTo>
                <a:lnTo>
                  <a:pt x="207" y="414"/>
                </a:lnTo>
                <a:lnTo>
                  <a:pt x="207" y="414"/>
                </a:lnTo>
                <a:lnTo>
                  <a:pt x="215" y="414"/>
                </a:lnTo>
                <a:lnTo>
                  <a:pt x="215" y="406"/>
                </a:lnTo>
                <a:lnTo>
                  <a:pt x="223" y="406"/>
                </a:lnTo>
                <a:lnTo>
                  <a:pt x="223" y="406"/>
                </a:lnTo>
                <a:lnTo>
                  <a:pt x="223" y="406"/>
                </a:lnTo>
                <a:lnTo>
                  <a:pt x="223" y="406"/>
                </a:lnTo>
                <a:lnTo>
                  <a:pt x="230" y="406"/>
                </a:lnTo>
                <a:lnTo>
                  <a:pt x="230" y="406"/>
                </a:lnTo>
                <a:lnTo>
                  <a:pt x="238" y="406"/>
                </a:lnTo>
                <a:lnTo>
                  <a:pt x="238" y="406"/>
                </a:lnTo>
                <a:lnTo>
                  <a:pt x="246" y="406"/>
                </a:lnTo>
                <a:lnTo>
                  <a:pt x="246" y="391"/>
                </a:lnTo>
                <a:lnTo>
                  <a:pt x="246" y="391"/>
                </a:lnTo>
                <a:lnTo>
                  <a:pt x="246" y="391"/>
                </a:lnTo>
                <a:lnTo>
                  <a:pt x="253" y="391"/>
                </a:lnTo>
                <a:lnTo>
                  <a:pt x="253" y="391"/>
                </a:lnTo>
                <a:lnTo>
                  <a:pt x="261" y="391"/>
                </a:lnTo>
                <a:lnTo>
                  <a:pt x="261" y="383"/>
                </a:lnTo>
                <a:lnTo>
                  <a:pt x="269" y="383"/>
                </a:lnTo>
                <a:lnTo>
                  <a:pt x="269" y="383"/>
                </a:lnTo>
                <a:lnTo>
                  <a:pt x="276" y="383"/>
                </a:lnTo>
                <a:lnTo>
                  <a:pt x="276" y="383"/>
                </a:lnTo>
                <a:lnTo>
                  <a:pt x="276" y="383"/>
                </a:lnTo>
                <a:lnTo>
                  <a:pt x="276" y="375"/>
                </a:lnTo>
                <a:lnTo>
                  <a:pt x="284" y="375"/>
                </a:lnTo>
                <a:lnTo>
                  <a:pt x="284" y="375"/>
                </a:lnTo>
                <a:lnTo>
                  <a:pt x="292" y="375"/>
                </a:lnTo>
                <a:lnTo>
                  <a:pt x="292" y="375"/>
                </a:lnTo>
                <a:lnTo>
                  <a:pt x="299" y="375"/>
                </a:lnTo>
                <a:lnTo>
                  <a:pt x="299" y="375"/>
                </a:lnTo>
                <a:lnTo>
                  <a:pt x="299" y="375"/>
                </a:lnTo>
                <a:lnTo>
                  <a:pt x="299" y="375"/>
                </a:lnTo>
                <a:lnTo>
                  <a:pt x="307" y="375"/>
                </a:lnTo>
                <a:lnTo>
                  <a:pt x="307" y="375"/>
                </a:lnTo>
                <a:lnTo>
                  <a:pt x="315" y="375"/>
                </a:lnTo>
                <a:lnTo>
                  <a:pt x="315" y="375"/>
                </a:lnTo>
                <a:lnTo>
                  <a:pt x="322" y="375"/>
                </a:lnTo>
                <a:lnTo>
                  <a:pt x="322" y="375"/>
                </a:lnTo>
                <a:lnTo>
                  <a:pt x="322" y="375"/>
                </a:lnTo>
                <a:lnTo>
                  <a:pt x="322" y="368"/>
                </a:lnTo>
                <a:lnTo>
                  <a:pt x="330" y="368"/>
                </a:lnTo>
                <a:lnTo>
                  <a:pt x="330" y="360"/>
                </a:lnTo>
                <a:lnTo>
                  <a:pt x="338" y="360"/>
                </a:lnTo>
                <a:lnTo>
                  <a:pt x="338" y="360"/>
                </a:lnTo>
                <a:lnTo>
                  <a:pt x="345" y="360"/>
                </a:lnTo>
                <a:lnTo>
                  <a:pt x="345" y="360"/>
                </a:lnTo>
                <a:lnTo>
                  <a:pt x="345" y="360"/>
                </a:lnTo>
                <a:lnTo>
                  <a:pt x="345" y="360"/>
                </a:lnTo>
                <a:lnTo>
                  <a:pt x="353" y="360"/>
                </a:lnTo>
                <a:lnTo>
                  <a:pt x="353" y="360"/>
                </a:lnTo>
                <a:lnTo>
                  <a:pt x="361" y="360"/>
                </a:lnTo>
                <a:lnTo>
                  <a:pt x="361" y="360"/>
                </a:lnTo>
                <a:lnTo>
                  <a:pt x="368" y="360"/>
                </a:lnTo>
                <a:lnTo>
                  <a:pt x="368" y="360"/>
                </a:lnTo>
                <a:lnTo>
                  <a:pt x="376" y="360"/>
                </a:lnTo>
                <a:lnTo>
                  <a:pt x="376" y="360"/>
                </a:lnTo>
                <a:lnTo>
                  <a:pt x="376" y="360"/>
                </a:lnTo>
                <a:lnTo>
                  <a:pt x="376" y="360"/>
                </a:lnTo>
                <a:lnTo>
                  <a:pt x="384" y="360"/>
                </a:lnTo>
                <a:lnTo>
                  <a:pt x="384" y="360"/>
                </a:lnTo>
                <a:lnTo>
                  <a:pt x="391" y="360"/>
                </a:lnTo>
                <a:lnTo>
                  <a:pt x="391" y="360"/>
                </a:lnTo>
                <a:lnTo>
                  <a:pt x="399" y="360"/>
                </a:lnTo>
                <a:lnTo>
                  <a:pt x="399" y="352"/>
                </a:lnTo>
                <a:lnTo>
                  <a:pt x="399" y="352"/>
                </a:lnTo>
                <a:lnTo>
                  <a:pt x="399" y="352"/>
                </a:lnTo>
                <a:lnTo>
                  <a:pt x="407" y="352"/>
                </a:lnTo>
                <a:lnTo>
                  <a:pt x="407" y="337"/>
                </a:lnTo>
                <a:lnTo>
                  <a:pt x="414" y="337"/>
                </a:lnTo>
                <a:lnTo>
                  <a:pt x="414" y="337"/>
                </a:lnTo>
                <a:lnTo>
                  <a:pt x="422" y="337"/>
                </a:lnTo>
                <a:lnTo>
                  <a:pt x="422" y="337"/>
                </a:lnTo>
                <a:lnTo>
                  <a:pt x="422" y="337"/>
                </a:lnTo>
                <a:lnTo>
                  <a:pt x="422" y="337"/>
                </a:lnTo>
                <a:lnTo>
                  <a:pt x="430" y="337"/>
                </a:lnTo>
                <a:lnTo>
                  <a:pt x="430" y="337"/>
                </a:lnTo>
                <a:lnTo>
                  <a:pt x="437" y="337"/>
                </a:lnTo>
                <a:lnTo>
                  <a:pt x="437" y="337"/>
                </a:lnTo>
                <a:lnTo>
                  <a:pt x="445" y="337"/>
                </a:lnTo>
                <a:lnTo>
                  <a:pt x="445" y="329"/>
                </a:lnTo>
                <a:lnTo>
                  <a:pt x="453" y="329"/>
                </a:lnTo>
                <a:lnTo>
                  <a:pt x="453" y="329"/>
                </a:lnTo>
                <a:lnTo>
                  <a:pt x="453" y="329"/>
                </a:lnTo>
                <a:lnTo>
                  <a:pt x="453" y="329"/>
                </a:lnTo>
                <a:lnTo>
                  <a:pt x="460" y="329"/>
                </a:lnTo>
                <a:lnTo>
                  <a:pt x="460" y="329"/>
                </a:lnTo>
                <a:lnTo>
                  <a:pt x="468" y="329"/>
                </a:lnTo>
                <a:lnTo>
                  <a:pt x="468" y="329"/>
                </a:lnTo>
                <a:lnTo>
                  <a:pt x="476" y="329"/>
                </a:lnTo>
                <a:lnTo>
                  <a:pt x="476" y="329"/>
                </a:lnTo>
                <a:lnTo>
                  <a:pt x="476" y="329"/>
                </a:lnTo>
                <a:lnTo>
                  <a:pt x="476" y="329"/>
                </a:lnTo>
                <a:lnTo>
                  <a:pt x="483" y="329"/>
                </a:lnTo>
                <a:lnTo>
                  <a:pt x="483" y="322"/>
                </a:lnTo>
                <a:lnTo>
                  <a:pt x="491" y="322"/>
                </a:lnTo>
                <a:lnTo>
                  <a:pt x="491" y="322"/>
                </a:lnTo>
                <a:lnTo>
                  <a:pt x="499" y="322"/>
                </a:lnTo>
                <a:lnTo>
                  <a:pt x="499" y="322"/>
                </a:lnTo>
                <a:lnTo>
                  <a:pt x="499" y="322"/>
                </a:lnTo>
                <a:lnTo>
                  <a:pt x="499" y="322"/>
                </a:lnTo>
                <a:lnTo>
                  <a:pt x="506" y="322"/>
                </a:lnTo>
                <a:lnTo>
                  <a:pt x="506" y="322"/>
                </a:lnTo>
                <a:lnTo>
                  <a:pt x="514" y="322"/>
                </a:lnTo>
                <a:lnTo>
                  <a:pt x="514" y="322"/>
                </a:lnTo>
                <a:lnTo>
                  <a:pt x="522" y="322"/>
                </a:lnTo>
                <a:lnTo>
                  <a:pt x="522" y="322"/>
                </a:lnTo>
                <a:lnTo>
                  <a:pt x="522" y="322"/>
                </a:lnTo>
                <a:lnTo>
                  <a:pt x="522" y="322"/>
                </a:lnTo>
                <a:lnTo>
                  <a:pt x="529" y="322"/>
                </a:lnTo>
                <a:lnTo>
                  <a:pt x="529" y="322"/>
                </a:lnTo>
                <a:lnTo>
                  <a:pt x="537" y="322"/>
                </a:lnTo>
                <a:lnTo>
                  <a:pt x="537" y="322"/>
                </a:lnTo>
                <a:lnTo>
                  <a:pt x="545" y="322"/>
                </a:lnTo>
                <a:lnTo>
                  <a:pt x="545" y="314"/>
                </a:lnTo>
                <a:lnTo>
                  <a:pt x="552" y="314"/>
                </a:lnTo>
                <a:lnTo>
                  <a:pt x="552" y="314"/>
                </a:lnTo>
                <a:lnTo>
                  <a:pt x="552" y="314"/>
                </a:lnTo>
                <a:lnTo>
                  <a:pt x="552" y="314"/>
                </a:lnTo>
                <a:lnTo>
                  <a:pt x="560" y="314"/>
                </a:lnTo>
                <a:lnTo>
                  <a:pt x="560" y="314"/>
                </a:lnTo>
                <a:lnTo>
                  <a:pt x="568" y="314"/>
                </a:lnTo>
                <a:lnTo>
                  <a:pt x="568" y="314"/>
                </a:lnTo>
                <a:lnTo>
                  <a:pt x="575" y="314"/>
                </a:lnTo>
                <a:lnTo>
                  <a:pt x="575" y="314"/>
                </a:lnTo>
                <a:lnTo>
                  <a:pt x="575" y="314"/>
                </a:lnTo>
                <a:lnTo>
                  <a:pt x="575" y="306"/>
                </a:lnTo>
                <a:lnTo>
                  <a:pt x="583" y="306"/>
                </a:lnTo>
                <a:lnTo>
                  <a:pt x="583" y="306"/>
                </a:lnTo>
                <a:lnTo>
                  <a:pt x="591" y="306"/>
                </a:lnTo>
                <a:lnTo>
                  <a:pt x="591" y="299"/>
                </a:lnTo>
                <a:lnTo>
                  <a:pt x="598" y="299"/>
                </a:lnTo>
                <a:lnTo>
                  <a:pt x="598" y="299"/>
                </a:lnTo>
                <a:lnTo>
                  <a:pt x="598" y="299"/>
                </a:lnTo>
                <a:lnTo>
                  <a:pt x="598" y="299"/>
                </a:lnTo>
                <a:lnTo>
                  <a:pt x="606" y="299"/>
                </a:lnTo>
                <a:lnTo>
                  <a:pt x="606" y="299"/>
                </a:lnTo>
                <a:lnTo>
                  <a:pt x="614" y="299"/>
                </a:lnTo>
                <a:lnTo>
                  <a:pt x="614" y="299"/>
                </a:lnTo>
                <a:lnTo>
                  <a:pt x="621" y="299"/>
                </a:lnTo>
                <a:lnTo>
                  <a:pt x="621" y="299"/>
                </a:lnTo>
                <a:lnTo>
                  <a:pt x="629" y="299"/>
                </a:lnTo>
                <a:lnTo>
                  <a:pt x="629" y="299"/>
                </a:lnTo>
                <a:lnTo>
                  <a:pt x="629" y="299"/>
                </a:lnTo>
                <a:lnTo>
                  <a:pt x="629" y="299"/>
                </a:lnTo>
                <a:lnTo>
                  <a:pt x="637" y="299"/>
                </a:lnTo>
                <a:lnTo>
                  <a:pt x="637" y="299"/>
                </a:lnTo>
                <a:lnTo>
                  <a:pt x="644" y="299"/>
                </a:lnTo>
                <a:lnTo>
                  <a:pt x="644" y="299"/>
                </a:lnTo>
                <a:lnTo>
                  <a:pt x="652" y="299"/>
                </a:lnTo>
                <a:lnTo>
                  <a:pt x="652" y="299"/>
                </a:lnTo>
                <a:lnTo>
                  <a:pt x="652" y="299"/>
                </a:lnTo>
                <a:lnTo>
                  <a:pt x="652" y="291"/>
                </a:lnTo>
                <a:lnTo>
                  <a:pt x="660" y="291"/>
                </a:lnTo>
                <a:lnTo>
                  <a:pt x="660" y="291"/>
                </a:lnTo>
                <a:lnTo>
                  <a:pt x="667" y="291"/>
                </a:lnTo>
                <a:lnTo>
                  <a:pt x="667" y="291"/>
                </a:lnTo>
                <a:lnTo>
                  <a:pt x="675" y="291"/>
                </a:lnTo>
                <a:lnTo>
                  <a:pt x="675" y="291"/>
                </a:lnTo>
                <a:lnTo>
                  <a:pt x="683" y="291"/>
                </a:lnTo>
                <a:lnTo>
                  <a:pt x="683" y="291"/>
                </a:lnTo>
                <a:lnTo>
                  <a:pt x="690" y="291"/>
                </a:lnTo>
                <a:lnTo>
                  <a:pt x="690" y="291"/>
                </a:lnTo>
                <a:lnTo>
                  <a:pt x="698" y="291"/>
                </a:lnTo>
                <a:lnTo>
                  <a:pt x="698" y="291"/>
                </a:lnTo>
                <a:lnTo>
                  <a:pt x="698" y="291"/>
                </a:lnTo>
                <a:lnTo>
                  <a:pt x="698" y="283"/>
                </a:lnTo>
                <a:lnTo>
                  <a:pt x="706" y="283"/>
                </a:lnTo>
                <a:lnTo>
                  <a:pt x="706" y="283"/>
                </a:lnTo>
                <a:lnTo>
                  <a:pt x="713" y="283"/>
                </a:lnTo>
                <a:lnTo>
                  <a:pt x="713" y="283"/>
                </a:lnTo>
                <a:lnTo>
                  <a:pt x="721" y="283"/>
                </a:lnTo>
                <a:lnTo>
                  <a:pt x="721" y="283"/>
                </a:lnTo>
                <a:lnTo>
                  <a:pt x="729" y="283"/>
                </a:lnTo>
                <a:lnTo>
                  <a:pt x="729" y="283"/>
                </a:lnTo>
                <a:lnTo>
                  <a:pt x="729" y="283"/>
                </a:lnTo>
                <a:lnTo>
                  <a:pt x="729" y="283"/>
                </a:lnTo>
                <a:lnTo>
                  <a:pt x="736" y="283"/>
                </a:lnTo>
                <a:lnTo>
                  <a:pt x="736" y="283"/>
                </a:lnTo>
                <a:lnTo>
                  <a:pt x="744" y="283"/>
                </a:lnTo>
                <a:lnTo>
                  <a:pt x="744" y="283"/>
                </a:lnTo>
                <a:lnTo>
                  <a:pt x="752" y="283"/>
                </a:lnTo>
                <a:lnTo>
                  <a:pt x="752" y="283"/>
                </a:lnTo>
                <a:lnTo>
                  <a:pt x="752" y="283"/>
                </a:lnTo>
                <a:lnTo>
                  <a:pt x="752" y="283"/>
                </a:lnTo>
                <a:lnTo>
                  <a:pt x="759" y="283"/>
                </a:lnTo>
                <a:lnTo>
                  <a:pt x="759" y="283"/>
                </a:lnTo>
                <a:lnTo>
                  <a:pt x="767" y="283"/>
                </a:lnTo>
                <a:lnTo>
                  <a:pt x="767" y="276"/>
                </a:lnTo>
                <a:lnTo>
                  <a:pt x="775" y="276"/>
                </a:lnTo>
                <a:lnTo>
                  <a:pt x="775" y="276"/>
                </a:lnTo>
                <a:lnTo>
                  <a:pt x="775" y="276"/>
                </a:lnTo>
                <a:lnTo>
                  <a:pt x="775" y="268"/>
                </a:lnTo>
                <a:lnTo>
                  <a:pt x="783" y="268"/>
                </a:lnTo>
                <a:lnTo>
                  <a:pt x="783" y="268"/>
                </a:lnTo>
                <a:lnTo>
                  <a:pt x="790" y="268"/>
                </a:lnTo>
                <a:lnTo>
                  <a:pt x="790" y="268"/>
                </a:lnTo>
                <a:lnTo>
                  <a:pt x="798" y="268"/>
                </a:lnTo>
                <a:lnTo>
                  <a:pt x="798" y="268"/>
                </a:lnTo>
                <a:lnTo>
                  <a:pt x="806" y="268"/>
                </a:lnTo>
                <a:lnTo>
                  <a:pt x="806" y="260"/>
                </a:lnTo>
                <a:lnTo>
                  <a:pt x="806" y="260"/>
                </a:lnTo>
                <a:lnTo>
                  <a:pt x="806" y="260"/>
                </a:lnTo>
                <a:lnTo>
                  <a:pt x="813" y="260"/>
                </a:lnTo>
                <a:lnTo>
                  <a:pt x="813" y="260"/>
                </a:lnTo>
                <a:lnTo>
                  <a:pt x="821" y="260"/>
                </a:lnTo>
                <a:lnTo>
                  <a:pt x="821" y="260"/>
                </a:lnTo>
                <a:lnTo>
                  <a:pt x="829" y="260"/>
                </a:lnTo>
                <a:lnTo>
                  <a:pt x="829" y="260"/>
                </a:lnTo>
                <a:lnTo>
                  <a:pt x="829" y="260"/>
                </a:lnTo>
                <a:lnTo>
                  <a:pt x="829" y="260"/>
                </a:lnTo>
                <a:lnTo>
                  <a:pt x="836" y="260"/>
                </a:lnTo>
                <a:lnTo>
                  <a:pt x="836" y="260"/>
                </a:lnTo>
                <a:lnTo>
                  <a:pt x="844" y="260"/>
                </a:lnTo>
                <a:lnTo>
                  <a:pt x="844" y="253"/>
                </a:lnTo>
                <a:lnTo>
                  <a:pt x="852" y="253"/>
                </a:lnTo>
                <a:lnTo>
                  <a:pt x="852" y="253"/>
                </a:lnTo>
                <a:lnTo>
                  <a:pt x="852" y="253"/>
                </a:lnTo>
                <a:lnTo>
                  <a:pt x="852" y="253"/>
                </a:lnTo>
                <a:lnTo>
                  <a:pt x="859" y="253"/>
                </a:lnTo>
                <a:lnTo>
                  <a:pt x="859" y="253"/>
                </a:lnTo>
                <a:lnTo>
                  <a:pt x="867" y="253"/>
                </a:lnTo>
                <a:lnTo>
                  <a:pt x="867" y="253"/>
                </a:lnTo>
                <a:lnTo>
                  <a:pt x="875" y="253"/>
                </a:lnTo>
                <a:lnTo>
                  <a:pt x="875" y="253"/>
                </a:lnTo>
                <a:lnTo>
                  <a:pt x="875" y="253"/>
                </a:lnTo>
                <a:lnTo>
                  <a:pt x="875" y="253"/>
                </a:lnTo>
                <a:lnTo>
                  <a:pt x="882" y="253"/>
                </a:lnTo>
                <a:lnTo>
                  <a:pt x="882" y="253"/>
                </a:lnTo>
                <a:lnTo>
                  <a:pt x="890" y="253"/>
                </a:lnTo>
                <a:lnTo>
                  <a:pt x="890" y="245"/>
                </a:lnTo>
                <a:lnTo>
                  <a:pt x="898" y="245"/>
                </a:lnTo>
                <a:lnTo>
                  <a:pt x="898" y="245"/>
                </a:lnTo>
                <a:lnTo>
                  <a:pt x="905" y="245"/>
                </a:lnTo>
                <a:lnTo>
                  <a:pt x="905" y="230"/>
                </a:lnTo>
                <a:lnTo>
                  <a:pt x="905" y="230"/>
                </a:lnTo>
                <a:lnTo>
                  <a:pt x="905" y="230"/>
                </a:lnTo>
                <a:lnTo>
                  <a:pt x="913" y="230"/>
                </a:lnTo>
                <a:lnTo>
                  <a:pt x="913" y="230"/>
                </a:lnTo>
                <a:lnTo>
                  <a:pt x="921" y="230"/>
                </a:lnTo>
                <a:lnTo>
                  <a:pt x="921" y="230"/>
                </a:lnTo>
                <a:lnTo>
                  <a:pt x="928" y="230"/>
                </a:lnTo>
                <a:lnTo>
                  <a:pt x="928" y="230"/>
                </a:lnTo>
                <a:lnTo>
                  <a:pt x="928" y="230"/>
                </a:lnTo>
                <a:lnTo>
                  <a:pt x="928" y="230"/>
                </a:lnTo>
                <a:lnTo>
                  <a:pt x="936" y="230"/>
                </a:lnTo>
                <a:lnTo>
                  <a:pt x="936" y="230"/>
                </a:lnTo>
                <a:lnTo>
                  <a:pt x="944" y="230"/>
                </a:lnTo>
                <a:lnTo>
                  <a:pt x="944" y="222"/>
                </a:lnTo>
                <a:lnTo>
                  <a:pt x="951" y="222"/>
                </a:lnTo>
                <a:lnTo>
                  <a:pt x="951" y="222"/>
                </a:lnTo>
                <a:lnTo>
                  <a:pt x="951" y="222"/>
                </a:lnTo>
                <a:lnTo>
                  <a:pt x="951" y="222"/>
                </a:lnTo>
                <a:lnTo>
                  <a:pt x="959" y="222"/>
                </a:lnTo>
                <a:lnTo>
                  <a:pt x="959" y="222"/>
                </a:lnTo>
                <a:lnTo>
                  <a:pt x="967" y="222"/>
                </a:lnTo>
                <a:lnTo>
                  <a:pt x="967" y="222"/>
                </a:lnTo>
                <a:lnTo>
                  <a:pt x="974" y="222"/>
                </a:lnTo>
                <a:lnTo>
                  <a:pt x="974" y="222"/>
                </a:lnTo>
                <a:lnTo>
                  <a:pt x="974" y="222"/>
                </a:lnTo>
                <a:lnTo>
                  <a:pt x="974" y="222"/>
                </a:lnTo>
                <a:lnTo>
                  <a:pt x="982" y="222"/>
                </a:lnTo>
                <a:lnTo>
                  <a:pt x="982" y="207"/>
                </a:lnTo>
                <a:lnTo>
                  <a:pt x="990" y="207"/>
                </a:lnTo>
                <a:lnTo>
                  <a:pt x="990" y="207"/>
                </a:lnTo>
                <a:lnTo>
                  <a:pt x="997" y="207"/>
                </a:lnTo>
                <a:lnTo>
                  <a:pt x="997" y="199"/>
                </a:lnTo>
                <a:lnTo>
                  <a:pt x="1005" y="199"/>
                </a:lnTo>
                <a:lnTo>
                  <a:pt x="1005" y="199"/>
                </a:lnTo>
                <a:lnTo>
                  <a:pt x="1005" y="199"/>
                </a:lnTo>
                <a:lnTo>
                  <a:pt x="1005" y="199"/>
                </a:lnTo>
                <a:lnTo>
                  <a:pt x="1013" y="199"/>
                </a:lnTo>
                <a:lnTo>
                  <a:pt x="1013" y="191"/>
                </a:lnTo>
                <a:lnTo>
                  <a:pt x="1020" y="191"/>
                </a:lnTo>
                <a:lnTo>
                  <a:pt x="1020" y="191"/>
                </a:lnTo>
                <a:lnTo>
                  <a:pt x="1028" y="191"/>
                </a:lnTo>
                <a:lnTo>
                  <a:pt x="1028" y="191"/>
                </a:lnTo>
                <a:lnTo>
                  <a:pt x="1028" y="191"/>
                </a:lnTo>
                <a:lnTo>
                  <a:pt x="1028" y="184"/>
                </a:lnTo>
                <a:lnTo>
                  <a:pt x="1036" y="184"/>
                </a:lnTo>
                <a:lnTo>
                  <a:pt x="1036" y="184"/>
                </a:lnTo>
                <a:lnTo>
                  <a:pt x="1043" y="184"/>
                </a:lnTo>
                <a:lnTo>
                  <a:pt x="1043" y="184"/>
                </a:lnTo>
                <a:lnTo>
                  <a:pt x="1051" y="184"/>
                </a:lnTo>
                <a:lnTo>
                  <a:pt x="1051" y="184"/>
                </a:lnTo>
                <a:lnTo>
                  <a:pt x="1051" y="184"/>
                </a:lnTo>
                <a:lnTo>
                  <a:pt x="1051" y="176"/>
                </a:lnTo>
                <a:lnTo>
                  <a:pt x="1059" y="176"/>
                </a:lnTo>
                <a:lnTo>
                  <a:pt x="1059" y="176"/>
                </a:lnTo>
                <a:lnTo>
                  <a:pt x="1066" y="176"/>
                </a:lnTo>
                <a:lnTo>
                  <a:pt x="1066" y="176"/>
                </a:lnTo>
                <a:lnTo>
                  <a:pt x="1074" y="176"/>
                </a:lnTo>
                <a:lnTo>
                  <a:pt x="1074" y="168"/>
                </a:lnTo>
                <a:lnTo>
                  <a:pt x="1082" y="168"/>
                </a:lnTo>
                <a:lnTo>
                  <a:pt x="1082" y="168"/>
                </a:lnTo>
                <a:lnTo>
                  <a:pt x="1082" y="168"/>
                </a:lnTo>
                <a:lnTo>
                  <a:pt x="1082" y="168"/>
                </a:lnTo>
                <a:lnTo>
                  <a:pt x="1089" y="168"/>
                </a:lnTo>
                <a:lnTo>
                  <a:pt x="1089" y="161"/>
                </a:lnTo>
                <a:lnTo>
                  <a:pt x="1097" y="161"/>
                </a:lnTo>
                <a:lnTo>
                  <a:pt x="1097" y="161"/>
                </a:lnTo>
                <a:lnTo>
                  <a:pt x="1105" y="161"/>
                </a:lnTo>
                <a:lnTo>
                  <a:pt x="1105" y="153"/>
                </a:lnTo>
                <a:lnTo>
                  <a:pt x="1105" y="153"/>
                </a:lnTo>
                <a:lnTo>
                  <a:pt x="1105" y="153"/>
                </a:lnTo>
                <a:lnTo>
                  <a:pt x="1112" y="153"/>
                </a:lnTo>
                <a:lnTo>
                  <a:pt x="1112" y="153"/>
                </a:lnTo>
                <a:lnTo>
                  <a:pt x="1120" y="153"/>
                </a:lnTo>
                <a:lnTo>
                  <a:pt x="1120" y="138"/>
                </a:lnTo>
                <a:lnTo>
                  <a:pt x="1128" y="138"/>
                </a:lnTo>
                <a:lnTo>
                  <a:pt x="1128" y="138"/>
                </a:lnTo>
                <a:lnTo>
                  <a:pt x="1128" y="138"/>
                </a:lnTo>
                <a:lnTo>
                  <a:pt x="1128" y="138"/>
                </a:lnTo>
                <a:lnTo>
                  <a:pt x="1135" y="138"/>
                </a:lnTo>
                <a:lnTo>
                  <a:pt x="1135" y="122"/>
                </a:lnTo>
                <a:lnTo>
                  <a:pt x="1143" y="122"/>
                </a:lnTo>
                <a:lnTo>
                  <a:pt x="1143" y="115"/>
                </a:lnTo>
                <a:lnTo>
                  <a:pt x="1151" y="115"/>
                </a:lnTo>
                <a:lnTo>
                  <a:pt x="1151" y="92"/>
                </a:lnTo>
                <a:lnTo>
                  <a:pt x="1151" y="92"/>
                </a:lnTo>
                <a:lnTo>
                  <a:pt x="1151" y="92"/>
                </a:lnTo>
                <a:lnTo>
                  <a:pt x="1158" y="92"/>
                </a:lnTo>
                <a:lnTo>
                  <a:pt x="1158" y="92"/>
                </a:lnTo>
                <a:lnTo>
                  <a:pt x="1166" y="92"/>
                </a:lnTo>
                <a:lnTo>
                  <a:pt x="1166" y="92"/>
                </a:lnTo>
                <a:lnTo>
                  <a:pt x="1174" y="92"/>
                </a:lnTo>
                <a:lnTo>
                  <a:pt x="1174" y="84"/>
                </a:lnTo>
                <a:lnTo>
                  <a:pt x="1181" y="84"/>
                </a:lnTo>
                <a:lnTo>
                  <a:pt x="1181" y="84"/>
                </a:lnTo>
                <a:lnTo>
                  <a:pt x="1181" y="84"/>
                </a:lnTo>
                <a:lnTo>
                  <a:pt x="1181" y="84"/>
                </a:lnTo>
                <a:lnTo>
                  <a:pt x="1189" y="84"/>
                </a:lnTo>
                <a:lnTo>
                  <a:pt x="1189" y="76"/>
                </a:lnTo>
                <a:lnTo>
                  <a:pt x="1197" y="76"/>
                </a:lnTo>
                <a:lnTo>
                  <a:pt x="1197" y="76"/>
                </a:lnTo>
                <a:lnTo>
                  <a:pt x="1204" y="76"/>
                </a:lnTo>
                <a:lnTo>
                  <a:pt x="1204" y="76"/>
                </a:lnTo>
                <a:lnTo>
                  <a:pt x="1204" y="76"/>
                </a:lnTo>
                <a:lnTo>
                  <a:pt x="1204" y="69"/>
                </a:lnTo>
                <a:lnTo>
                  <a:pt x="1212" y="69"/>
                </a:lnTo>
                <a:lnTo>
                  <a:pt x="1212" y="53"/>
                </a:lnTo>
                <a:lnTo>
                  <a:pt x="1220" y="53"/>
                </a:lnTo>
                <a:lnTo>
                  <a:pt x="1220" y="53"/>
                </a:lnTo>
                <a:lnTo>
                  <a:pt x="1227" y="53"/>
                </a:lnTo>
                <a:lnTo>
                  <a:pt x="1227" y="53"/>
                </a:lnTo>
                <a:lnTo>
                  <a:pt x="1227" y="53"/>
                </a:lnTo>
                <a:lnTo>
                  <a:pt x="1227" y="38"/>
                </a:lnTo>
                <a:lnTo>
                  <a:pt x="1235" y="38"/>
                </a:lnTo>
                <a:lnTo>
                  <a:pt x="1235" y="30"/>
                </a:lnTo>
                <a:lnTo>
                  <a:pt x="1243" y="30"/>
                </a:lnTo>
                <a:lnTo>
                  <a:pt x="1243" y="30"/>
                </a:lnTo>
                <a:lnTo>
                  <a:pt x="1250" y="30"/>
                </a:lnTo>
                <a:lnTo>
                  <a:pt x="1250" y="23"/>
                </a:lnTo>
                <a:lnTo>
                  <a:pt x="1258" y="23"/>
                </a:lnTo>
                <a:lnTo>
                  <a:pt x="1258" y="23"/>
                </a:lnTo>
                <a:lnTo>
                  <a:pt x="1258" y="23"/>
                </a:lnTo>
                <a:lnTo>
                  <a:pt x="1258" y="23"/>
                </a:lnTo>
                <a:lnTo>
                  <a:pt x="1266" y="23"/>
                </a:lnTo>
                <a:lnTo>
                  <a:pt x="1266" y="15"/>
                </a:lnTo>
                <a:lnTo>
                  <a:pt x="1273" y="15"/>
                </a:lnTo>
                <a:lnTo>
                  <a:pt x="1273" y="7"/>
                </a:lnTo>
                <a:lnTo>
                  <a:pt x="1281" y="7"/>
                </a:lnTo>
                <a:lnTo>
                  <a:pt x="1281" y="7"/>
                </a:lnTo>
                <a:lnTo>
                  <a:pt x="1281" y="7"/>
                </a:lnTo>
                <a:lnTo>
                  <a:pt x="1281" y="0"/>
                </a:lnTo>
              </a:path>
            </a:pathLst>
          </a:custGeom>
          <a:noFill/>
          <a:ln w="25400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0" name="Rectangle 39"/>
          <p:cNvSpPr>
            <a:spLocks noChangeArrowheads="1"/>
          </p:cNvSpPr>
          <p:nvPr/>
        </p:nvSpPr>
        <p:spPr bwMode="auto">
          <a:xfrm>
            <a:off x="8539162" y="3429000"/>
            <a:ext cx="88166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</a:endParaRPr>
          </a:p>
        </p:txBody>
      </p:sp>
      <p:sp>
        <p:nvSpPr>
          <p:cNvPr id="41" name="Freeform 40"/>
          <p:cNvSpPr>
            <a:spLocks/>
          </p:cNvSpPr>
          <p:nvPr/>
        </p:nvSpPr>
        <p:spPr bwMode="auto">
          <a:xfrm>
            <a:off x="1816100" y="4645025"/>
            <a:ext cx="6478588" cy="779463"/>
          </a:xfrm>
          <a:custGeom>
            <a:avLst/>
            <a:gdLst>
              <a:gd name="T0" fmla="*/ 299 w 4081"/>
              <a:gd name="T1" fmla="*/ 483 h 491"/>
              <a:gd name="T2" fmla="*/ 391 w 4081"/>
              <a:gd name="T3" fmla="*/ 476 h 491"/>
              <a:gd name="T4" fmla="*/ 507 w 4081"/>
              <a:gd name="T5" fmla="*/ 468 h 491"/>
              <a:gd name="T6" fmla="*/ 652 w 4081"/>
              <a:gd name="T7" fmla="*/ 460 h 491"/>
              <a:gd name="T8" fmla="*/ 760 w 4081"/>
              <a:gd name="T9" fmla="*/ 460 h 491"/>
              <a:gd name="T10" fmla="*/ 875 w 4081"/>
              <a:gd name="T11" fmla="*/ 453 h 491"/>
              <a:gd name="T12" fmla="*/ 951 w 4081"/>
              <a:gd name="T13" fmla="*/ 453 h 491"/>
              <a:gd name="T14" fmla="*/ 1028 w 4081"/>
              <a:gd name="T15" fmla="*/ 437 h 491"/>
              <a:gd name="T16" fmla="*/ 1105 w 4081"/>
              <a:gd name="T17" fmla="*/ 422 h 491"/>
              <a:gd name="T18" fmla="*/ 1166 w 4081"/>
              <a:gd name="T19" fmla="*/ 414 h 491"/>
              <a:gd name="T20" fmla="*/ 1258 w 4081"/>
              <a:gd name="T21" fmla="*/ 407 h 491"/>
              <a:gd name="T22" fmla="*/ 1412 w 4081"/>
              <a:gd name="T23" fmla="*/ 399 h 491"/>
              <a:gd name="T24" fmla="*/ 1519 w 4081"/>
              <a:gd name="T25" fmla="*/ 391 h 491"/>
              <a:gd name="T26" fmla="*/ 1596 w 4081"/>
              <a:gd name="T27" fmla="*/ 391 h 491"/>
              <a:gd name="T28" fmla="*/ 1688 w 4081"/>
              <a:gd name="T29" fmla="*/ 391 h 491"/>
              <a:gd name="T30" fmla="*/ 1826 w 4081"/>
              <a:gd name="T31" fmla="*/ 384 h 491"/>
              <a:gd name="T32" fmla="*/ 1903 w 4081"/>
              <a:gd name="T33" fmla="*/ 376 h 491"/>
              <a:gd name="T34" fmla="*/ 1964 w 4081"/>
              <a:gd name="T35" fmla="*/ 368 h 491"/>
              <a:gd name="T36" fmla="*/ 2010 w 4081"/>
              <a:gd name="T37" fmla="*/ 361 h 491"/>
              <a:gd name="T38" fmla="*/ 2064 w 4081"/>
              <a:gd name="T39" fmla="*/ 353 h 491"/>
              <a:gd name="T40" fmla="*/ 2110 w 4081"/>
              <a:gd name="T41" fmla="*/ 345 h 491"/>
              <a:gd name="T42" fmla="*/ 2163 w 4081"/>
              <a:gd name="T43" fmla="*/ 330 h 491"/>
              <a:gd name="T44" fmla="*/ 2209 w 4081"/>
              <a:gd name="T45" fmla="*/ 315 h 491"/>
              <a:gd name="T46" fmla="*/ 2255 w 4081"/>
              <a:gd name="T47" fmla="*/ 307 h 491"/>
              <a:gd name="T48" fmla="*/ 2301 w 4081"/>
              <a:gd name="T49" fmla="*/ 307 h 491"/>
              <a:gd name="T50" fmla="*/ 2347 w 4081"/>
              <a:gd name="T51" fmla="*/ 299 h 491"/>
              <a:gd name="T52" fmla="*/ 2409 w 4081"/>
              <a:gd name="T53" fmla="*/ 299 h 491"/>
              <a:gd name="T54" fmla="*/ 2455 w 4081"/>
              <a:gd name="T55" fmla="*/ 299 h 491"/>
              <a:gd name="T56" fmla="*/ 2501 w 4081"/>
              <a:gd name="T57" fmla="*/ 292 h 491"/>
              <a:gd name="T58" fmla="*/ 2547 w 4081"/>
              <a:gd name="T59" fmla="*/ 292 h 491"/>
              <a:gd name="T60" fmla="*/ 2593 w 4081"/>
              <a:gd name="T61" fmla="*/ 284 h 491"/>
              <a:gd name="T62" fmla="*/ 2639 w 4081"/>
              <a:gd name="T63" fmla="*/ 276 h 491"/>
              <a:gd name="T64" fmla="*/ 2693 w 4081"/>
              <a:gd name="T65" fmla="*/ 276 h 491"/>
              <a:gd name="T66" fmla="*/ 2739 w 4081"/>
              <a:gd name="T67" fmla="*/ 269 h 491"/>
              <a:gd name="T68" fmla="*/ 2785 w 4081"/>
              <a:gd name="T69" fmla="*/ 261 h 491"/>
              <a:gd name="T70" fmla="*/ 2831 w 4081"/>
              <a:gd name="T71" fmla="*/ 253 h 491"/>
              <a:gd name="T72" fmla="*/ 2877 w 4081"/>
              <a:gd name="T73" fmla="*/ 253 h 491"/>
              <a:gd name="T74" fmla="*/ 2923 w 4081"/>
              <a:gd name="T75" fmla="*/ 246 h 491"/>
              <a:gd name="T76" fmla="*/ 2969 w 4081"/>
              <a:gd name="T77" fmla="*/ 238 h 491"/>
              <a:gd name="T78" fmla="*/ 3023 w 4081"/>
              <a:gd name="T79" fmla="*/ 230 h 491"/>
              <a:gd name="T80" fmla="*/ 3069 w 4081"/>
              <a:gd name="T81" fmla="*/ 215 h 491"/>
              <a:gd name="T82" fmla="*/ 3115 w 4081"/>
              <a:gd name="T83" fmla="*/ 207 h 491"/>
              <a:gd name="T84" fmla="*/ 3161 w 4081"/>
              <a:gd name="T85" fmla="*/ 192 h 491"/>
              <a:gd name="T86" fmla="*/ 3207 w 4081"/>
              <a:gd name="T87" fmla="*/ 169 h 491"/>
              <a:gd name="T88" fmla="*/ 3253 w 4081"/>
              <a:gd name="T89" fmla="*/ 138 h 491"/>
              <a:gd name="T90" fmla="*/ 3299 w 4081"/>
              <a:gd name="T91" fmla="*/ 115 h 491"/>
              <a:gd name="T92" fmla="*/ 3345 w 4081"/>
              <a:gd name="T93" fmla="*/ 108 h 491"/>
              <a:gd name="T94" fmla="*/ 3398 w 4081"/>
              <a:gd name="T95" fmla="*/ 85 h 491"/>
              <a:gd name="T96" fmla="*/ 3444 w 4081"/>
              <a:gd name="T97" fmla="*/ 77 h 491"/>
              <a:gd name="T98" fmla="*/ 3490 w 4081"/>
              <a:gd name="T99" fmla="*/ 69 h 491"/>
              <a:gd name="T100" fmla="*/ 3536 w 4081"/>
              <a:gd name="T101" fmla="*/ 54 h 491"/>
              <a:gd name="T102" fmla="*/ 3582 w 4081"/>
              <a:gd name="T103" fmla="*/ 54 h 491"/>
              <a:gd name="T104" fmla="*/ 3629 w 4081"/>
              <a:gd name="T105" fmla="*/ 46 h 491"/>
              <a:gd name="T106" fmla="*/ 3675 w 4081"/>
              <a:gd name="T107" fmla="*/ 46 h 491"/>
              <a:gd name="T108" fmla="*/ 3728 w 4081"/>
              <a:gd name="T109" fmla="*/ 39 h 491"/>
              <a:gd name="T110" fmla="*/ 3774 w 4081"/>
              <a:gd name="T111" fmla="*/ 39 h 491"/>
              <a:gd name="T112" fmla="*/ 3820 w 4081"/>
              <a:gd name="T113" fmla="*/ 31 h 491"/>
              <a:gd name="T114" fmla="*/ 3866 w 4081"/>
              <a:gd name="T115" fmla="*/ 31 h 491"/>
              <a:gd name="T116" fmla="*/ 3912 w 4081"/>
              <a:gd name="T117" fmla="*/ 23 h 491"/>
              <a:gd name="T118" fmla="*/ 3958 w 4081"/>
              <a:gd name="T119" fmla="*/ 16 h 491"/>
              <a:gd name="T120" fmla="*/ 4004 w 4081"/>
              <a:gd name="T121" fmla="*/ 16 h 491"/>
              <a:gd name="T122" fmla="*/ 4058 w 4081"/>
              <a:gd name="T123" fmla="*/ 8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081" h="491">
                <a:moveTo>
                  <a:pt x="0" y="491"/>
                </a:moveTo>
                <a:lnTo>
                  <a:pt x="108" y="491"/>
                </a:lnTo>
                <a:lnTo>
                  <a:pt x="108" y="491"/>
                </a:lnTo>
                <a:lnTo>
                  <a:pt x="177" y="491"/>
                </a:lnTo>
                <a:lnTo>
                  <a:pt x="177" y="483"/>
                </a:lnTo>
                <a:lnTo>
                  <a:pt x="223" y="483"/>
                </a:lnTo>
                <a:lnTo>
                  <a:pt x="223" y="483"/>
                </a:lnTo>
                <a:lnTo>
                  <a:pt x="230" y="483"/>
                </a:lnTo>
                <a:lnTo>
                  <a:pt x="230" y="483"/>
                </a:lnTo>
                <a:lnTo>
                  <a:pt x="246" y="483"/>
                </a:lnTo>
                <a:lnTo>
                  <a:pt x="246" y="483"/>
                </a:lnTo>
                <a:lnTo>
                  <a:pt x="253" y="483"/>
                </a:lnTo>
                <a:lnTo>
                  <a:pt x="253" y="483"/>
                </a:lnTo>
                <a:lnTo>
                  <a:pt x="269" y="483"/>
                </a:lnTo>
                <a:lnTo>
                  <a:pt x="269" y="483"/>
                </a:lnTo>
                <a:lnTo>
                  <a:pt x="299" y="483"/>
                </a:lnTo>
                <a:lnTo>
                  <a:pt x="299" y="483"/>
                </a:lnTo>
                <a:lnTo>
                  <a:pt x="322" y="483"/>
                </a:lnTo>
                <a:lnTo>
                  <a:pt x="322" y="483"/>
                </a:lnTo>
                <a:lnTo>
                  <a:pt x="330" y="483"/>
                </a:lnTo>
                <a:lnTo>
                  <a:pt x="330" y="483"/>
                </a:lnTo>
                <a:lnTo>
                  <a:pt x="353" y="483"/>
                </a:lnTo>
                <a:lnTo>
                  <a:pt x="353" y="476"/>
                </a:lnTo>
                <a:lnTo>
                  <a:pt x="368" y="476"/>
                </a:lnTo>
                <a:lnTo>
                  <a:pt x="368" y="476"/>
                </a:lnTo>
                <a:lnTo>
                  <a:pt x="376" y="476"/>
                </a:lnTo>
                <a:lnTo>
                  <a:pt x="376" y="476"/>
                </a:lnTo>
                <a:lnTo>
                  <a:pt x="376" y="476"/>
                </a:lnTo>
                <a:lnTo>
                  <a:pt x="376" y="476"/>
                </a:lnTo>
                <a:lnTo>
                  <a:pt x="384" y="476"/>
                </a:lnTo>
                <a:lnTo>
                  <a:pt x="384" y="476"/>
                </a:lnTo>
                <a:lnTo>
                  <a:pt x="391" y="476"/>
                </a:lnTo>
                <a:lnTo>
                  <a:pt x="391" y="476"/>
                </a:lnTo>
                <a:lnTo>
                  <a:pt x="399" y="476"/>
                </a:lnTo>
                <a:lnTo>
                  <a:pt x="399" y="476"/>
                </a:lnTo>
                <a:lnTo>
                  <a:pt x="399" y="476"/>
                </a:lnTo>
                <a:lnTo>
                  <a:pt x="399" y="476"/>
                </a:lnTo>
                <a:lnTo>
                  <a:pt x="430" y="476"/>
                </a:lnTo>
                <a:lnTo>
                  <a:pt x="430" y="476"/>
                </a:lnTo>
                <a:lnTo>
                  <a:pt x="437" y="476"/>
                </a:lnTo>
                <a:lnTo>
                  <a:pt x="437" y="468"/>
                </a:lnTo>
                <a:lnTo>
                  <a:pt x="445" y="468"/>
                </a:lnTo>
                <a:lnTo>
                  <a:pt x="445" y="468"/>
                </a:lnTo>
                <a:lnTo>
                  <a:pt x="483" y="468"/>
                </a:lnTo>
                <a:lnTo>
                  <a:pt x="483" y="468"/>
                </a:lnTo>
                <a:lnTo>
                  <a:pt x="507" y="468"/>
                </a:lnTo>
                <a:lnTo>
                  <a:pt x="507" y="468"/>
                </a:lnTo>
                <a:lnTo>
                  <a:pt x="507" y="468"/>
                </a:lnTo>
                <a:lnTo>
                  <a:pt x="507" y="468"/>
                </a:lnTo>
                <a:lnTo>
                  <a:pt x="576" y="468"/>
                </a:lnTo>
                <a:lnTo>
                  <a:pt x="576" y="468"/>
                </a:lnTo>
                <a:lnTo>
                  <a:pt x="583" y="468"/>
                </a:lnTo>
                <a:lnTo>
                  <a:pt x="583" y="468"/>
                </a:lnTo>
                <a:lnTo>
                  <a:pt x="599" y="468"/>
                </a:lnTo>
                <a:lnTo>
                  <a:pt x="599" y="468"/>
                </a:lnTo>
                <a:lnTo>
                  <a:pt x="622" y="468"/>
                </a:lnTo>
                <a:lnTo>
                  <a:pt x="622" y="468"/>
                </a:lnTo>
                <a:lnTo>
                  <a:pt x="629" y="468"/>
                </a:lnTo>
                <a:lnTo>
                  <a:pt x="629" y="468"/>
                </a:lnTo>
                <a:lnTo>
                  <a:pt x="645" y="468"/>
                </a:lnTo>
                <a:lnTo>
                  <a:pt x="645" y="460"/>
                </a:lnTo>
                <a:lnTo>
                  <a:pt x="652" y="460"/>
                </a:lnTo>
                <a:lnTo>
                  <a:pt x="652" y="460"/>
                </a:lnTo>
                <a:lnTo>
                  <a:pt x="652" y="460"/>
                </a:lnTo>
                <a:lnTo>
                  <a:pt x="652" y="460"/>
                </a:lnTo>
                <a:lnTo>
                  <a:pt x="675" y="460"/>
                </a:lnTo>
                <a:lnTo>
                  <a:pt x="675" y="460"/>
                </a:lnTo>
                <a:lnTo>
                  <a:pt x="706" y="460"/>
                </a:lnTo>
                <a:lnTo>
                  <a:pt x="706" y="460"/>
                </a:lnTo>
                <a:lnTo>
                  <a:pt x="714" y="460"/>
                </a:lnTo>
                <a:lnTo>
                  <a:pt x="714" y="460"/>
                </a:lnTo>
                <a:lnTo>
                  <a:pt x="721" y="460"/>
                </a:lnTo>
                <a:lnTo>
                  <a:pt x="721" y="460"/>
                </a:lnTo>
                <a:lnTo>
                  <a:pt x="744" y="460"/>
                </a:lnTo>
                <a:lnTo>
                  <a:pt x="744" y="460"/>
                </a:lnTo>
                <a:lnTo>
                  <a:pt x="752" y="460"/>
                </a:lnTo>
                <a:lnTo>
                  <a:pt x="752" y="460"/>
                </a:lnTo>
                <a:lnTo>
                  <a:pt x="752" y="460"/>
                </a:lnTo>
                <a:lnTo>
                  <a:pt x="752" y="460"/>
                </a:lnTo>
                <a:lnTo>
                  <a:pt x="760" y="460"/>
                </a:lnTo>
                <a:lnTo>
                  <a:pt x="760" y="460"/>
                </a:lnTo>
                <a:lnTo>
                  <a:pt x="775" y="460"/>
                </a:lnTo>
                <a:lnTo>
                  <a:pt x="775" y="460"/>
                </a:lnTo>
                <a:lnTo>
                  <a:pt x="783" y="460"/>
                </a:lnTo>
                <a:lnTo>
                  <a:pt x="783" y="460"/>
                </a:lnTo>
                <a:lnTo>
                  <a:pt x="783" y="460"/>
                </a:lnTo>
                <a:lnTo>
                  <a:pt x="783" y="460"/>
                </a:lnTo>
                <a:lnTo>
                  <a:pt x="813" y="460"/>
                </a:lnTo>
                <a:lnTo>
                  <a:pt x="813" y="460"/>
                </a:lnTo>
                <a:lnTo>
                  <a:pt x="829" y="460"/>
                </a:lnTo>
                <a:lnTo>
                  <a:pt x="829" y="460"/>
                </a:lnTo>
                <a:lnTo>
                  <a:pt x="852" y="460"/>
                </a:lnTo>
                <a:lnTo>
                  <a:pt x="852" y="460"/>
                </a:lnTo>
                <a:lnTo>
                  <a:pt x="859" y="460"/>
                </a:lnTo>
                <a:lnTo>
                  <a:pt x="859" y="453"/>
                </a:lnTo>
                <a:lnTo>
                  <a:pt x="875" y="453"/>
                </a:lnTo>
                <a:lnTo>
                  <a:pt x="875" y="453"/>
                </a:lnTo>
                <a:lnTo>
                  <a:pt x="882" y="453"/>
                </a:lnTo>
                <a:lnTo>
                  <a:pt x="882" y="453"/>
                </a:lnTo>
                <a:lnTo>
                  <a:pt x="890" y="453"/>
                </a:lnTo>
                <a:lnTo>
                  <a:pt x="890" y="453"/>
                </a:lnTo>
                <a:lnTo>
                  <a:pt x="905" y="453"/>
                </a:lnTo>
                <a:lnTo>
                  <a:pt x="905" y="453"/>
                </a:lnTo>
                <a:lnTo>
                  <a:pt x="905" y="453"/>
                </a:lnTo>
                <a:lnTo>
                  <a:pt x="905" y="453"/>
                </a:lnTo>
                <a:lnTo>
                  <a:pt x="913" y="453"/>
                </a:lnTo>
                <a:lnTo>
                  <a:pt x="913" y="453"/>
                </a:lnTo>
                <a:lnTo>
                  <a:pt x="921" y="453"/>
                </a:lnTo>
                <a:lnTo>
                  <a:pt x="921" y="453"/>
                </a:lnTo>
                <a:lnTo>
                  <a:pt x="928" y="453"/>
                </a:lnTo>
                <a:lnTo>
                  <a:pt x="928" y="453"/>
                </a:lnTo>
                <a:lnTo>
                  <a:pt x="951" y="453"/>
                </a:lnTo>
                <a:lnTo>
                  <a:pt x="951" y="445"/>
                </a:lnTo>
                <a:lnTo>
                  <a:pt x="959" y="445"/>
                </a:lnTo>
                <a:lnTo>
                  <a:pt x="959" y="445"/>
                </a:lnTo>
                <a:lnTo>
                  <a:pt x="974" y="445"/>
                </a:lnTo>
                <a:lnTo>
                  <a:pt x="974" y="445"/>
                </a:lnTo>
                <a:lnTo>
                  <a:pt x="982" y="445"/>
                </a:lnTo>
                <a:lnTo>
                  <a:pt x="982" y="445"/>
                </a:lnTo>
                <a:lnTo>
                  <a:pt x="982" y="445"/>
                </a:lnTo>
                <a:lnTo>
                  <a:pt x="982" y="445"/>
                </a:lnTo>
                <a:lnTo>
                  <a:pt x="990" y="445"/>
                </a:lnTo>
                <a:lnTo>
                  <a:pt x="990" y="437"/>
                </a:lnTo>
                <a:lnTo>
                  <a:pt x="1005" y="437"/>
                </a:lnTo>
                <a:lnTo>
                  <a:pt x="1005" y="437"/>
                </a:lnTo>
                <a:lnTo>
                  <a:pt x="1020" y="437"/>
                </a:lnTo>
                <a:lnTo>
                  <a:pt x="1020" y="437"/>
                </a:lnTo>
                <a:lnTo>
                  <a:pt x="1028" y="437"/>
                </a:lnTo>
                <a:lnTo>
                  <a:pt x="1028" y="437"/>
                </a:lnTo>
                <a:lnTo>
                  <a:pt x="1028" y="437"/>
                </a:lnTo>
                <a:lnTo>
                  <a:pt x="1028" y="437"/>
                </a:lnTo>
                <a:lnTo>
                  <a:pt x="1036" y="437"/>
                </a:lnTo>
                <a:lnTo>
                  <a:pt x="1036" y="430"/>
                </a:lnTo>
                <a:lnTo>
                  <a:pt x="1043" y="430"/>
                </a:lnTo>
                <a:lnTo>
                  <a:pt x="1043" y="430"/>
                </a:lnTo>
                <a:lnTo>
                  <a:pt x="1059" y="430"/>
                </a:lnTo>
                <a:lnTo>
                  <a:pt x="1059" y="430"/>
                </a:lnTo>
                <a:lnTo>
                  <a:pt x="1066" y="430"/>
                </a:lnTo>
                <a:lnTo>
                  <a:pt x="1066" y="430"/>
                </a:lnTo>
                <a:lnTo>
                  <a:pt x="1074" y="430"/>
                </a:lnTo>
                <a:lnTo>
                  <a:pt x="1074" y="422"/>
                </a:lnTo>
                <a:lnTo>
                  <a:pt x="1082" y="422"/>
                </a:lnTo>
                <a:lnTo>
                  <a:pt x="1082" y="422"/>
                </a:lnTo>
                <a:lnTo>
                  <a:pt x="1105" y="422"/>
                </a:lnTo>
                <a:lnTo>
                  <a:pt x="1105" y="422"/>
                </a:lnTo>
                <a:lnTo>
                  <a:pt x="1105" y="422"/>
                </a:lnTo>
                <a:lnTo>
                  <a:pt x="1105" y="422"/>
                </a:lnTo>
                <a:lnTo>
                  <a:pt x="1128" y="422"/>
                </a:lnTo>
                <a:lnTo>
                  <a:pt x="1128" y="422"/>
                </a:lnTo>
                <a:lnTo>
                  <a:pt x="1136" y="422"/>
                </a:lnTo>
                <a:lnTo>
                  <a:pt x="1136" y="422"/>
                </a:lnTo>
                <a:lnTo>
                  <a:pt x="1143" y="422"/>
                </a:lnTo>
                <a:lnTo>
                  <a:pt x="1143" y="422"/>
                </a:lnTo>
                <a:lnTo>
                  <a:pt x="1151" y="422"/>
                </a:lnTo>
                <a:lnTo>
                  <a:pt x="1151" y="422"/>
                </a:lnTo>
                <a:lnTo>
                  <a:pt x="1159" y="422"/>
                </a:lnTo>
                <a:lnTo>
                  <a:pt x="1159" y="414"/>
                </a:lnTo>
                <a:lnTo>
                  <a:pt x="1159" y="414"/>
                </a:lnTo>
                <a:lnTo>
                  <a:pt x="1159" y="414"/>
                </a:lnTo>
                <a:lnTo>
                  <a:pt x="1166" y="414"/>
                </a:lnTo>
                <a:lnTo>
                  <a:pt x="1166" y="414"/>
                </a:lnTo>
                <a:lnTo>
                  <a:pt x="1182" y="414"/>
                </a:lnTo>
                <a:lnTo>
                  <a:pt x="1182" y="414"/>
                </a:lnTo>
                <a:lnTo>
                  <a:pt x="1197" y="414"/>
                </a:lnTo>
                <a:lnTo>
                  <a:pt x="1197" y="414"/>
                </a:lnTo>
                <a:lnTo>
                  <a:pt x="1205" y="414"/>
                </a:lnTo>
                <a:lnTo>
                  <a:pt x="1205" y="407"/>
                </a:lnTo>
                <a:lnTo>
                  <a:pt x="1205" y="407"/>
                </a:lnTo>
                <a:lnTo>
                  <a:pt x="1205" y="407"/>
                </a:lnTo>
                <a:lnTo>
                  <a:pt x="1220" y="407"/>
                </a:lnTo>
                <a:lnTo>
                  <a:pt x="1220" y="407"/>
                </a:lnTo>
                <a:lnTo>
                  <a:pt x="1228" y="407"/>
                </a:lnTo>
                <a:lnTo>
                  <a:pt x="1228" y="407"/>
                </a:lnTo>
                <a:lnTo>
                  <a:pt x="1235" y="407"/>
                </a:lnTo>
                <a:lnTo>
                  <a:pt x="1235" y="407"/>
                </a:lnTo>
                <a:lnTo>
                  <a:pt x="1258" y="407"/>
                </a:lnTo>
                <a:lnTo>
                  <a:pt x="1258" y="399"/>
                </a:lnTo>
                <a:lnTo>
                  <a:pt x="1289" y="399"/>
                </a:lnTo>
                <a:lnTo>
                  <a:pt x="1289" y="399"/>
                </a:lnTo>
                <a:lnTo>
                  <a:pt x="1304" y="399"/>
                </a:lnTo>
                <a:lnTo>
                  <a:pt x="1304" y="399"/>
                </a:lnTo>
                <a:lnTo>
                  <a:pt x="1335" y="399"/>
                </a:lnTo>
                <a:lnTo>
                  <a:pt x="1335" y="399"/>
                </a:lnTo>
                <a:lnTo>
                  <a:pt x="1350" y="399"/>
                </a:lnTo>
                <a:lnTo>
                  <a:pt x="1350" y="399"/>
                </a:lnTo>
                <a:lnTo>
                  <a:pt x="1358" y="399"/>
                </a:lnTo>
                <a:lnTo>
                  <a:pt x="1358" y="399"/>
                </a:lnTo>
                <a:lnTo>
                  <a:pt x="1358" y="399"/>
                </a:lnTo>
                <a:lnTo>
                  <a:pt x="1358" y="399"/>
                </a:lnTo>
                <a:lnTo>
                  <a:pt x="1404" y="399"/>
                </a:lnTo>
                <a:lnTo>
                  <a:pt x="1404" y="399"/>
                </a:lnTo>
                <a:lnTo>
                  <a:pt x="1412" y="399"/>
                </a:lnTo>
                <a:lnTo>
                  <a:pt x="1412" y="399"/>
                </a:lnTo>
                <a:lnTo>
                  <a:pt x="1419" y="399"/>
                </a:lnTo>
                <a:lnTo>
                  <a:pt x="1419" y="399"/>
                </a:lnTo>
                <a:lnTo>
                  <a:pt x="1442" y="399"/>
                </a:lnTo>
                <a:lnTo>
                  <a:pt x="1442" y="399"/>
                </a:lnTo>
                <a:lnTo>
                  <a:pt x="1458" y="399"/>
                </a:lnTo>
                <a:lnTo>
                  <a:pt x="1458" y="399"/>
                </a:lnTo>
                <a:lnTo>
                  <a:pt x="1458" y="399"/>
                </a:lnTo>
                <a:lnTo>
                  <a:pt x="1458" y="399"/>
                </a:lnTo>
                <a:lnTo>
                  <a:pt x="1496" y="399"/>
                </a:lnTo>
                <a:lnTo>
                  <a:pt x="1496" y="391"/>
                </a:lnTo>
                <a:lnTo>
                  <a:pt x="1511" y="391"/>
                </a:lnTo>
                <a:lnTo>
                  <a:pt x="1511" y="391"/>
                </a:lnTo>
                <a:lnTo>
                  <a:pt x="1511" y="391"/>
                </a:lnTo>
                <a:lnTo>
                  <a:pt x="1511" y="391"/>
                </a:lnTo>
                <a:lnTo>
                  <a:pt x="1519" y="391"/>
                </a:lnTo>
                <a:lnTo>
                  <a:pt x="1519" y="391"/>
                </a:lnTo>
                <a:lnTo>
                  <a:pt x="1534" y="391"/>
                </a:lnTo>
                <a:lnTo>
                  <a:pt x="1534" y="391"/>
                </a:lnTo>
                <a:lnTo>
                  <a:pt x="1542" y="391"/>
                </a:lnTo>
                <a:lnTo>
                  <a:pt x="1542" y="391"/>
                </a:lnTo>
                <a:lnTo>
                  <a:pt x="1550" y="391"/>
                </a:lnTo>
                <a:lnTo>
                  <a:pt x="1550" y="391"/>
                </a:lnTo>
                <a:lnTo>
                  <a:pt x="1557" y="391"/>
                </a:lnTo>
                <a:lnTo>
                  <a:pt x="1557" y="391"/>
                </a:lnTo>
                <a:lnTo>
                  <a:pt x="1557" y="391"/>
                </a:lnTo>
                <a:lnTo>
                  <a:pt x="1557" y="391"/>
                </a:lnTo>
                <a:lnTo>
                  <a:pt x="1573" y="391"/>
                </a:lnTo>
                <a:lnTo>
                  <a:pt x="1573" y="391"/>
                </a:lnTo>
                <a:lnTo>
                  <a:pt x="1588" y="391"/>
                </a:lnTo>
                <a:lnTo>
                  <a:pt x="1588" y="391"/>
                </a:lnTo>
                <a:lnTo>
                  <a:pt x="1596" y="391"/>
                </a:lnTo>
                <a:lnTo>
                  <a:pt x="1596" y="391"/>
                </a:lnTo>
                <a:lnTo>
                  <a:pt x="1603" y="391"/>
                </a:lnTo>
                <a:lnTo>
                  <a:pt x="1603" y="391"/>
                </a:lnTo>
                <a:lnTo>
                  <a:pt x="1611" y="391"/>
                </a:lnTo>
                <a:lnTo>
                  <a:pt x="1611" y="391"/>
                </a:lnTo>
                <a:lnTo>
                  <a:pt x="1611" y="391"/>
                </a:lnTo>
                <a:lnTo>
                  <a:pt x="1611" y="391"/>
                </a:lnTo>
                <a:lnTo>
                  <a:pt x="1619" y="391"/>
                </a:lnTo>
                <a:lnTo>
                  <a:pt x="1619" y="391"/>
                </a:lnTo>
                <a:lnTo>
                  <a:pt x="1657" y="391"/>
                </a:lnTo>
                <a:lnTo>
                  <a:pt x="1657" y="391"/>
                </a:lnTo>
                <a:lnTo>
                  <a:pt x="1665" y="391"/>
                </a:lnTo>
                <a:lnTo>
                  <a:pt x="1665" y="391"/>
                </a:lnTo>
                <a:lnTo>
                  <a:pt x="1688" y="391"/>
                </a:lnTo>
                <a:lnTo>
                  <a:pt x="1688" y="391"/>
                </a:lnTo>
                <a:lnTo>
                  <a:pt x="1688" y="391"/>
                </a:lnTo>
                <a:lnTo>
                  <a:pt x="1688" y="391"/>
                </a:lnTo>
                <a:lnTo>
                  <a:pt x="1711" y="391"/>
                </a:lnTo>
                <a:lnTo>
                  <a:pt x="1711" y="384"/>
                </a:lnTo>
                <a:lnTo>
                  <a:pt x="1711" y="384"/>
                </a:lnTo>
                <a:lnTo>
                  <a:pt x="1711" y="384"/>
                </a:lnTo>
                <a:lnTo>
                  <a:pt x="1742" y="384"/>
                </a:lnTo>
                <a:lnTo>
                  <a:pt x="1742" y="384"/>
                </a:lnTo>
                <a:lnTo>
                  <a:pt x="1765" y="384"/>
                </a:lnTo>
                <a:lnTo>
                  <a:pt x="1765" y="384"/>
                </a:lnTo>
                <a:lnTo>
                  <a:pt x="1788" y="384"/>
                </a:lnTo>
                <a:lnTo>
                  <a:pt x="1788" y="384"/>
                </a:lnTo>
                <a:lnTo>
                  <a:pt x="1811" y="384"/>
                </a:lnTo>
                <a:lnTo>
                  <a:pt x="1811" y="384"/>
                </a:lnTo>
                <a:lnTo>
                  <a:pt x="1818" y="384"/>
                </a:lnTo>
                <a:lnTo>
                  <a:pt x="1818" y="384"/>
                </a:lnTo>
                <a:lnTo>
                  <a:pt x="1826" y="384"/>
                </a:lnTo>
                <a:lnTo>
                  <a:pt x="1826" y="384"/>
                </a:lnTo>
                <a:lnTo>
                  <a:pt x="1834" y="384"/>
                </a:lnTo>
                <a:lnTo>
                  <a:pt x="1834" y="384"/>
                </a:lnTo>
                <a:lnTo>
                  <a:pt x="1864" y="384"/>
                </a:lnTo>
                <a:lnTo>
                  <a:pt x="1864" y="384"/>
                </a:lnTo>
                <a:lnTo>
                  <a:pt x="1864" y="384"/>
                </a:lnTo>
                <a:lnTo>
                  <a:pt x="1864" y="384"/>
                </a:lnTo>
                <a:lnTo>
                  <a:pt x="1872" y="384"/>
                </a:lnTo>
                <a:lnTo>
                  <a:pt x="1872" y="384"/>
                </a:lnTo>
                <a:lnTo>
                  <a:pt x="1887" y="384"/>
                </a:lnTo>
                <a:lnTo>
                  <a:pt x="1887" y="384"/>
                </a:lnTo>
                <a:lnTo>
                  <a:pt x="1887" y="384"/>
                </a:lnTo>
                <a:lnTo>
                  <a:pt x="1887" y="376"/>
                </a:lnTo>
                <a:lnTo>
                  <a:pt x="1895" y="376"/>
                </a:lnTo>
                <a:lnTo>
                  <a:pt x="1895" y="376"/>
                </a:lnTo>
                <a:lnTo>
                  <a:pt x="1903" y="376"/>
                </a:lnTo>
                <a:lnTo>
                  <a:pt x="1903" y="376"/>
                </a:lnTo>
                <a:lnTo>
                  <a:pt x="1910" y="376"/>
                </a:lnTo>
                <a:lnTo>
                  <a:pt x="1910" y="376"/>
                </a:lnTo>
                <a:lnTo>
                  <a:pt x="1910" y="376"/>
                </a:lnTo>
                <a:lnTo>
                  <a:pt x="1910" y="376"/>
                </a:lnTo>
                <a:lnTo>
                  <a:pt x="1941" y="376"/>
                </a:lnTo>
                <a:lnTo>
                  <a:pt x="1941" y="368"/>
                </a:lnTo>
                <a:lnTo>
                  <a:pt x="1941" y="368"/>
                </a:lnTo>
                <a:lnTo>
                  <a:pt x="1941" y="368"/>
                </a:lnTo>
                <a:lnTo>
                  <a:pt x="1949" y="368"/>
                </a:lnTo>
                <a:lnTo>
                  <a:pt x="1949" y="368"/>
                </a:lnTo>
                <a:lnTo>
                  <a:pt x="1956" y="368"/>
                </a:lnTo>
                <a:lnTo>
                  <a:pt x="1956" y="368"/>
                </a:lnTo>
                <a:lnTo>
                  <a:pt x="1964" y="368"/>
                </a:lnTo>
                <a:lnTo>
                  <a:pt x="1964" y="368"/>
                </a:lnTo>
                <a:lnTo>
                  <a:pt x="1964" y="368"/>
                </a:lnTo>
                <a:lnTo>
                  <a:pt x="1964" y="368"/>
                </a:lnTo>
                <a:lnTo>
                  <a:pt x="1972" y="368"/>
                </a:lnTo>
                <a:lnTo>
                  <a:pt x="1972" y="361"/>
                </a:lnTo>
                <a:lnTo>
                  <a:pt x="1979" y="361"/>
                </a:lnTo>
                <a:lnTo>
                  <a:pt x="1979" y="361"/>
                </a:lnTo>
                <a:lnTo>
                  <a:pt x="1987" y="361"/>
                </a:lnTo>
                <a:lnTo>
                  <a:pt x="1987" y="361"/>
                </a:lnTo>
                <a:lnTo>
                  <a:pt x="1987" y="361"/>
                </a:lnTo>
                <a:lnTo>
                  <a:pt x="1987" y="361"/>
                </a:lnTo>
                <a:lnTo>
                  <a:pt x="1995" y="361"/>
                </a:lnTo>
                <a:lnTo>
                  <a:pt x="1995" y="361"/>
                </a:lnTo>
                <a:lnTo>
                  <a:pt x="2002" y="361"/>
                </a:lnTo>
                <a:lnTo>
                  <a:pt x="2002" y="361"/>
                </a:lnTo>
                <a:lnTo>
                  <a:pt x="2010" y="361"/>
                </a:lnTo>
                <a:lnTo>
                  <a:pt x="2010" y="361"/>
                </a:lnTo>
                <a:lnTo>
                  <a:pt x="2010" y="361"/>
                </a:lnTo>
                <a:lnTo>
                  <a:pt x="2010" y="361"/>
                </a:lnTo>
                <a:lnTo>
                  <a:pt x="2018" y="361"/>
                </a:lnTo>
                <a:lnTo>
                  <a:pt x="2018" y="361"/>
                </a:lnTo>
                <a:lnTo>
                  <a:pt x="2025" y="361"/>
                </a:lnTo>
                <a:lnTo>
                  <a:pt x="2025" y="361"/>
                </a:lnTo>
                <a:lnTo>
                  <a:pt x="2033" y="361"/>
                </a:lnTo>
                <a:lnTo>
                  <a:pt x="2033" y="361"/>
                </a:lnTo>
                <a:lnTo>
                  <a:pt x="2041" y="361"/>
                </a:lnTo>
                <a:lnTo>
                  <a:pt x="2041" y="361"/>
                </a:lnTo>
                <a:lnTo>
                  <a:pt x="2041" y="361"/>
                </a:lnTo>
                <a:lnTo>
                  <a:pt x="2041" y="361"/>
                </a:lnTo>
                <a:lnTo>
                  <a:pt x="2048" y="361"/>
                </a:lnTo>
                <a:lnTo>
                  <a:pt x="2048" y="353"/>
                </a:lnTo>
                <a:lnTo>
                  <a:pt x="2056" y="353"/>
                </a:lnTo>
                <a:lnTo>
                  <a:pt x="2056" y="353"/>
                </a:lnTo>
                <a:lnTo>
                  <a:pt x="2064" y="353"/>
                </a:lnTo>
                <a:lnTo>
                  <a:pt x="2064" y="353"/>
                </a:lnTo>
                <a:lnTo>
                  <a:pt x="2064" y="353"/>
                </a:lnTo>
                <a:lnTo>
                  <a:pt x="2064" y="353"/>
                </a:lnTo>
                <a:lnTo>
                  <a:pt x="2071" y="353"/>
                </a:lnTo>
                <a:lnTo>
                  <a:pt x="2071" y="353"/>
                </a:lnTo>
                <a:lnTo>
                  <a:pt x="2079" y="353"/>
                </a:lnTo>
                <a:lnTo>
                  <a:pt x="2079" y="353"/>
                </a:lnTo>
                <a:lnTo>
                  <a:pt x="2087" y="353"/>
                </a:lnTo>
                <a:lnTo>
                  <a:pt x="2087" y="353"/>
                </a:lnTo>
                <a:lnTo>
                  <a:pt x="2087" y="353"/>
                </a:lnTo>
                <a:lnTo>
                  <a:pt x="2087" y="345"/>
                </a:lnTo>
                <a:lnTo>
                  <a:pt x="2094" y="345"/>
                </a:lnTo>
                <a:lnTo>
                  <a:pt x="2094" y="345"/>
                </a:lnTo>
                <a:lnTo>
                  <a:pt x="2102" y="345"/>
                </a:lnTo>
                <a:lnTo>
                  <a:pt x="2102" y="345"/>
                </a:lnTo>
                <a:lnTo>
                  <a:pt x="2110" y="345"/>
                </a:lnTo>
                <a:lnTo>
                  <a:pt x="2110" y="338"/>
                </a:lnTo>
                <a:lnTo>
                  <a:pt x="2117" y="338"/>
                </a:lnTo>
                <a:lnTo>
                  <a:pt x="2117" y="338"/>
                </a:lnTo>
                <a:lnTo>
                  <a:pt x="2117" y="338"/>
                </a:lnTo>
                <a:lnTo>
                  <a:pt x="2117" y="338"/>
                </a:lnTo>
                <a:lnTo>
                  <a:pt x="2125" y="338"/>
                </a:lnTo>
                <a:lnTo>
                  <a:pt x="2125" y="338"/>
                </a:lnTo>
                <a:lnTo>
                  <a:pt x="2140" y="338"/>
                </a:lnTo>
                <a:lnTo>
                  <a:pt x="2140" y="338"/>
                </a:lnTo>
                <a:lnTo>
                  <a:pt x="2140" y="338"/>
                </a:lnTo>
                <a:lnTo>
                  <a:pt x="2140" y="330"/>
                </a:lnTo>
                <a:lnTo>
                  <a:pt x="2148" y="330"/>
                </a:lnTo>
                <a:lnTo>
                  <a:pt x="2148" y="330"/>
                </a:lnTo>
                <a:lnTo>
                  <a:pt x="2156" y="330"/>
                </a:lnTo>
                <a:lnTo>
                  <a:pt x="2156" y="330"/>
                </a:lnTo>
                <a:lnTo>
                  <a:pt x="2163" y="330"/>
                </a:lnTo>
                <a:lnTo>
                  <a:pt x="2163" y="322"/>
                </a:lnTo>
                <a:lnTo>
                  <a:pt x="2163" y="322"/>
                </a:lnTo>
                <a:lnTo>
                  <a:pt x="2163" y="322"/>
                </a:lnTo>
                <a:lnTo>
                  <a:pt x="2171" y="322"/>
                </a:lnTo>
                <a:lnTo>
                  <a:pt x="2171" y="322"/>
                </a:lnTo>
                <a:lnTo>
                  <a:pt x="2179" y="322"/>
                </a:lnTo>
                <a:lnTo>
                  <a:pt x="2179" y="322"/>
                </a:lnTo>
                <a:lnTo>
                  <a:pt x="2186" y="322"/>
                </a:lnTo>
                <a:lnTo>
                  <a:pt x="2186" y="322"/>
                </a:lnTo>
                <a:lnTo>
                  <a:pt x="2186" y="322"/>
                </a:lnTo>
                <a:lnTo>
                  <a:pt x="2186" y="315"/>
                </a:lnTo>
                <a:lnTo>
                  <a:pt x="2194" y="315"/>
                </a:lnTo>
                <a:lnTo>
                  <a:pt x="2194" y="315"/>
                </a:lnTo>
                <a:lnTo>
                  <a:pt x="2202" y="315"/>
                </a:lnTo>
                <a:lnTo>
                  <a:pt x="2202" y="315"/>
                </a:lnTo>
                <a:lnTo>
                  <a:pt x="2209" y="315"/>
                </a:lnTo>
                <a:lnTo>
                  <a:pt x="2209" y="315"/>
                </a:lnTo>
                <a:lnTo>
                  <a:pt x="2217" y="315"/>
                </a:lnTo>
                <a:lnTo>
                  <a:pt x="2217" y="315"/>
                </a:lnTo>
                <a:lnTo>
                  <a:pt x="2217" y="315"/>
                </a:lnTo>
                <a:lnTo>
                  <a:pt x="2217" y="315"/>
                </a:lnTo>
                <a:lnTo>
                  <a:pt x="2225" y="315"/>
                </a:lnTo>
                <a:lnTo>
                  <a:pt x="2225" y="315"/>
                </a:lnTo>
                <a:lnTo>
                  <a:pt x="2232" y="315"/>
                </a:lnTo>
                <a:lnTo>
                  <a:pt x="2232" y="315"/>
                </a:lnTo>
                <a:lnTo>
                  <a:pt x="2240" y="315"/>
                </a:lnTo>
                <a:lnTo>
                  <a:pt x="2240" y="315"/>
                </a:lnTo>
                <a:lnTo>
                  <a:pt x="2240" y="315"/>
                </a:lnTo>
                <a:lnTo>
                  <a:pt x="2240" y="315"/>
                </a:lnTo>
                <a:lnTo>
                  <a:pt x="2248" y="315"/>
                </a:lnTo>
                <a:lnTo>
                  <a:pt x="2248" y="307"/>
                </a:lnTo>
                <a:lnTo>
                  <a:pt x="2255" y="307"/>
                </a:lnTo>
                <a:lnTo>
                  <a:pt x="2255" y="307"/>
                </a:lnTo>
                <a:lnTo>
                  <a:pt x="2263" y="307"/>
                </a:lnTo>
                <a:lnTo>
                  <a:pt x="2263" y="307"/>
                </a:lnTo>
                <a:lnTo>
                  <a:pt x="2263" y="307"/>
                </a:lnTo>
                <a:lnTo>
                  <a:pt x="2263" y="307"/>
                </a:lnTo>
                <a:lnTo>
                  <a:pt x="2271" y="307"/>
                </a:lnTo>
                <a:lnTo>
                  <a:pt x="2271" y="307"/>
                </a:lnTo>
                <a:lnTo>
                  <a:pt x="2278" y="307"/>
                </a:lnTo>
                <a:lnTo>
                  <a:pt x="2278" y="307"/>
                </a:lnTo>
                <a:lnTo>
                  <a:pt x="2286" y="307"/>
                </a:lnTo>
                <a:lnTo>
                  <a:pt x="2286" y="307"/>
                </a:lnTo>
                <a:lnTo>
                  <a:pt x="2294" y="307"/>
                </a:lnTo>
                <a:lnTo>
                  <a:pt x="2294" y="307"/>
                </a:lnTo>
                <a:lnTo>
                  <a:pt x="2294" y="307"/>
                </a:lnTo>
                <a:lnTo>
                  <a:pt x="2294" y="307"/>
                </a:lnTo>
                <a:lnTo>
                  <a:pt x="2301" y="307"/>
                </a:lnTo>
                <a:lnTo>
                  <a:pt x="2301" y="299"/>
                </a:lnTo>
                <a:lnTo>
                  <a:pt x="2309" y="299"/>
                </a:lnTo>
                <a:lnTo>
                  <a:pt x="2309" y="299"/>
                </a:lnTo>
                <a:lnTo>
                  <a:pt x="2317" y="299"/>
                </a:lnTo>
                <a:lnTo>
                  <a:pt x="2317" y="299"/>
                </a:lnTo>
                <a:lnTo>
                  <a:pt x="2317" y="299"/>
                </a:lnTo>
                <a:lnTo>
                  <a:pt x="2317" y="299"/>
                </a:lnTo>
                <a:lnTo>
                  <a:pt x="2324" y="299"/>
                </a:lnTo>
                <a:lnTo>
                  <a:pt x="2324" y="299"/>
                </a:lnTo>
                <a:lnTo>
                  <a:pt x="2332" y="299"/>
                </a:lnTo>
                <a:lnTo>
                  <a:pt x="2332" y="299"/>
                </a:lnTo>
                <a:lnTo>
                  <a:pt x="2340" y="299"/>
                </a:lnTo>
                <a:lnTo>
                  <a:pt x="2340" y="299"/>
                </a:lnTo>
                <a:lnTo>
                  <a:pt x="2340" y="299"/>
                </a:lnTo>
                <a:lnTo>
                  <a:pt x="2340" y="299"/>
                </a:lnTo>
                <a:lnTo>
                  <a:pt x="2347" y="299"/>
                </a:lnTo>
                <a:lnTo>
                  <a:pt x="2347" y="299"/>
                </a:lnTo>
                <a:lnTo>
                  <a:pt x="2355" y="299"/>
                </a:lnTo>
                <a:lnTo>
                  <a:pt x="2355" y="299"/>
                </a:lnTo>
                <a:lnTo>
                  <a:pt x="2363" y="299"/>
                </a:lnTo>
                <a:lnTo>
                  <a:pt x="2363" y="299"/>
                </a:lnTo>
                <a:lnTo>
                  <a:pt x="2378" y="299"/>
                </a:lnTo>
                <a:lnTo>
                  <a:pt x="2378" y="299"/>
                </a:lnTo>
                <a:lnTo>
                  <a:pt x="2386" y="299"/>
                </a:lnTo>
                <a:lnTo>
                  <a:pt x="2386" y="299"/>
                </a:lnTo>
                <a:lnTo>
                  <a:pt x="2394" y="299"/>
                </a:lnTo>
                <a:lnTo>
                  <a:pt x="2394" y="299"/>
                </a:lnTo>
                <a:lnTo>
                  <a:pt x="2394" y="299"/>
                </a:lnTo>
                <a:lnTo>
                  <a:pt x="2394" y="299"/>
                </a:lnTo>
                <a:lnTo>
                  <a:pt x="2401" y="299"/>
                </a:lnTo>
                <a:lnTo>
                  <a:pt x="2401" y="299"/>
                </a:lnTo>
                <a:lnTo>
                  <a:pt x="2409" y="299"/>
                </a:lnTo>
                <a:lnTo>
                  <a:pt x="2409" y="299"/>
                </a:lnTo>
                <a:lnTo>
                  <a:pt x="2417" y="299"/>
                </a:lnTo>
                <a:lnTo>
                  <a:pt x="2417" y="299"/>
                </a:lnTo>
                <a:lnTo>
                  <a:pt x="2417" y="299"/>
                </a:lnTo>
                <a:lnTo>
                  <a:pt x="2417" y="299"/>
                </a:lnTo>
                <a:lnTo>
                  <a:pt x="2424" y="299"/>
                </a:lnTo>
                <a:lnTo>
                  <a:pt x="2424" y="299"/>
                </a:lnTo>
                <a:lnTo>
                  <a:pt x="2432" y="299"/>
                </a:lnTo>
                <a:lnTo>
                  <a:pt x="2432" y="299"/>
                </a:lnTo>
                <a:lnTo>
                  <a:pt x="2440" y="299"/>
                </a:lnTo>
                <a:lnTo>
                  <a:pt x="2440" y="299"/>
                </a:lnTo>
                <a:lnTo>
                  <a:pt x="2440" y="299"/>
                </a:lnTo>
                <a:lnTo>
                  <a:pt x="2440" y="299"/>
                </a:lnTo>
                <a:lnTo>
                  <a:pt x="2447" y="299"/>
                </a:lnTo>
                <a:lnTo>
                  <a:pt x="2447" y="299"/>
                </a:lnTo>
                <a:lnTo>
                  <a:pt x="2455" y="299"/>
                </a:lnTo>
                <a:lnTo>
                  <a:pt x="2455" y="299"/>
                </a:lnTo>
                <a:lnTo>
                  <a:pt x="2463" y="299"/>
                </a:lnTo>
                <a:lnTo>
                  <a:pt x="2463" y="292"/>
                </a:lnTo>
                <a:lnTo>
                  <a:pt x="2470" y="292"/>
                </a:lnTo>
                <a:lnTo>
                  <a:pt x="2470" y="292"/>
                </a:lnTo>
                <a:lnTo>
                  <a:pt x="2470" y="292"/>
                </a:lnTo>
                <a:lnTo>
                  <a:pt x="2470" y="292"/>
                </a:lnTo>
                <a:lnTo>
                  <a:pt x="2478" y="292"/>
                </a:lnTo>
                <a:lnTo>
                  <a:pt x="2478" y="292"/>
                </a:lnTo>
                <a:lnTo>
                  <a:pt x="2486" y="292"/>
                </a:lnTo>
                <a:lnTo>
                  <a:pt x="2486" y="292"/>
                </a:lnTo>
                <a:lnTo>
                  <a:pt x="2493" y="292"/>
                </a:lnTo>
                <a:lnTo>
                  <a:pt x="2493" y="292"/>
                </a:lnTo>
                <a:lnTo>
                  <a:pt x="2493" y="292"/>
                </a:lnTo>
                <a:lnTo>
                  <a:pt x="2493" y="292"/>
                </a:lnTo>
                <a:lnTo>
                  <a:pt x="2501" y="292"/>
                </a:lnTo>
                <a:lnTo>
                  <a:pt x="2501" y="292"/>
                </a:lnTo>
                <a:lnTo>
                  <a:pt x="2509" y="292"/>
                </a:lnTo>
                <a:lnTo>
                  <a:pt x="2509" y="292"/>
                </a:lnTo>
                <a:lnTo>
                  <a:pt x="2516" y="292"/>
                </a:lnTo>
                <a:lnTo>
                  <a:pt x="2516" y="292"/>
                </a:lnTo>
                <a:lnTo>
                  <a:pt x="2516" y="292"/>
                </a:lnTo>
                <a:lnTo>
                  <a:pt x="2516" y="292"/>
                </a:lnTo>
                <a:lnTo>
                  <a:pt x="2524" y="292"/>
                </a:lnTo>
                <a:lnTo>
                  <a:pt x="2524" y="292"/>
                </a:lnTo>
                <a:lnTo>
                  <a:pt x="2532" y="292"/>
                </a:lnTo>
                <a:lnTo>
                  <a:pt x="2532" y="292"/>
                </a:lnTo>
                <a:lnTo>
                  <a:pt x="2539" y="292"/>
                </a:lnTo>
                <a:lnTo>
                  <a:pt x="2539" y="292"/>
                </a:lnTo>
                <a:lnTo>
                  <a:pt x="2539" y="292"/>
                </a:lnTo>
                <a:lnTo>
                  <a:pt x="2539" y="292"/>
                </a:lnTo>
                <a:lnTo>
                  <a:pt x="2547" y="292"/>
                </a:lnTo>
                <a:lnTo>
                  <a:pt x="2547" y="292"/>
                </a:lnTo>
                <a:lnTo>
                  <a:pt x="2555" y="292"/>
                </a:lnTo>
                <a:lnTo>
                  <a:pt x="2555" y="284"/>
                </a:lnTo>
                <a:lnTo>
                  <a:pt x="2562" y="284"/>
                </a:lnTo>
                <a:lnTo>
                  <a:pt x="2562" y="284"/>
                </a:lnTo>
                <a:lnTo>
                  <a:pt x="2570" y="284"/>
                </a:lnTo>
                <a:lnTo>
                  <a:pt x="2570" y="284"/>
                </a:lnTo>
                <a:lnTo>
                  <a:pt x="2570" y="284"/>
                </a:lnTo>
                <a:lnTo>
                  <a:pt x="2570" y="284"/>
                </a:lnTo>
                <a:lnTo>
                  <a:pt x="2578" y="284"/>
                </a:lnTo>
                <a:lnTo>
                  <a:pt x="2578" y="284"/>
                </a:lnTo>
                <a:lnTo>
                  <a:pt x="2585" y="284"/>
                </a:lnTo>
                <a:lnTo>
                  <a:pt x="2585" y="284"/>
                </a:lnTo>
                <a:lnTo>
                  <a:pt x="2593" y="284"/>
                </a:lnTo>
                <a:lnTo>
                  <a:pt x="2593" y="284"/>
                </a:lnTo>
                <a:lnTo>
                  <a:pt x="2593" y="284"/>
                </a:lnTo>
                <a:lnTo>
                  <a:pt x="2593" y="276"/>
                </a:lnTo>
                <a:lnTo>
                  <a:pt x="2601" y="276"/>
                </a:lnTo>
                <a:lnTo>
                  <a:pt x="2601" y="276"/>
                </a:lnTo>
                <a:lnTo>
                  <a:pt x="2608" y="276"/>
                </a:lnTo>
                <a:lnTo>
                  <a:pt x="2608" y="276"/>
                </a:lnTo>
                <a:lnTo>
                  <a:pt x="2616" y="276"/>
                </a:lnTo>
                <a:lnTo>
                  <a:pt x="2616" y="276"/>
                </a:lnTo>
                <a:lnTo>
                  <a:pt x="2616" y="276"/>
                </a:lnTo>
                <a:lnTo>
                  <a:pt x="2616" y="276"/>
                </a:lnTo>
                <a:lnTo>
                  <a:pt x="2624" y="276"/>
                </a:lnTo>
                <a:lnTo>
                  <a:pt x="2624" y="276"/>
                </a:lnTo>
                <a:lnTo>
                  <a:pt x="2631" y="276"/>
                </a:lnTo>
                <a:lnTo>
                  <a:pt x="2631" y="276"/>
                </a:lnTo>
                <a:lnTo>
                  <a:pt x="2639" y="276"/>
                </a:lnTo>
                <a:lnTo>
                  <a:pt x="2639" y="276"/>
                </a:lnTo>
                <a:lnTo>
                  <a:pt x="2639" y="276"/>
                </a:lnTo>
                <a:lnTo>
                  <a:pt x="2639" y="276"/>
                </a:lnTo>
                <a:lnTo>
                  <a:pt x="2647" y="276"/>
                </a:lnTo>
                <a:lnTo>
                  <a:pt x="2647" y="276"/>
                </a:lnTo>
                <a:lnTo>
                  <a:pt x="2654" y="276"/>
                </a:lnTo>
                <a:lnTo>
                  <a:pt x="2654" y="276"/>
                </a:lnTo>
                <a:lnTo>
                  <a:pt x="2662" y="276"/>
                </a:lnTo>
                <a:lnTo>
                  <a:pt x="2662" y="276"/>
                </a:lnTo>
                <a:lnTo>
                  <a:pt x="2670" y="276"/>
                </a:lnTo>
                <a:lnTo>
                  <a:pt x="2670" y="276"/>
                </a:lnTo>
                <a:lnTo>
                  <a:pt x="2670" y="276"/>
                </a:lnTo>
                <a:lnTo>
                  <a:pt x="2670" y="276"/>
                </a:lnTo>
                <a:lnTo>
                  <a:pt x="2677" y="276"/>
                </a:lnTo>
                <a:lnTo>
                  <a:pt x="2677" y="276"/>
                </a:lnTo>
                <a:lnTo>
                  <a:pt x="2685" y="276"/>
                </a:lnTo>
                <a:lnTo>
                  <a:pt x="2685" y="276"/>
                </a:lnTo>
                <a:lnTo>
                  <a:pt x="2693" y="276"/>
                </a:lnTo>
                <a:lnTo>
                  <a:pt x="2693" y="276"/>
                </a:lnTo>
                <a:lnTo>
                  <a:pt x="2693" y="276"/>
                </a:lnTo>
                <a:lnTo>
                  <a:pt x="2693" y="276"/>
                </a:lnTo>
                <a:lnTo>
                  <a:pt x="2700" y="276"/>
                </a:lnTo>
                <a:lnTo>
                  <a:pt x="2700" y="269"/>
                </a:lnTo>
                <a:lnTo>
                  <a:pt x="2708" y="269"/>
                </a:lnTo>
                <a:lnTo>
                  <a:pt x="2708" y="269"/>
                </a:lnTo>
                <a:lnTo>
                  <a:pt x="2716" y="269"/>
                </a:lnTo>
                <a:lnTo>
                  <a:pt x="2716" y="269"/>
                </a:lnTo>
                <a:lnTo>
                  <a:pt x="2716" y="269"/>
                </a:lnTo>
                <a:lnTo>
                  <a:pt x="2716" y="269"/>
                </a:lnTo>
                <a:lnTo>
                  <a:pt x="2723" y="269"/>
                </a:lnTo>
                <a:lnTo>
                  <a:pt x="2723" y="269"/>
                </a:lnTo>
                <a:lnTo>
                  <a:pt x="2731" y="269"/>
                </a:lnTo>
                <a:lnTo>
                  <a:pt x="2731" y="269"/>
                </a:lnTo>
                <a:lnTo>
                  <a:pt x="2739" y="269"/>
                </a:lnTo>
                <a:lnTo>
                  <a:pt x="2739" y="269"/>
                </a:lnTo>
                <a:lnTo>
                  <a:pt x="2746" y="269"/>
                </a:lnTo>
                <a:lnTo>
                  <a:pt x="2746" y="269"/>
                </a:lnTo>
                <a:lnTo>
                  <a:pt x="2746" y="269"/>
                </a:lnTo>
                <a:lnTo>
                  <a:pt x="2746" y="269"/>
                </a:lnTo>
                <a:lnTo>
                  <a:pt x="2754" y="269"/>
                </a:lnTo>
                <a:lnTo>
                  <a:pt x="2754" y="269"/>
                </a:lnTo>
                <a:lnTo>
                  <a:pt x="2762" y="269"/>
                </a:lnTo>
                <a:lnTo>
                  <a:pt x="2762" y="269"/>
                </a:lnTo>
                <a:lnTo>
                  <a:pt x="2769" y="269"/>
                </a:lnTo>
                <a:lnTo>
                  <a:pt x="2769" y="269"/>
                </a:lnTo>
                <a:lnTo>
                  <a:pt x="2769" y="269"/>
                </a:lnTo>
                <a:lnTo>
                  <a:pt x="2769" y="261"/>
                </a:lnTo>
                <a:lnTo>
                  <a:pt x="2777" y="261"/>
                </a:lnTo>
                <a:lnTo>
                  <a:pt x="2777" y="261"/>
                </a:lnTo>
                <a:lnTo>
                  <a:pt x="2785" y="261"/>
                </a:lnTo>
                <a:lnTo>
                  <a:pt x="2785" y="261"/>
                </a:lnTo>
                <a:lnTo>
                  <a:pt x="2792" y="261"/>
                </a:lnTo>
                <a:lnTo>
                  <a:pt x="2792" y="261"/>
                </a:lnTo>
                <a:lnTo>
                  <a:pt x="2792" y="261"/>
                </a:lnTo>
                <a:lnTo>
                  <a:pt x="2792" y="261"/>
                </a:lnTo>
                <a:lnTo>
                  <a:pt x="2800" y="261"/>
                </a:lnTo>
                <a:lnTo>
                  <a:pt x="2800" y="261"/>
                </a:lnTo>
                <a:lnTo>
                  <a:pt x="2808" y="261"/>
                </a:lnTo>
                <a:lnTo>
                  <a:pt x="2808" y="261"/>
                </a:lnTo>
                <a:lnTo>
                  <a:pt x="2815" y="261"/>
                </a:lnTo>
                <a:lnTo>
                  <a:pt x="2815" y="253"/>
                </a:lnTo>
                <a:lnTo>
                  <a:pt x="2815" y="253"/>
                </a:lnTo>
                <a:lnTo>
                  <a:pt x="2815" y="253"/>
                </a:lnTo>
                <a:lnTo>
                  <a:pt x="2823" y="253"/>
                </a:lnTo>
                <a:lnTo>
                  <a:pt x="2823" y="253"/>
                </a:lnTo>
                <a:lnTo>
                  <a:pt x="2831" y="253"/>
                </a:lnTo>
                <a:lnTo>
                  <a:pt x="2831" y="253"/>
                </a:lnTo>
                <a:lnTo>
                  <a:pt x="2838" y="253"/>
                </a:lnTo>
                <a:lnTo>
                  <a:pt x="2838" y="253"/>
                </a:lnTo>
                <a:lnTo>
                  <a:pt x="2846" y="253"/>
                </a:lnTo>
                <a:lnTo>
                  <a:pt x="2846" y="253"/>
                </a:lnTo>
                <a:lnTo>
                  <a:pt x="2846" y="253"/>
                </a:lnTo>
                <a:lnTo>
                  <a:pt x="2846" y="253"/>
                </a:lnTo>
                <a:lnTo>
                  <a:pt x="2854" y="253"/>
                </a:lnTo>
                <a:lnTo>
                  <a:pt x="2854" y="253"/>
                </a:lnTo>
                <a:lnTo>
                  <a:pt x="2861" y="253"/>
                </a:lnTo>
                <a:lnTo>
                  <a:pt x="2861" y="253"/>
                </a:lnTo>
                <a:lnTo>
                  <a:pt x="2869" y="253"/>
                </a:lnTo>
                <a:lnTo>
                  <a:pt x="2869" y="253"/>
                </a:lnTo>
                <a:lnTo>
                  <a:pt x="2869" y="253"/>
                </a:lnTo>
                <a:lnTo>
                  <a:pt x="2869" y="253"/>
                </a:lnTo>
                <a:lnTo>
                  <a:pt x="2877" y="253"/>
                </a:lnTo>
                <a:lnTo>
                  <a:pt x="2877" y="253"/>
                </a:lnTo>
                <a:lnTo>
                  <a:pt x="2884" y="253"/>
                </a:lnTo>
                <a:lnTo>
                  <a:pt x="2884" y="253"/>
                </a:lnTo>
                <a:lnTo>
                  <a:pt x="2892" y="253"/>
                </a:lnTo>
                <a:lnTo>
                  <a:pt x="2892" y="253"/>
                </a:lnTo>
                <a:lnTo>
                  <a:pt x="2892" y="253"/>
                </a:lnTo>
                <a:lnTo>
                  <a:pt x="2892" y="253"/>
                </a:lnTo>
                <a:lnTo>
                  <a:pt x="2900" y="253"/>
                </a:lnTo>
                <a:lnTo>
                  <a:pt x="2900" y="253"/>
                </a:lnTo>
                <a:lnTo>
                  <a:pt x="2907" y="253"/>
                </a:lnTo>
                <a:lnTo>
                  <a:pt x="2907" y="253"/>
                </a:lnTo>
                <a:lnTo>
                  <a:pt x="2915" y="253"/>
                </a:lnTo>
                <a:lnTo>
                  <a:pt x="2915" y="253"/>
                </a:lnTo>
                <a:lnTo>
                  <a:pt x="2923" y="253"/>
                </a:lnTo>
                <a:lnTo>
                  <a:pt x="2923" y="246"/>
                </a:lnTo>
                <a:lnTo>
                  <a:pt x="2923" y="246"/>
                </a:lnTo>
                <a:lnTo>
                  <a:pt x="2923" y="246"/>
                </a:lnTo>
                <a:lnTo>
                  <a:pt x="2930" y="246"/>
                </a:lnTo>
                <a:lnTo>
                  <a:pt x="2930" y="246"/>
                </a:lnTo>
                <a:lnTo>
                  <a:pt x="2938" y="246"/>
                </a:lnTo>
                <a:lnTo>
                  <a:pt x="2938" y="246"/>
                </a:lnTo>
                <a:lnTo>
                  <a:pt x="2946" y="246"/>
                </a:lnTo>
                <a:lnTo>
                  <a:pt x="2946" y="238"/>
                </a:lnTo>
                <a:lnTo>
                  <a:pt x="2946" y="238"/>
                </a:lnTo>
                <a:lnTo>
                  <a:pt x="2946" y="238"/>
                </a:lnTo>
                <a:lnTo>
                  <a:pt x="2953" y="238"/>
                </a:lnTo>
                <a:lnTo>
                  <a:pt x="2953" y="238"/>
                </a:lnTo>
                <a:lnTo>
                  <a:pt x="2961" y="238"/>
                </a:lnTo>
                <a:lnTo>
                  <a:pt x="2961" y="238"/>
                </a:lnTo>
                <a:lnTo>
                  <a:pt x="2969" y="238"/>
                </a:lnTo>
                <a:lnTo>
                  <a:pt x="2969" y="238"/>
                </a:lnTo>
                <a:lnTo>
                  <a:pt x="2969" y="238"/>
                </a:lnTo>
                <a:lnTo>
                  <a:pt x="2969" y="238"/>
                </a:lnTo>
                <a:lnTo>
                  <a:pt x="2976" y="238"/>
                </a:lnTo>
                <a:lnTo>
                  <a:pt x="2976" y="238"/>
                </a:lnTo>
                <a:lnTo>
                  <a:pt x="2984" y="238"/>
                </a:lnTo>
                <a:lnTo>
                  <a:pt x="2984" y="238"/>
                </a:lnTo>
                <a:lnTo>
                  <a:pt x="2992" y="238"/>
                </a:lnTo>
                <a:lnTo>
                  <a:pt x="2992" y="238"/>
                </a:lnTo>
                <a:lnTo>
                  <a:pt x="2992" y="238"/>
                </a:lnTo>
                <a:lnTo>
                  <a:pt x="2992" y="230"/>
                </a:lnTo>
                <a:lnTo>
                  <a:pt x="3000" y="230"/>
                </a:lnTo>
                <a:lnTo>
                  <a:pt x="3000" y="230"/>
                </a:lnTo>
                <a:lnTo>
                  <a:pt x="3007" y="230"/>
                </a:lnTo>
                <a:lnTo>
                  <a:pt x="3007" y="230"/>
                </a:lnTo>
                <a:lnTo>
                  <a:pt x="3015" y="230"/>
                </a:lnTo>
                <a:lnTo>
                  <a:pt x="3015" y="230"/>
                </a:lnTo>
                <a:lnTo>
                  <a:pt x="3023" y="230"/>
                </a:lnTo>
                <a:lnTo>
                  <a:pt x="3023" y="230"/>
                </a:lnTo>
                <a:lnTo>
                  <a:pt x="3023" y="230"/>
                </a:lnTo>
                <a:lnTo>
                  <a:pt x="3023" y="230"/>
                </a:lnTo>
                <a:lnTo>
                  <a:pt x="3030" y="230"/>
                </a:lnTo>
                <a:lnTo>
                  <a:pt x="3030" y="223"/>
                </a:lnTo>
                <a:lnTo>
                  <a:pt x="3038" y="223"/>
                </a:lnTo>
                <a:lnTo>
                  <a:pt x="3038" y="223"/>
                </a:lnTo>
                <a:lnTo>
                  <a:pt x="3046" y="223"/>
                </a:lnTo>
                <a:lnTo>
                  <a:pt x="3046" y="223"/>
                </a:lnTo>
                <a:lnTo>
                  <a:pt x="3046" y="223"/>
                </a:lnTo>
                <a:lnTo>
                  <a:pt x="3046" y="215"/>
                </a:lnTo>
                <a:lnTo>
                  <a:pt x="3053" y="215"/>
                </a:lnTo>
                <a:lnTo>
                  <a:pt x="3053" y="215"/>
                </a:lnTo>
                <a:lnTo>
                  <a:pt x="3061" y="215"/>
                </a:lnTo>
                <a:lnTo>
                  <a:pt x="3061" y="215"/>
                </a:lnTo>
                <a:lnTo>
                  <a:pt x="3069" y="215"/>
                </a:lnTo>
                <a:lnTo>
                  <a:pt x="3069" y="215"/>
                </a:lnTo>
                <a:lnTo>
                  <a:pt x="3069" y="215"/>
                </a:lnTo>
                <a:lnTo>
                  <a:pt x="3069" y="215"/>
                </a:lnTo>
                <a:lnTo>
                  <a:pt x="3076" y="215"/>
                </a:lnTo>
                <a:lnTo>
                  <a:pt x="3076" y="207"/>
                </a:lnTo>
                <a:lnTo>
                  <a:pt x="3084" y="207"/>
                </a:lnTo>
                <a:lnTo>
                  <a:pt x="3084" y="207"/>
                </a:lnTo>
                <a:lnTo>
                  <a:pt x="3092" y="207"/>
                </a:lnTo>
                <a:lnTo>
                  <a:pt x="3092" y="207"/>
                </a:lnTo>
                <a:lnTo>
                  <a:pt x="3099" y="207"/>
                </a:lnTo>
                <a:lnTo>
                  <a:pt x="3099" y="207"/>
                </a:lnTo>
                <a:lnTo>
                  <a:pt x="3099" y="207"/>
                </a:lnTo>
                <a:lnTo>
                  <a:pt x="3099" y="207"/>
                </a:lnTo>
                <a:lnTo>
                  <a:pt x="3107" y="207"/>
                </a:lnTo>
                <a:lnTo>
                  <a:pt x="3107" y="207"/>
                </a:lnTo>
                <a:lnTo>
                  <a:pt x="3115" y="207"/>
                </a:lnTo>
                <a:lnTo>
                  <a:pt x="3115" y="207"/>
                </a:lnTo>
                <a:lnTo>
                  <a:pt x="3122" y="207"/>
                </a:lnTo>
                <a:lnTo>
                  <a:pt x="3122" y="207"/>
                </a:lnTo>
                <a:lnTo>
                  <a:pt x="3122" y="207"/>
                </a:lnTo>
                <a:lnTo>
                  <a:pt x="3122" y="207"/>
                </a:lnTo>
                <a:lnTo>
                  <a:pt x="3130" y="207"/>
                </a:lnTo>
                <a:lnTo>
                  <a:pt x="3130" y="200"/>
                </a:lnTo>
                <a:lnTo>
                  <a:pt x="3138" y="200"/>
                </a:lnTo>
                <a:lnTo>
                  <a:pt x="3138" y="200"/>
                </a:lnTo>
                <a:lnTo>
                  <a:pt x="3145" y="200"/>
                </a:lnTo>
                <a:lnTo>
                  <a:pt x="3145" y="200"/>
                </a:lnTo>
                <a:lnTo>
                  <a:pt x="3145" y="200"/>
                </a:lnTo>
                <a:lnTo>
                  <a:pt x="3145" y="200"/>
                </a:lnTo>
                <a:lnTo>
                  <a:pt x="3153" y="200"/>
                </a:lnTo>
                <a:lnTo>
                  <a:pt x="3153" y="192"/>
                </a:lnTo>
                <a:lnTo>
                  <a:pt x="3161" y="192"/>
                </a:lnTo>
                <a:lnTo>
                  <a:pt x="3161" y="192"/>
                </a:lnTo>
                <a:lnTo>
                  <a:pt x="3168" y="192"/>
                </a:lnTo>
                <a:lnTo>
                  <a:pt x="3168" y="184"/>
                </a:lnTo>
                <a:lnTo>
                  <a:pt x="3168" y="184"/>
                </a:lnTo>
                <a:lnTo>
                  <a:pt x="3168" y="177"/>
                </a:lnTo>
                <a:lnTo>
                  <a:pt x="3176" y="177"/>
                </a:lnTo>
                <a:lnTo>
                  <a:pt x="3176" y="177"/>
                </a:lnTo>
                <a:lnTo>
                  <a:pt x="3184" y="177"/>
                </a:lnTo>
                <a:lnTo>
                  <a:pt x="3184" y="169"/>
                </a:lnTo>
                <a:lnTo>
                  <a:pt x="3191" y="169"/>
                </a:lnTo>
                <a:lnTo>
                  <a:pt x="3191" y="169"/>
                </a:lnTo>
                <a:lnTo>
                  <a:pt x="3199" y="169"/>
                </a:lnTo>
                <a:lnTo>
                  <a:pt x="3199" y="169"/>
                </a:lnTo>
                <a:lnTo>
                  <a:pt x="3199" y="169"/>
                </a:lnTo>
                <a:lnTo>
                  <a:pt x="3199" y="169"/>
                </a:lnTo>
                <a:lnTo>
                  <a:pt x="3207" y="169"/>
                </a:lnTo>
                <a:lnTo>
                  <a:pt x="3207" y="161"/>
                </a:lnTo>
                <a:lnTo>
                  <a:pt x="3214" y="161"/>
                </a:lnTo>
                <a:lnTo>
                  <a:pt x="3214" y="154"/>
                </a:lnTo>
                <a:lnTo>
                  <a:pt x="3222" y="154"/>
                </a:lnTo>
                <a:lnTo>
                  <a:pt x="3222" y="154"/>
                </a:lnTo>
                <a:lnTo>
                  <a:pt x="3222" y="154"/>
                </a:lnTo>
                <a:lnTo>
                  <a:pt x="3222" y="146"/>
                </a:lnTo>
                <a:lnTo>
                  <a:pt x="3230" y="146"/>
                </a:lnTo>
                <a:lnTo>
                  <a:pt x="3230" y="146"/>
                </a:lnTo>
                <a:lnTo>
                  <a:pt x="3237" y="146"/>
                </a:lnTo>
                <a:lnTo>
                  <a:pt x="3237" y="146"/>
                </a:lnTo>
                <a:lnTo>
                  <a:pt x="3245" y="146"/>
                </a:lnTo>
                <a:lnTo>
                  <a:pt x="3245" y="138"/>
                </a:lnTo>
                <a:lnTo>
                  <a:pt x="3245" y="138"/>
                </a:lnTo>
                <a:lnTo>
                  <a:pt x="3245" y="138"/>
                </a:lnTo>
                <a:lnTo>
                  <a:pt x="3253" y="138"/>
                </a:lnTo>
                <a:lnTo>
                  <a:pt x="3253" y="131"/>
                </a:lnTo>
                <a:lnTo>
                  <a:pt x="3260" y="131"/>
                </a:lnTo>
                <a:lnTo>
                  <a:pt x="3260" y="131"/>
                </a:lnTo>
                <a:lnTo>
                  <a:pt x="3268" y="131"/>
                </a:lnTo>
                <a:lnTo>
                  <a:pt x="3268" y="131"/>
                </a:lnTo>
                <a:lnTo>
                  <a:pt x="3276" y="131"/>
                </a:lnTo>
                <a:lnTo>
                  <a:pt x="3276" y="131"/>
                </a:lnTo>
                <a:lnTo>
                  <a:pt x="3276" y="131"/>
                </a:lnTo>
                <a:lnTo>
                  <a:pt x="3276" y="131"/>
                </a:lnTo>
                <a:lnTo>
                  <a:pt x="3283" y="131"/>
                </a:lnTo>
                <a:lnTo>
                  <a:pt x="3283" y="123"/>
                </a:lnTo>
                <a:lnTo>
                  <a:pt x="3291" y="123"/>
                </a:lnTo>
                <a:lnTo>
                  <a:pt x="3291" y="123"/>
                </a:lnTo>
                <a:lnTo>
                  <a:pt x="3299" y="123"/>
                </a:lnTo>
                <a:lnTo>
                  <a:pt x="3299" y="115"/>
                </a:lnTo>
                <a:lnTo>
                  <a:pt x="3299" y="115"/>
                </a:lnTo>
                <a:lnTo>
                  <a:pt x="3299" y="115"/>
                </a:lnTo>
                <a:lnTo>
                  <a:pt x="3306" y="115"/>
                </a:lnTo>
                <a:lnTo>
                  <a:pt x="3306" y="115"/>
                </a:lnTo>
                <a:lnTo>
                  <a:pt x="3314" y="115"/>
                </a:lnTo>
                <a:lnTo>
                  <a:pt x="3314" y="115"/>
                </a:lnTo>
                <a:lnTo>
                  <a:pt x="3322" y="115"/>
                </a:lnTo>
                <a:lnTo>
                  <a:pt x="3322" y="115"/>
                </a:lnTo>
                <a:lnTo>
                  <a:pt x="3322" y="115"/>
                </a:lnTo>
                <a:lnTo>
                  <a:pt x="3322" y="115"/>
                </a:lnTo>
                <a:lnTo>
                  <a:pt x="3329" y="115"/>
                </a:lnTo>
                <a:lnTo>
                  <a:pt x="3329" y="108"/>
                </a:lnTo>
                <a:lnTo>
                  <a:pt x="3337" y="108"/>
                </a:lnTo>
                <a:lnTo>
                  <a:pt x="3337" y="108"/>
                </a:lnTo>
                <a:lnTo>
                  <a:pt x="3345" y="108"/>
                </a:lnTo>
                <a:lnTo>
                  <a:pt x="3345" y="108"/>
                </a:lnTo>
                <a:lnTo>
                  <a:pt x="3345" y="108"/>
                </a:lnTo>
                <a:lnTo>
                  <a:pt x="3345" y="100"/>
                </a:lnTo>
                <a:lnTo>
                  <a:pt x="3352" y="100"/>
                </a:lnTo>
                <a:lnTo>
                  <a:pt x="3352" y="100"/>
                </a:lnTo>
                <a:lnTo>
                  <a:pt x="3360" y="100"/>
                </a:lnTo>
                <a:lnTo>
                  <a:pt x="3360" y="100"/>
                </a:lnTo>
                <a:lnTo>
                  <a:pt x="3368" y="100"/>
                </a:lnTo>
                <a:lnTo>
                  <a:pt x="3368" y="92"/>
                </a:lnTo>
                <a:lnTo>
                  <a:pt x="3375" y="92"/>
                </a:lnTo>
                <a:lnTo>
                  <a:pt x="3375" y="92"/>
                </a:lnTo>
                <a:lnTo>
                  <a:pt x="3375" y="92"/>
                </a:lnTo>
                <a:lnTo>
                  <a:pt x="3375" y="92"/>
                </a:lnTo>
                <a:lnTo>
                  <a:pt x="3383" y="92"/>
                </a:lnTo>
                <a:lnTo>
                  <a:pt x="3383" y="92"/>
                </a:lnTo>
                <a:lnTo>
                  <a:pt x="3391" y="92"/>
                </a:lnTo>
                <a:lnTo>
                  <a:pt x="3391" y="85"/>
                </a:lnTo>
                <a:lnTo>
                  <a:pt x="3398" y="85"/>
                </a:lnTo>
                <a:lnTo>
                  <a:pt x="3398" y="85"/>
                </a:lnTo>
                <a:lnTo>
                  <a:pt x="3398" y="85"/>
                </a:lnTo>
                <a:lnTo>
                  <a:pt x="3398" y="77"/>
                </a:lnTo>
                <a:lnTo>
                  <a:pt x="3406" y="77"/>
                </a:lnTo>
                <a:lnTo>
                  <a:pt x="3406" y="77"/>
                </a:lnTo>
                <a:lnTo>
                  <a:pt x="3414" y="77"/>
                </a:lnTo>
                <a:lnTo>
                  <a:pt x="3414" y="77"/>
                </a:lnTo>
                <a:lnTo>
                  <a:pt x="3421" y="77"/>
                </a:lnTo>
                <a:lnTo>
                  <a:pt x="3421" y="77"/>
                </a:lnTo>
                <a:lnTo>
                  <a:pt x="3421" y="77"/>
                </a:lnTo>
                <a:lnTo>
                  <a:pt x="3421" y="77"/>
                </a:lnTo>
                <a:lnTo>
                  <a:pt x="3429" y="77"/>
                </a:lnTo>
                <a:lnTo>
                  <a:pt x="3429" y="77"/>
                </a:lnTo>
                <a:lnTo>
                  <a:pt x="3437" y="77"/>
                </a:lnTo>
                <a:lnTo>
                  <a:pt x="3437" y="77"/>
                </a:lnTo>
                <a:lnTo>
                  <a:pt x="3444" y="77"/>
                </a:lnTo>
                <a:lnTo>
                  <a:pt x="3444" y="69"/>
                </a:lnTo>
                <a:lnTo>
                  <a:pt x="3444" y="69"/>
                </a:lnTo>
                <a:lnTo>
                  <a:pt x="3444" y="69"/>
                </a:lnTo>
                <a:lnTo>
                  <a:pt x="3452" y="69"/>
                </a:lnTo>
                <a:lnTo>
                  <a:pt x="3452" y="69"/>
                </a:lnTo>
                <a:lnTo>
                  <a:pt x="3460" y="69"/>
                </a:lnTo>
                <a:lnTo>
                  <a:pt x="3460" y="69"/>
                </a:lnTo>
                <a:lnTo>
                  <a:pt x="3467" y="69"/>
                </a:lnTo>
                <a:lnTo>
                  <a:pt x="3467" y="69"/>
                </a:lnTo>
                <a:lnTo>
                  <a:pt x="3475" y="69"/>
                </a:lnTo>
                <a:lnTo>
                  <a:pt x="3475" y="69"/>
                </a:lnTo>
                <a:lnTo>
                  <a:pt x="3475" y="69"/>
                </a:lnTo>
                <a:lnTo>
                  <a:pt x="3475" y="69"/>
                </a:lnTo>
                <a:lnTo>
                  <a:pt x="3483" y="69"/>
                </a:lnTo>
                <a:lnTo>
                  <a:pt x="3483" y="69"/>
                </a:lnTo>
                <a:lnTo>
                  <a:pt x="3490" y="69"/>
                </a:lnTo>
                <a:lnTo>
                  <a:pt x="3490" y="69"/>
                </a:lnTo>
                <a:lnTo>
                  <a:pt x="3498" y="69"/>
                </a:lnTo>
                <a:lnTo>
                  <a:pt x="3498" y="69"/>
                </a:lnTo>
                <a:lnTo>
                  <a:pt x="3498" y="69"/>
                </a:lnTo>
                <a:lnTo>
                  <a:pt x="3498" y="62"/>
                </a:lnTo>
                <a:lnTo>
                  <a:pt x="3506" y="62"/>
                </a:lnTo>
                <a:lnTo>
                  <a:pt x="3506" y="62"/>
                </a:lnTo>
                <a:lnTo>
                  <a:pt x="3513" y="62"/>
                </a:lnTo>
                <a:lnTo>
                  <a:pt x="3513" y="62"/>
                </a:lnTo>
                <a:lnTo>
                  <a:pt x="3521" y="62"/>
                </a:lnTo>
                <a:lnTo>
                  <a:pt x="3521" y="62"/>
                </a:lnTo>
                <a:lnTo>
                  <a:pt x="3521" y="62"/>
                </a:lnTo>
                <a:lnTo>
                  <a:pt x="3521" y="62"/>
                </a:lnTo>
                <a:lnTo>
                  <a:pt x="3529" y="62"/>
                </a:lnTo>
                <a:lnTo>
                  <a:pt x="3529" y="54"/>
                </a:lnTo>
                <a:lnTo>
                  <a:pt x="3536" y="54"/>
                </a:lnTo>
                <a:lnTo>
                  <a:pt x="3536" y="54"/>
                </a:lnTo>
                <a:lnTo>
                  <a:pt x="3544" y="54"/>
                </a:lnTo>
                <a:lnTo>
                  <a:pt x="3544" y="54"/>
                </a:lnTo>
                <a:lnTo>
                  <a:pt x="3552" y="54"/>
                </a:lnTo>
                <a:lnTo>
                  <a:pt x="3552" y="54"/>
                </a:lnTo>
                <a:lnTo>
                  <a:pt x="3552" y="54"/>
                </a:lnTo>
                <a:lnTo>
                  <a:pt x="3552" y="54"/>
                </a:lnTo>
                <a:lnTo>
                  <a:pt x="3559" y="54"/>
                </a:lnTo>
                <a:lnTo>
                  <a:pt x="3559" y="54"/>
                </a:lnTo>
                <a:lnTo>
                  <a:pt x="3567" y="54"/>
                </a:lnTo>
                <a:lnTo>
                  <a:pt x="3567" y="54"/>
                </a:lnTo>
                <a:lnTo>
                  <a:pt x="3575" y="54"/>
                </a:lnTo>
                <a:lnTo>
                  <a:pt x="3575" y="54"/>
                </a:lnTo>
                <a:lnTo>
                  <a:pt x="3575" y="54"/>
                </a:lnTo>
                <a:lnTo>
                  <a:pt x="3575" y="54"/>
                </a:lnTo>
                <a:lnTo>
                  <a:pt x="3582" y="54"/>
                </a:lnTo>
                <a:lnTo>
                  <a:pt x="3582" y="54"/>
                </a:lnTo>
                <a:lnTo>
                  <a:pt x="3590" y="54"/>
                </a:lnTo>
                <a:lnTo>
                  <a:pt x="3590" y="54"/>
                </a:lnTo>
                <a:lnTo>
                  <a:pt x="3598" y="54"/>
                </a:lnTo>
                <a:lnTo>
                  <a:pt x="3598" y="54"/>
                </a:lnTo>
                <a:lnTo>
                  <a:pt x="3598" y="54"/>
                </a:lnTo>
                <a:lnTo>
                  <a:pt x="3598" y="54"/>
                </a:lnTo>
                <a:lnTo>
                  <a:pt x="3606" y="54"/>
                </a:lnTo>
                <a:lnTo>
                  <a:pt x="3606" y="54"/>
                </a:lnTo>
                <a:lnTo>
                  <a:pt x="3613" y="54"/>
                </a:lnTo>
                <a:lnTo>
                  <a:pt x="3613" y="54"/>
                </a:lnTo>
                <a:lnTo>
                  <a:pt x="3621" y="54"/>
                </a:lnTo>
                <a:lnTo>
                  <a:pt x="3621" y="46"/>
                </a:lnTo>
                <a:lnTo>
                  <a:pt x="3621" y="46"/>
                </a:lnTo>
                <a:lnTo>
                  <a:pt x="3621" y="46"/>
                </a:lnTo>
                <a:lnTo>
                  <a:pt x="3629" y="46"/>
                </a:lnTo>
                <a:lnTo>
                  <a:pt x="3629" y="46"/>
                </a:lnTo>
                <a:lnTo>
                  <a:pt x="3636" y="46"/>
                </a:lnTo>
                <a:lnTo>
                  <a:pt x="3636" y="46"/>
                </a:lnTo>
                <a:lnTo>
                  <a:pt x="3644" y="46"/>
                </a:lnTo>
                <a:lnTo>
                  <a:pt x="3644" y="46"/>
                </a:lnTo>
                <a:lnTo>
                  <a:pt x="3652" y="46"/>
                </a:lnTo>
                <a:lnTo>
                  <a:pt x="3652" y="46"/>
                </a:lnTo>
                <a:lnTo>
                  <a:pt x="3652" y="46"/>
                </a:lnTo>
                <a:lnTo>
                  <a:pt x="3652" y="46"/>
                </a:lnTo>
                <a:lnTo>
                  <a:pt x="3659" y="46"/>
                </a:lnTo>
                <a:lnTo>
                  <a:pt x="3659" y="46"/>
                </a:lnTo>
                <a:lnTo>
                  <a:pt x="3667" y="46"/>
                </a:lnTo>
                <a:lnTo>
                  <a:pt x="3667" y="46"/>
                </a:lnTo>
                <a:lnTo>
                  <a:pt x="3675" y="46"/>
                </a:lnTo>
                <a:lnTo>
                  <a:pt x="3675" y="46"/>
                </a:lnTo>
                <a:lnTo>
                  <a:pt x="3675" y="46"/>
                </a:lnTo>
                <a:lnTo>
                  <a:pt x="3675" y="46"/>
                </a:lnTo>
                <a:lnTo>
                  <a:pt x="3682" y="46"/>
                </a:lnTo>
                <a:lnTo>
                  <a:pt x="3682" y="46"/>
                </a:lnTo>
                <a:lnTo>
                  <a:pt x="3690" y="46"/>
                </a:lnTo>
                <a:lnTo>
                  <a:pt x="3690" y="46"/>
                </a:lnTo>
                <a:lnTo>
                  <a:pt x="3698" y="46"/>
                </a:lnTo>
                <a:lnTo>
                  <a:pt x="3698" y="46"/>
                </a:lnTo>
                <a:lnTo>
                  <a:pt x="3698" y="46"/>
                </a:lnTo>
                <a:lnTo>
                  <a:pt x="3698" y="46"/>
                </a:lnTo>
                <a:lnTo>
                  <a:pt x="3705" y="46"/>
                </a:lnTo>
                <a:lnTo>
                  <a:pt x="3705" y="46"/>
                </a:lnTo>
                <a:lnTo>
                  <a:pt x="3713" y="46"/>
                </a:lnTo>
                <a:lnTo>
                  <a:pt x="3713" y="39"/>
                </a:lnTo>
                <a:lnTo>
                  <a:pt x="3721" y="39"/>
                </a:lnTo>
                <a:lnTo>
                  <a:pt x="3721" y="39"/>
                </a:lnTo>
                <a:lnTo>
                  <a:pt x="3728" y="39"/>
                </a:lnTo>
                <a:lnTo>
                  <a:pt x="3728" y="39"/>
                </a:lnTo>
                <a:lnTo>
                  <a:pt x="3728" y="39"/>
                </a:lnTo>
                <a:lnTo>
                  <a:pt x="3728" y="39"/>
                </a:lnTo>
                <a:lnTo>
                  <a:pt x="3736" y="39"/>
                </a:lnTo>
                <a:lnTo>
                  <a:pt x="3736" y="39"/>
                </a:lnTo>
                <a:lnTo>
                  <a:pt x="3744" y="39"/>
                </a:lnTo>
                <a:lnTo>
                  <a:pt x="3744" y="39"/>
                </a:lnTo>
                <a:lnTo>
                  <a:pt x="3751" y="39"/>
                </a:lnTo>
                <a:lnTo>
                  <a:pt x="3751" y="39"/>
                </a:lnTo>
                <a:lnTo>
                  <a:pt x="3751" y="39"/>
                </a:lnTo>
                <a:lnTo>
                  <a:pt x="3751" y="39"/>
                </a:lnTo>
                <a:lnTo>
                  <a:pt x="3759" y="39"/>
                </a:lnTo>
                <a:lnTo>
                  <a:pt x="3759" y="39"/>
                </a:lnTo>
                <a:lnTo>
                  <a:pt x="3767" y="39"/>
                </a:lnTo>
                <a:lnTo>
                  <a:pt x="3767" y="39"/>
                </a:lnTo>
                <a:lnTo>
                  <a:pt x="3774" y="39"/>
                </a:lnTo>
                <a:lnTo>
                  <a:pt x="3774" y="39"/>
                </a:lnTo>
                <a:lnTo>
                  <a:pt x="3774" y="39"/>
                </a:lnTo>
                <a:lnTo>
                  <a:pt x="3774" y="39"/>
                </a:lnTo>
                <a:lnTo>
                  <a:pt x="3782" y="39"/>
                </a:lnTo>
                <a:lnTo>
                  <a:pt x="3782" y="39"/>
                </a:lnTo>
                <a:lnTo>
                  <a:pt x="3790" y="39"/>
                </a:lnTo>
                <a:lnTo>
                  <a:pt x="3790" y="31"/>
                </a:lnTo>
                <a:lnTo>
                  <a:pt x="3797" y="31"/>
                </a:lnTo>
                <a:lnTo>
                  <a:pt x="3797" y="31"/>
                </a:lnTo>
                <a:lnTo>
                  <a:pt x="3797" y="31"/>
                </a:lnTo>
                <a:lnTo>
                  <a:pt x="3797" y="31"/>
                </a:lnTo>
                <a:lnTo>
                  <a:pt x="3805" y="31"/>
                </a:lnTo>
                <a:lnTo>
                  <a:pt x="3805" y="31"/>
                </a:lnTo>
                <a:lnTo>
                  <a:pt x="3813" y="31"/>
                </a:lnTo>
                <a:lnTo>
                  <a:pt x="3813" y="31"/>
                </a:lnTo>
                <a:lnTo>
                  <a:pt x="3820" y="31"/>
                </a:lnTo>
                <a:lnTo>
                  <a:pt x="3820" y="31"/>
                </a:lnTo>
                <a:lnTo>
                  <a:pt x="3828" y="31"/>
                </a:lnTo>
                <a:lnTo>
                  <a:pt x="3828" y="31"/>
                </a:lnTo>
                <a:lnTo>
                  <a:pt x="3828" y="31"/>
                </a:lnTo>
                <a:lnTo>
                  <a:pt x="3828" y="31"/>
                </a:lnTo>
                <a:lnTo>
                  <a:pt x="3836" y="31"/>
                </a:lnTo>
                <a:lnTo>
                  <a:pt x="3836" y="31"/>
                </a:lnTo>
                <a:lnTo>
                  <a:pt x="3843" y="31"/>
                </a:lnTo>
                <a:lnTo>
                  <a:pt x="3843" y="31"/>
                </a:lnTo>
                <a:lnTo>
                  <a:pt x="3851" y="31"/>
                </a:lnTo>
                <a:lnTo>
                  <a:pt x="3851" y="31"/>
                </a:lnTo>
                <a:lnTo>
                  <a:pt x="3851" y="31"/>
                </a:lnTo>
                <a:lnTo>
                  <a:pt x="3851" y="31"/>
                </a:lnTo>
                <a:lnTo>
                  <a:pt x="3859" y="31"/>
                </a:lnTo>
                <a:lnTo>
                  <a:pt x="3859" y="31"/>
                </a:lnTo>
                <a:lnTo>
                  <a:pt x="3866" y="31"/>
                </a:lnTo>
                <a:lnTo>
                  <a:pt x="3866" y="23"/>
                </a:lnTo>
                <a:lnTo>
                  <a:pt x="3874" y="23"/>
                </a:lnTo>
                <a:lnTo>
                  <a:pt x="3874" y="23"/>
                </a:lnTo>
                <a:lnTo>
                  <a:pt x="3874" y="23"/>
                </a:lnTo>
                <a:lnTo>
                  <a:pt x="3874" y="23"/>
                </a:lnTo>
                <a:lnTo>
                  <a:pt x="3882" y="23"/>
                </a:lnTo>
                <a:lnTo>
                  <a:pt x="3882" y="23"/>
                </a:lnTo>
                <a:lnTo>
                  <a:pt x="3889" y="23"/>
                </a:lnTo>
                <a:lnTo>
                  <a:pt x="3889" y="23"/>
                </a:lnTo>
                <a:lnTo>
                  <a:pt x="3897" y="23"/>
                </a:lnTo>
                <a:lnTo>
                  <a:pt x="3897" y="23"/>
                </a:lnTo>
                <a:lnTo>
                  <a:pt x="3905" y="23"/>
                </a:lnTo>
                <a:lnTo>
                  <a:pt x="3905" y="23"/>
                </a:lnTo>
                <a:lnTo>
                  <a:pt x="3905" y="23"/>
                </a:lnTo>
                <a:lnTo>
                  <a:pt x="3905" y="23"/>
                </a:lnTo>
                <a:lnTo>
                  <a:pt x="3912" y="23"/>
                </a:lnTo>
                <a:lnTo>
                  <a:pt x="3912" y="16"/>
                </a:lnTo>
                <a:lnTo>
                  <a:pt x="3920" y="16"/>
                </a:lnTo>
                <a:lnTo>
                  <a:pt x="3920" y="16"/>
                </a:lnTo>
                <a:lnTo>
                  <a:pt x="3928" y="16"/>
                </a:lnTo>
                <a:lnTo>
                  <a:pt x="3928" y="16"/>
                </a:lnTo>
                <a:lnTo>
                  <a:pt x="3928" y="16"/>
                </a:lnTo>
                <a:lnTo>
                  <a:pt x="3928" y="16"/>
                </a:lnTo>
                <a:lnTo>
                  <a:pt x="3935" y="16"/>
                </a:lnTo>
                <a:lnTo>
                  <a:pt x="3935" y="16"/>
                </a:lnTo>
                <a:lnTo>
                  <a:pt x="3943" y="16"/>
                </a:lnTo>
                <a:lnTo>
                  <a:pt x="3943" y="16"/>
                </a:lnTo>
                <a:lnTo>
                  <a:pt x="3951" y="16"/>
                </a:lnTo>
                <a:lnTo>
                  <a:pt x="3951" y="16"/>
                </a:lnTo>
                <a:lnTo>
                  <a:pt x="3951" y="16"/>
                </a:lnTo>
                <a:lnTo>
                  <a:pt x="3951" y="16"/>
                </a:lnTo>
                <a:lnTo>
                  <a:pt x="3958" y="16"/>
                </a:lnTo>
                <a:lnTo>
                  <a:pt x="3958" y="16"/>
                </a:lnTo>
                <a:lnTo>
                  <a:pt x="3966" y="16"/>
                </a:lnTo>
                <a:lnTo>
                  <a:pt x="3966" y="16"/>
                </a:lnTo>
                <a:lnTo>
                  <a:pt x="3974" y="16"/>
                </a:lnTo>
                <a:lnTo>
                  <a:pt x="3974" y="16"/>
                </a:lnTo>
                <a:lnTo>
                  <a:pt x="3974" y="16"/>
                </a:lnTo>
                <a:lnTo>
                  <a:pt x="3974" y="16"/>
                </a:lnTo>
                <a:lnTo>
                  <a:pt x="3981" y="16"/>
                </a:lnTo>
                <a:lnTo>
                  <a:pt x="3981" y="16"/>
                </a:lnTo>
                <a:lnTo>
                  <a:pt x="3989" y="16"/>
                </a:lnTo>
                <a:lnTo>
                  <a:pt x="3989" y="16"/>
                </a:lnTo>
                <a:lnTo>
                  <a:pt x="3997" y="16"/>
                </a:lnTo>
                <a:lnTo>
                  <a:pt x="3997" y="16"/>
                </a:lnTo>
                <a:lnTo>
                  <a:pt x="4004" y="16"/>
                </a:lnTo>
                <a:lnTo>
                  <a:pt x="4004" y="16"/>
                </a:lnTo>
                <a:lnTo>
                  <a:pt x="4004" y="16"/>
                </a:lnTo>
                <a:lnTo>
                  <a:pt x="4004" y="16"/>
                </a:lnTo>
                <a:lnTo>
                  <a:pt x="4012" y="16"/>
                </a:lnTo>
                <a:lnTo>
                  <a:pt x="4012" y="16"/>
                </a:lnTo>
                <a:lnTo>
                  <a:pt x="4020" y="16"/>
                </a:lnTo>
                <a:lnTo>
                  <a:pt x="4020" y="16"/>
                </a:lnTo>
                <a:lnTo>
                  <a:pt x="4027" y="16"/>
                </a:lnTo>
                <a:lnTo>
                  <a:pt x="4027" y="16"/>
                </a:lnTo>
                <a:lnTo>
                  <a:pt x="4035" y="16"/>
                </a:lnTo>
                <a:lnTo>
                  <a:pt x="4035" y="8"/>
                </a:lnTo>
                <a:lnTo>
                  <a:pt x="4043" y="8"/>
                </a:lnTo>
                <a:lnTo>
                  <a:pt x="4043" y="8"/>
                </a:lnTo>
                <a:lnTo>
                  <a:pt x="4050" y="8"/>
                </a:lnTo>
                <a:lnTo>
                  <a:pt x="4050" y="8"/>
                </a:lnTo>
                <a:lnTo>
                  <a:pt x="4050" y="8"/>
                </a:lnTo>
                <a:lnTo>
                  <a:pt x="4050" y="8"/>
                </a:lnTo>
                <a:lnTo>
                  <a:pt x="4058" y="8"/>
                </a:lnTo>
                <a:lnTo>
                  <a:pt x="4058" y="8"/>
                </a:lnTo>
                <a:lnTo>
                  <a:pt x="4066" y="8"/>
                </a:lnTo>
                <a:lnTo>
                  <a:pt x="4066" y="8"/>
                </a:lnTo>
                <a:lnTo>
                  <a:pt x="4073" y="8"/>
                </a:lnTo>
                <a:lnTo>
                  <a:pt x="4073" y="8"/>
                </a:lnTo>
                <a:lnTo>
                  <a:pt x="4081" y="8"/>
                </a:lnTo>
                <a:lnTo>
                  <a:pt x="4081" y="0"/>
                </a:lnTo>
                <a:lnTo>
                  <a:pt x="4081" y="0"/>
                </a:lnTo>
                <a:lnTo>
                  <a:pt x="4081" y="0"/>
                </a:lnTo>
              </a:path>
            </a:pathLst>
          </a:custGeom>
          <a:noFill/>
          <a:ln w="25400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2" name="Freeform 41"/>
          <p:cNvSpPr>
            <a:spLocks/>
          </p:cNvSpPr>
          <p:nvPr/>
        </p:nvSpPr>
        <p:spPr bwMode="auto">
          <a:xfrm>
            <a:off x="8294687" y="4013200"/>
            <a:ext cx="2033588" cy="631825"/>
          </a:xfrm>
          <a:custGeom>
            <a:avLst/>
            <a:gdLst>
              <a:gd name="T0" fmla="*/ 23 w 1281"/>
              <a:gd name="T1" fmla="*/ 398 h 398"/>
              <a:gd name="T2" fmla="*/ 46 w 1281"/>
              <a:gd name="T3" fmla="*/ 383 h 398"/>
              <a:gd name="T4" fmla="*/ 61 w 1281"/>
              <a:gd name="T5" fmla="*/ 383 h 398"/>
              <a:gd name="T6" fmla="*/ 84 w 1281"/>
              <a:gd name="T7" fmla="*/ 375 h 398"/>
              <a:gd name="T8" fmla="*/ 100 w 1281"/>
              <a:gd name="T9" fmla="*/ 368 h 398"/>
              <a:gd name="T10" fmla="*/ 123 w 1281"/>
              <a:gd name="T11" fmla="*/ 360 h 398"/>
              <a:gd name="T12" fmla="*/ 146 w 1281"/>
              <a:gd name="T13" fmla="*/ 360 h 398"/>
              <a:gd name="T14" fmla="*/ 169 w 1281"/>
              <a:gd name="T15" fmla="*/ 352 h 398"/>
              <a:gd name="T16" fmla="*/ 184 w 1281"/>
              <a:gd name="T17" fmla="*/ 352 h 398"/>
              <a:gd name="T18" fmla="*/ 207 w 1281"/>
              <a:gd name="T19" fmla="*/ 337 h 398"/>
              <a:gd name="T20" fmla="*/ 223 w 1281"/>
              <a:gd name="T21" fmla="*/ 322 h 398"/>
              <a:gd name="T22" fmla="*/ 246 w 1281"/>
              <a:gd name="T23" fmla="*/ 314 h 398"/>
              <a:gd name="T24" fmla="*/ 269 w 1281"/>
              <a:gd name="T25" fmla="*/ 306 h 398"/>
              <a:gd name="T26" fmla="*/ 292 w 1281"/>
              <a:gd name="T27" fmla="*/ 299 h 398"/>
              <a:gd name="T28" fmla="*/ 307 w 1281"/>
              <a:gd name="T29" fmla="*/ 291 h 398"/>
              <a:gd name="T30" fmla="*/ 330 w 1281"/>
              <a:gd name="T31" fmla="*/ 291 h 398"/>
              <a:gd name="T32" fmla="*/ 345 w 1281"/>
              <a:gd name="T33" fmla="*/ 283 h 398"/>
              <a:gd name="T34" fmla="*/ 376 w 1281"/>
              <a:gd name="T35" fmla="*/ 276 h 398"/>
              <a:gd name="T36" fmla="*/ 391 w 1281"/>
              <a:gd name="T37" fmla="*/ 268 h 398"/>
              <a:gd name="T38" fmla="*/ 414 w 1281"/>
              <a:gd name="T39" fmla="*/ 268 h 398"/>
              <a:gd name="T40" fmla="*/ 430 w 1281"/>
              <a:gd name="T41" fmla="*/ 260 h 398"/>
              <a:gd name="T42" fmla="*/ 453 w 1281"/>
              <a:gd name="T43" fmla="*/ 260 h 398"/>
              <a:gd name="T44" fmla="*/ 476 w 1281"/>
              <a:gd name="T45" fmla="*/ 260 h 398"/>
              <a:gd name="T46" fmla="*/ 499 w 1281"/>
              <a:gd name="T47" fmla="*/ 260 h 398"/>
              <a:gd name="T48" fmla="*/ 514 w 1281"/>
              <a:gd name="T49" fmla="*/ 253 h 398"/>
              <a:gd name="T50" fmla="*/ 537 w 1281"/>
              <a:gd name="T51" fmla="*/ 245 h 398"/>
              <a:gd name="T52" fmla="*/ 552 w 1281"/>
              <a:gd name="T53" fmla="*/ 237 h 398"/>
              <a:gd name="T54" fmla="*/ 575 w 1281"/>
              <a:gd name="T55" fmla="*/ 237 h 398"/>
              <a:gd name="T56" fmla="*/ 598 w 1281"/>
              <a:gd name="T57" fmla="*/ 237 h 398"/>
              <a:gd name="T58" fmla="*/ 621 w 1281"/>
              <a:gd name="T59" fmla="*/ 230 h 398"/>
              <a:gd name="T60" fmla="*/ 637 w 1281"/>
              <a:gd name="T61" fmla="*/ 222 h 398"/>
              <a:gd name="T62" fmla="*/ 660 w 1281"/>
              <a:gd name="T63" fmla="*/ 214 h 398"/>
              <a:gd name="T64" fmla="*/ 683 w 1281"/>
              <a:gd name="T65" fmla="*/ 207 h 398"/>
              <a:gd name="T66" fmla="*/ 706 w 1281"/>
              <a:gd name="T67" fmla="*/ 199 h 398"/>
              <a:gd name="T68" fmla="*/ 729 w 1281"/>
              <a:gd name="T69" fmla="*/ 199 h 398"/>
              <a:gd name="T70" fmla="*/ 752 w 1281"/>
              <a:gd name="T71" fmla="*/ 199 h 398"/>
              <a:gd name="T72" fmla="*/ 767 w 1281"/>
              <a:gd name="T73" fmla="*/ 191 h 398"/>
              <a:gd name="T74" fmla="*/ 790 w 1281"/>
              <a:gd name="T75" fmla="*/ 191 h 398"/>
              <a:gd name="T76" fmla="*/ 806 w 1281"/>
              <a:gd name="T77" fmla="*/ 191 h 398"/>
              <a:gd name="T78" fmla="*/ 829 w 1281"/>
              <a:gd name="T79" fmla="*/ 191 h 398"/>
              <a:gd name="T80" fmla="*/ 852 w 1281"/>
              <a:gd name="T81" fmla="*/ 184 h 398"/>
              <a:gd name="T82" fmla="*/ 875 w 1281"/>
              <a:gd name="T83" fmla="*/ 176 h 398"/>
              <a:gd name="T84" fmla="*/ 890 w 1281"/>
              <a:gd name="T85" fmla="*/ 161 h 398"/>
              <a:gd name="T86" fmla="*/ 913 w 1281"/>
              <a:gd name="T87" fmla="*/ 153 h 398"/>
              <a:gd name="T88" fmla="*/ 928 w 1281"/>
              <a:gd name="T89" fmla="*/ 145 h 398"/>
              <a:gd name="T90" fmla="*/ 951 w 1281"/>
              <a:gd name="T91" fmla="*/ 145 h 398"/>
              <a:gd name="T92" fmla="*/ 974 w 1281"/>
              <a:gd name="T93" fmla="*/ 130 h 398"/>
              <a:gd name="T94" fmla="*/ 997 w 1281"/>
              <a:gd name="T95" fmla="*/ 130 h 398"/>
              <a:gd name="T96" fmla="*/ 1013 w 1281"/>
              <a:gd name="T97" fmla="*/ 123 h 398"/>
              <a:gd name="T98" fmla="*/ 1036 w 1281"/>
              <a:gd name="T99" fmla="*/ 123 h 398"/>
              <a:gd name="T100" fmla="*/ 1051 w 1281"/>
              <a:gd name="T101" fmla="*/ 115 h 398"/>
              <a:gd name="T102" fmla="*/ 1082 w 1281"/>
              <a:gd name="T103" fmla="*/ 100 h 398"/>
              <a:gd name="T104" fmla="*/ 1097 w 1281"/>
              <a:gd name="T105" fmla="*/ 92 h 398"/>
              <a:gd name="T106" fmla="*/ 1120 w 1281"/>
              <a:gd name="T107" fmla="*/ 92 h 398"/>
              <a:gd name="T108" fmla="*/ 1135 w 1281"/>
              <a:gd name="T109" fmla="*/ 92 h 398"/>
              <a:gd name="T110" fmla="*/ 1158 w 1281"/>
              <a:gd name="T111" fmla="*/ 84 h 398"/>
              <a:gd name="T112" fmla="*/ 1181 w 1281"/>
              <a:gd name="T113" fmla="*/ 84 h 398"/>
              <a:gd name="T114" fmla="*/ 1204 w 1281"/>
              <a:gd name="T115" fmla="*/ 77 h 398"/>
              <a:gd name="T116" fmla="*/ 1220 w 1281"/>
              <a:gd name="T117" fmla="*/ 61 h 398"/>
              <a:gd name="T118" fmla="*/ 1243 w 1281"/>
              <a:gd name="T119" fmla="*/ 54 h 398"/>
              <a:gd name="T120" fmla="*/ 1258 w 1281"/>
              <a:gd name="T121" fmla="*/ 31 h 398"/>
              <a:gd name="T122" fmla="*/ 1281 w 1281"/>
              <a:gd name="T123" fmla="*/ 0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81" h="398">
                <a:moveTo>
                  <a:pt x="0" y="398"/>
                </a:moveTo>
                <a:lnTo>
                  <a:pt x="8" y="398"/>
                </a:lnTo>
                <a:lnTo>
                  <a:pt x="8" y="398"/>
                </a:lnTo>
                <a:lnTo>
                  <a:pt x="15" y="398"/>
                </a:lnTo>
                <a:lnTo>
                  <a:pt x="15" y="398"/>
                </a:lnTo>
                <a:lnTo>
                  <a:pt x="23" y="398"/>
                </a:lnTo>
                <a:lnTo>
                  <a:pt x="23" y="398"/>
                </a:lnTo>
                <a:lnTo>
                  <a:pt x="23" y="398"/>
                </a:lnTo>
                <a:lnTo>
                  <a:pt x="23" y="391"/>
                </a:lnTo>
                <a:lnTo>
                  <a:pt x="31" y="391"/>
                </a:lnTo>
                <a:lnTo>
                  <a:pt x="31" y="391"/>
                </a:lnTo>
                <a:lnTo>
                  <a:pt x="38" y="391"/>
                </a:lnTo>
                <a:lnTo>
                  <a:pt x="38" y="383"/>
                </a:lnTo>
                <a:lnTo>
                  <a:pt x="46" y="383"/>
                </a:lnTo>
                <a:lnTo>
                  <a:pt x="46" y="383"/>
                </a:lnTo>
                <a:lnTo>
                  <a:pt x="46" y="383"/>
                </a:lnTo>
                <a:lnTo>
                  <a:pt x="46" y="383"/>
                </a:lnTo>
                <a:lnTo>
                  <a:pt x="54" y="383"/>
                </a:lnTo>
                <a:lnTo>
                  <a:pt x="54" y="383"/>
                </a:lnTo>
                <a:lnTo>
                  <a:pt x="61" y="383"/>
                </a:lnTo>
                <a:lnTo>
                  <a:pt x="61" y="383"/>
                </a:lnTo>
                <a:lnTo>
                  <a:pt x="69" y="383"/>
                </a:lnTo>
                <a:lnTo>
                  <a:pt x="69" y="383"/>
                </a:lnTo>
                <a:lnTo>
                  <a:pt x="69" y="383"/>
                </a:lnTo>
                <a:lnTo>
                  <a:pt x="69" y="375"/>
                </a:lnTo>
                <a:lnTo>
                  <a:pt x="77" y="375"/>
                </a:lnTo>
                <a:lnTo>
                  <a:pt x="77" y="375"/>
                </a:lnTo>
                <a:lnTo>
                  <a:pt x="84" y="375"/>
                </a:lnTo>
                <a:lnTo>
                  <a:pt x="84" y="375"/>
                </a:lnTo>
                <a:lnTo>
                  <a:pt x="92" y="375"/>
                </a:lnTo>
                <a:lnTo>
                  <a:pt x="92" y="368"/>
                </a:lnTo>
                <a:lnTo>
                  <a:pt x="100" y="368"/>
                </a:lnTo>
                <a:lnTo>
                  <a:pt x="100" y="368"/>
                </a:lnTo>
                <a:lnTo>
                  <a:pt x="100" y="368"/>
                </a:lnTo>
                <a:lnTo>
                  <a:pt x="100" y="368"/>
                </a:lnTo>
                <a:lnTo>
                  <a:pt x="107" y="368"/>
                </a:lnTo>
                <a:lnTo>
                  <a:pt x="107" y="360"/>
                </a:lnTo>
                <a:lnTo>
                  <a:pt x="115" y="360"/>
                </a:lnTo>
                <a:lnTo>
                  <a:pt x="115" y="360"/>
                </a:lnTo>
                <a:lnTo>
                  <a:pt x="123" y="360"/>
                </a:lnTo>
                <a:lnTo>
                  <a:pt x="123" y="360"/>
                </a:lnTo>
                <a:lnTo>
                  <a:pt x="123" y="360"/>
                </a:lnTo>
                <a:lnTo>
                  <a:pt x="123" y="360"/>
                </a:lnTo>
                <a:lnTo>
                  <a:pt x="130" y="360"/>
                </a:lnTo>
                <a:lnTo>
                  <a:pt x="130" y="360"/>
                </a:lnTo>
                <a:lnTo>
                  <a:pt x="138" y="360"/>
                </a:lnTo>
                <a:lnTo>
                  <a:pt x="138" y="360"/>
                </a:lnTo>
                <a:lnTo>
                  <a:pt x="146" y="360"/>
                </a:lnTo>
                <a:lnTo>
                  <a:pt x="146" y="360"/>
                </a:lnTo>
                <a:lnTo>
                  <a:pt x="146" y="360"/>
                </a:lnTo>
                <a:lnTo>
                  <a:pt x="146" y="360"/>
                </a:lnTo>
                <a:lnTo>
                  <a:pt x="154" y="360"/>
                </a:lnTo>
                <a:lnTo>
                  <a:pt x="154" y="352"/>
                </a:lnTo>
                <a:lnTo>
                  <a:pt x="161" y="352"/>
                </a:lnTo>
                <a:lnTo>
                  <a:pt x="161" y="352"/>
                </a:lnTo>
                <a:lnTo>
                  <a:pt x="169" y="352"/>
                </a:lnTo>
                <a:lnTo>
                  <a:pt x="169" y="352"/>
                </a:lnTo>
                <a:lnTo>
                  <a:pt x="169" y="352"/>
                </a:lnTo>
                <a:lnTo>
                  <a:pt x="169" y="352"/>
                </a:lnTo>
                <a:lnTo>
                  <a:pt x="177" y="352"/>
                </a:lnTo>
                <a:lnTo>
                  <a:pt x="177" y="352"/>
                </a:lnTo>
                <a:lnTo>
                  <a:pt x="184" y="352"/>
                </a:lnTo>
                <a:lnTo>
                  <a:pt x="184" y="352"/>
                </a:lnTo>
                <a:lnTo>
                  <a:pt x="192" y="352"/>
                </a:lnTo>
                <a:lnTo>
                  <a:pt x="192" y="345"/>
                </a:lnTo>
                <a:lnTo>
                  <a:pt x="200" y="345"/>
                </a:lnTo>
                <a:lnTo>
                  <a:pt x="200" y="345"/>
                </a:lnTo>
                <a:lnTo>
                  <a:pt x="200" y="345"/>
                </a:lnTo>
                <a:lnTo>
                  <a:pt x="200" y="337"/>
                </a:lnTo>
                <a:lnTo>
                  <a:pt x="207" y="337"/>
                </a:lnTo>
                <a:lnTo>
                  <a:pt x="207" y="337"/>
                </a:lnTo>
                <a:lnTo>
                  <a:pt x="215" y="337"/>
                </a:lnTo>
                <a:lnTo>
                  <a:pt x="215" y="329"/>
                </a:lnTo>
                <a:lnTo>
                  <a:pt x="223" y="329"/>
                </a:lnTo>
                <a:lnTo>
                  <a:pt x="223" y="329"/>
                </a:lnTo>
                <a:lnTo>
                  <a:pt x="223" y="329"/>
                </a:lnTo>
                <a:lnTo>
                  <a:pt x="223" y="322"/>
                </a:lnTo>
                <a:lnTo>
                  <a:pt x="230" y="322"/>
                </a:lnTo>
                <a:lnTo>
                  <a:pt x="230" y="322"/>
                </a:lnTo>
                <a:lnTo>
                  <a:pt x="238" y="322"/>
                </a:lnTo>
                <a:lnTo>
                  <a:pt x="238" y="322"/>
                </a:lnTo>
                <a:lnTo>
                  <a:pt x="246" y="322"/>
                </a:lnTo>
                <a:lnTo>
                  <a:pt x="246" y="314"/>
                </a:lnTo>
                <a:lnTo>
                  <a:pt x="246" y="314"/>
                </a:lnTo>
                <a:lnTo>
                  <a:pt x="246" y="314"/>
                </a:lnTo>
                <a:lnTo>
                  <a:pt x="253" y="314"/>
                </a:lnTo>
                <a:lnTo>
                  <a:pt x="253" y="314"/>
                </a:lnTo>
                <a:lnTo>
                  <a:pt x="261" y="314"/>
                </a:lnTo>
                <a:lnTo>
                  <a:pt x="261" y="306"/>
                </a:lnTo>
                <a:lnTo>
                  <a:pt x="269" y="306"/>
                </a:lnTo>
                <a:lnTo>
                  <a:pt x="269" y="306"/>
                </a:lnTo>
                <a:lnTo>
                  <a:pt x="276" y="306"/>
                </a:lnTo>
                <a:lnTo>
                  <a:pt x="276" y="299"/>
                </a:lnTo>
                <a:lnTo>
                  <a:pt x="276" y="299"/>
                </a:lnTo>
                <a:lnTo>
                  <a:pt x="276" y="299"/>
                </a:lnTo>
                <a:lnTo>
                  <a:pt x="284" y="299"/>
                </a:lnTo>
                <a:lnTo>
                  <a:pt x="284" y="299"/>
                </a:lnTo>
                <a:lnTo>
                  <a:pt x="292" y="299"/>
                </a:lnTo>
                <a:lnTo>
                  <a:pt x="292" y="291"/>
                </a:lnTo>
                <a:lnTo>
                  <a:pt x="299" y="291"/>
                </a:lnTo>
                <a:lnTo>
                  <a:pt x="299" y="291"/>
                </a:lnTo>
                <a:lnTo>
                  <a:pt x="299" y="291"/>
                </a:lnTo>
                <a:lnTo>
                  <a:pt x="299" y="291"/>
                </a:lnTo>
                <a:lnTo>
                  <a:pt x="307" y="291"/>
                </a:lnTo>
                <a:lnTo>
                  <a:pt x="307" y="291"/>
                </a:lnTo>
                <a:lnTo>
                  <a:pt x="315" y="291"/>
                </a:lnTo>
                <a:lnTo>
                  <a:pt x="315" y="291"/>
                </a:lnTo>
                <a:lnTo>
                  <a:pt x="322" y="291"/>
                </a:lnTo>
                <a:lnTo>
                  <a:pt x="322" y="291"/>
                </a:lnTo>
                <a:lnTo>
                  <a:pt x="322" y="291"/>
                </a:lnTo>
                <a:lnTo>
                  <a:pt x="322" y="291"/>
                </a:lnTo>
                <a:lnTo>
                  <a:pt x="330" y="291"/>
                </a:lnTo>
                <a:lnTo>
                  <a:pt x="330" y="291"/>
                </a:lnTo>
                <a:lnTo>
                  <a:pt x="338" y="291"/>
                </a:lnTo>
                <a:lnTo>
                  <a:pt x="338" y="291"/>
                </a:lnTo>
                <a:lnTo>
                  <a:pt x="345" y="291"/>
                </a:lnTo>
                <a:lnTo>
                  <a:pt x="345" y="291"/>
                </a:lnTo>
                <a:lnTo>
                  <a:pt x="345" y="291"/>
                </a:lnTo>
                <a:lnTo>
                  <a:pt x="345" y="283"/>
                </a:lnTo>
                <a:lnTo>
                  <a:pt x="353" y="283"/>
                </a:lnTo>
                <a:lnTo>
                  <a:pt x="353" y="283"/>
                </a:lnTo>
                <a:lnTo>
                  <a:pt x="361" y="283"/>
                </a:lnTo>
                <a:lnTo>
                  <a:pt x="361" y="283"/>
                </a:lnTo>
                <a:lnTo>
                  <a:pt x="368" y="283"/>
                </a:lnTo>
                <a:lnTo>
                  <a:pt x="368" y="276"/>
                </a:lnTo>
                <a:lnTo>
                  <a:pt x="376" y="276"/>
                </a:lnTo>
                <a:lnTo>
                  <a:pt x="376" y="276"/>
                </a:lnTo>
                <a:lnTo>
                  <a:pt x="376" y="276"/>
                </a:lnTo>
                <a:lnTo>
                  <a:pt x="376" y="276"/>
                </a:lnTo>
                <a:lnTo>
                  <a:pt x="384" y="276"/>
                </a:lnTo>
                <a:lnTo>
                  <a:pt x="384" y="268"/>
                </a:lnTo>
                <a:lnTo>
                  <a:pt x="391" y="268"/>
                </a:lnTo>
                <a:lnTo>
                  <a:pt x="391" y="268"/>
                </a:lnTo>
                <a:lnTo>
                  <a:pt x="399" y="268"/>
                </a:lnTo>
                <a:lnTo>
                  <a:pt x="399" y="268"/>
                </a:lnTo>
                <a:lnTo>
                  <a:pt x="399" y="268"/>
                </a:lnTo>
                <a:lnTo>
                  <a:pt x="399" y="268"/>
                </a:lnTo>
                <a:lnTo>
                  <a:pt x="407" y="268"/>
                </a:lnTo>
                <a:lnTo>
                  <a:pt x="407" y="268"/>
                </a:lnTo>
                <a:lnTo>
                  <a:pt x="414" y="268"/>
                </a:lnTo>
                <a:lnTo>
                  <a:pt x="414" y="268"/>
                </a:lnTo>
                <a:lnTo>
                  <a:pt x="422" y="268"/>
                </a:lnTo>
                <a:lnTo>
                  <a:pt x="422" y="268"/>
                </a:lnTo>
                <a:lnTo>
                  <a:pt x="422" y="268"/>
                </a:lnTo>
                <a:lnTo>
                  <a:pt x="422" y="260"/>
                </a:lnTo>
                <a:lnTo>
                  <a:pt x="430" y="260"/>
                </a:lnTo>
                <a:lnTo>
                  <a:pt x="430" y="260"/>
                </a:lnTo>
                <a:lnTo>
                  <a:pt x="437" y="260"/>
                </a:lnTo>
                <a:lnTo>
                  <a:pt x="437" y="260"/>
                </a:lnTo>
                <a:lnTo>
                  <a:pt x="445" y="260"/>
                </a:lnTo>
                <a:lnTo>
                  <a:pt x="445" y="260"/>
                </a:lnTo>
                <a:lnTo>
                  <a:pt x="453" y="260"/>
                </a:lnTo>
                <a:lnTo>
                  <a:pt x="453" y="260"/>
                </a:lnTo>
                <a:lnTo>
                  <a:pt x="453" y="260"/>
                </a:lnTo>
                <a:lnTo>
                  <a:pt x="453" y="260"/>
                </a:lnTo>
                <a:lnTo>
                  <a:pt x="460" y="260"/>
                </a:lnTo>
                <a:lnTo>
                  <a:pt x="460" y="260"/>
                </a:lnTo>
                <a:lnTo>
                  <a:pt x="468" y="260"/>
                </a:lnTo>
                <a:lnTo>
                  <a:pt x="468" y="260"/>
                </a:lnTo>
                <a:lnTo>
                  <a:pt x="476" y="260"/>
                </a:lnTo>
                <a:lnTo>
                  <a:pt x="476" y="260"/>
                </a:lnTo>
                <a:lnTo>
                  <a:pt x="476" y="260"/>
                </a:lnTo>
                <a:lnTo>
                  <a:pt x="476" y="260"/>
                </a:lnTo>
                <a:lnTo>
                  <a:pt x="483" y="260"/>
                </a:lnTo>
                <a:lnTo>
                  <a:pt x="483" y="260"/>
                </a:lnTo>
                <a:lnTo>
                  <a:pt x="491" y="260"/>
                </a:lnTo>
                <a:lnTo>
                  <a:pt x="491" y="260"/>
                </a:lnTo>
                <a:lnTo>
                  <a:pt x="499" y="260"/>
                </a:lnTo>
                <a:lnTo>
                  <a:pt x="499" y="253"/>
                </a:lnTo>
                <a:lnTo>
                  <a:pt x="499" y="253"/>
                </a:lnTo>
                <a:lnTo>
                  <a:pt x="499" y="253"/>
                </a:lnTo>
                <a:lnTo>
                  <a:pt x="506" y="253"/>
                </a:lnTo>
                <a:lnTo>
                  <a:pt x="506" y="253"/>
                </a:lnTo>
                <a:lnTo>
                  <a:pt x="514" y="253"/>
                </a:lnTo>
                <a:lnTo>
                  <a:pt x="514" y="253"/>
                </a:lnTo>
                <a:lnTo>
                  <a:pt x="522" y="253"/>
                </a:lnTo>
                <a:lnTo>
                  <a:pt x="522" y="253"/>
                </a:lnTo>
                <a:lnTo>
                  <a:pt x="522" y="253"/>
                </a:lnTo>
                <a:lnTo>
                  <a:pt x="522" y="253"/>
                </a:lnTo>
                <a:lnTo>
                  <a:pt x="529" y="253"/>
                </a:lnTo>
                <a:lnTo>
                  <a:pt x="529" y="245"/>
                </a:lnTo>
                <a:lnTo>
                  <a:pt x="537" y="245"/>
                </a:lnTo>
                <a:lnTo>
                  <a:pt x="537" y="245"/>
                </a:lnTo>
                <a:lnTo>
                  <a:pt x="545" y="245"/>
                </a:lnTo>
                <a:lnTo>
                  <a:pt x="545" y="245"/>
                </a:lnTo>
                <a:lnTo>
                  <a:pt x="552" y="245"/>
                </a:lnTo>
                <a:lnTo>
                  <a:pt x="552" y="245"/>
                </a:lnTo>
                <a:lnTo>
                  <a:pt x="552" y="245"/>
                </a:lnTo>
                <a:lnTo>
                  <a:pt x="552" y="237"/>
                </a:lnTo>
                <a:lnTo>
                  <a:pt x="560" y="237"/>
                </a:lnTo>
                <a:lnTo>
                  <a:pt x="560" y="237"/>
                </a:lnTo>
                <a:lnTo>
                  <a:pt x="568" y="237"/>
                </a:lnTo>
                <a:lnTo>
                  <a:pt x="568" y="237"/>
                </a:lnTo>
                <a:lnTo>
                  <a:pt x="575" y="237"/>
                </a:lnTo>
                <a:lnTo>
                  <a:pt x="575" y="237"/>
                </a:lnTo>
                <a:lnTo>
                  <a:pt x="575" y="237"/>
                </a:lnTo>
                <a:lnTo>
                  <a:pt x="575" y="237"/>
                </a:lnTo>
                <a:lnTo>
                  <a:pt x="583" y="237"/>
                </a:lnTo>
                <a:lnTo>
                  <a:pt x="583" y="237"/>
                </a:lnTo>
                <a:lnTo>
                  <a:pt x="591" y="237"/>
                </a:lnTo>
                <a:lnTo>
                  <a:pt x="591" y="237"/>
                </a:lnTo>
                <a:lnTo>
                  <a:pt x="598" y="237"/>
                </a:lnTo>
                <a:lnTo>
                  <a:pt x="598" y="237"/>
                </a:lnTo>
                <a:lnTo>
                  <a:pt x="598" y="237"/>
                </a:lnTo>
                <a:lnTo>
                  <a:pt x="598" y="237"/>
                </a:lnTo>
                <a:lnTo>
                  <a:pt x="606" y="237"/>
                </a:lnTo>
                <a:lnTo>
                  <a:pt x="606" y="237"/>
                </a:lnTo>
                <a:lnTo>
                  <a:pt x="614" y="237"/>
                </a:lnTo>
                <a:lnTo>
                  <a:pt x="614" y="230"/>
                </a:lnTo>
                <a:lnTo>
                  <a:pt x="621" y="230"/>
                </a:lnTo>
                <a:lnTo>
                  <a:pt x="621" y="222"/>
                </a:lnTo>
                <a:lnTo>
                  <a:pt x="629" y="222"/>
                </a:lnTo>
                <a:lnTo>
                  <a:pt x="629" y="222"/>
                </a:lnTo>
                <a:lnTo>
                  <a:pt x="629" y="222"/>
                </a:lnTo>
                <a:lnTo>
                  <a:pt x="629" y="222"/>
                </a:lnTo>
                <a:lnTo>
                  <a:pt x="637" y="222"/>
                </a:lnTo>
                <a:lnTo>
                  <a:pt x="637" y="222"/>
                </a:lnTo>
                <a:lnTo>
                  <a:pt x="644" y="222"/>
                </a:lnTo>
                <a:lnTo>
                  <a:pt x="644" y="222"/>
                </a:lnTo>
                <a:lnTo>
                  <a:pt x="652" y="222"/>
                </a:lnTo>
                <a:lnTo>
                  <a:pt x="652" y="222"/>
                </a:lnTo>
                <a:lnTo>
                  <a:pt x="652" y="222"/>
                </a:lnTo>
                <a:lnTo>
                  <a:pt x="652" y="214"/>
                </a:lnTo>
                <a:lnTo>
                  <a:pt x="660" y="214"/>
                </a:lnTo>
                <a:lnTo>
                  <a:pt x="660" y="214"/>
                </a:lnTo>
                <a:lnTo>
                  <a:pt x="667" y="214"/>
                </a:lnTo>
                <a:lnTo>
                  <a:pt x="667" y="207"/>
                </a:lnTo>
                <a:lnTo>
                  <a:pt x="675" y="207"/>
                </a:lnTo>
                <a:lnTo>
                  <a:pt x="675" y="207"/>
                </a:lnTo>
                <a:lnTo>
                  <a:pt x="683" y="207"/>
                </a:lnTo>
                <a:lnTo>
                  <a:pt x="683" y="207"/>
                </a:lnTo>
                <a:lnTo>
                  <a:pt x="690" y="207"/>
                </a:lnTo>
                <a:lnTo>
                  <a:pt x="690" y="207"/>
                </a:lnTo>
                <a:lnTo>
                  <a:pt x="698" y="207"/>
                </a:lnTo>
                <a:lnTo>
                  <a:pt x="698" y="199"/>
                </a:lnTo>
                <a:lnTo>
                  <a:pt x="698" y="199"/>
                </a:lnTo>
                <a:lnTo>
                  <a:pt x="698" y="199"/>
                </a:lnTo>
                <a:lnTo>
                  <a:pt x="706" y="199"/>
                </a:lnTo>
                <a:lnTo>
                  <a:pt x="706" y="199"/>
                </a:lnTo>
                <a:lnTo>
                  <a:pt x="713" y="199"/>
                </a:lnTo>
                <a:lnTo>
                  <a:pt x="713" y="199"/>
                </a:lnTo>
                <a:lnTo>
                  <a:pt x="721" y="199"/>
                </a:lnTo>
                <a:lnTo>
                  <a:pt x="721" y="199"/>
                </a:lnTo>
                <a:lnTo>
                  <a:pt x="729" y="199"/>
                </a:lnTo>
                <a:lnTo>
                  <a:pt x="729" y="199"/>
                </a:lnTo>
                <a:lnTo>
                  <a:pt x="729" y="199"/>
                </a:lnTo>
                <a:lnTo>
                  <a:pt x="729" y="199"/>
                </a:lnTo>
                <a:lnTo>
                  <a:pt x="736" y="199"/>
                </a:lnTo>
                <a:lnTo>
                  <a:pt x="736" y="199"/>
                </a:lnTo>
                <a:lnTo>
                  <a:pt x="744" y="199"/>
                </a:lnTo>
                <a:lnTo>
                  <a:pt x="744" y="199"/>
                </a:lnTo>
                <a:lnTo>
                  <a:pt x="752" y="199"/>
                </a:lnTo>
                <a:lnTo>
                  <a:pt x="752" y="199"/>
                </a:lnTo>
                <a:lnTo>
                  <a:pt x="752" y="199"/>
                </a:lnTo>
                <a:lnTo>
                  <a:pt x="752" y="199"/>
                </a:lnTo>
                <a:lnTo>
                  <a:pt x="759" y="199"/>
                </a:lnTo>
                <a:lnTo>
                  <a:pt x="759" y="191"/>
                </a:lnTo>
                <a:lnTo>
                  <a:pt x="767" y="191"/>
                </a:lnTo>
                <a:lnTo>
                  <a:pt x="767" y="191"/>
                </a:lnTo>
                <a:lnTo>
                  <a:pt x="775" y="191"/>
                </a:lnTo>
                <a:lnTo>
                  <a:pt x="775" y="191"/>
                </a:lnTo>
                <a:lnTo>
                  <a:pt x="775" y="191"/>
                </a:lnTo>
                <a:lnTo>
                  <a:pt x="775" y="191"/>
                </a:lnTo>
                <a:lnTo>
                  <a:pt x="783" y="191"/>
                </a:lnTo>
                <a:lnTo>
                  <a:pt x="783" y="191"/>
                </a:lnTo>
                <a:lnTo>
                  <a:pt x="790" y="191"/>
                </a:lnTo>
                <a:lnTo>
                  <a:pt x="790" y="191"/>
                </a:lnTo>
                <a:lnTo>
                  <a:pt x="798" y="191"/>
                </a:lnTo>
                <a:lnTo>
                  <a:pt x="798" y="191"/>
                </a:lnTo>
                <a:lnTo>
                  <a:pt x="806" y="191"/>
                </a:lnTo>
                <a:lnTo>
                  <a:pt x="806" y="191"/>
                </a:lnTo>
                <a:lnTo>
                  <a:pt x="806" y="191"/>
                </a:lnTo>
                <a:lnTo>
                  <a:pt x="806" y="191"/>
                </a:lnTo>
                <a:lnTo>
                  <a:pt x="813" y="191"/>
                </a:lnTo>
                <a:lnTo>
                  <a:pt x="813" y="191"/>
                </a:lnTo>
                <a:lnTo>
                  <a:pt x="821" y="191"/>
                </a:lnTo>
                <a:lnTo>
                  <a:pt x="821" y="191"/>
                </a:lnTo>
                <a:lnTo>
                  <a:pt x="829" y="191"/>
                </a:lnTo>
                <a:lnTo>
                  <a:pt x="829" y="191"/>
                </a:lnTo>
                <a:lnTo>
                  <a:pt x="829" y="191"/>
                </a:lnTo>
                <a:lnTo>
                  <a:pt x="829" y="184"/>
                </a:lnTo>
                <a:lnTo>
                  <a:pt x="836" y="184"/>
                </a:lnTo>
                <a:lnTo>
                  <a:pt x="836" y="184"/>
                </a:lnTo>
                <a:lnTo>
                  <a:pt x="844" y="184"/>
                </a:lnTo>
                <a:lnTo>
                  <a:pt x="844" y="184"/>
                </a:lnTo>
                <a:lnTo>
                  <a:pt x="852" y="184"/>
                </a:lnTo>
                <a:lnTo>
                  <a:pt x="852" y="184"/>
                </a:lnTo>
                <a:lnTo>
                  <a:pt x="852" y="184"/>
                </a:lnTo>
                <a:lnTo>
                  <a:pt x="852" y="176"/>
                </a:lnTo>
                <a:lnTo>
                  <a:pt x="859" y="176"/>
                </a:lnTo>
                <a:lnTo>
                  <a:pt x="859" y="176"/>
                </a:lnTo>
                <a:lnTo>
                  <a:pt x="867" y="176"/>
                </a:lnTo>
                <a:lnTo>
                  <a:pt x="867" y="176"/>
                </a:lnTo>
                <a:lnTo>
                  <a:pt x="875" y="176"/>
                </a:lnTo>
                <a:lnTo>
                  <a:pt x="875" y="168"/>
                </a:lnTo>
                <a:lnTo>
                  <a:pt x="875" y="168"/>
                </a:lnTo>
                <a:lnTo>
                  <a:pt x="875" y="168"/>
                </a:lnTo>
                <a:lnTo>
                  <a:pt x="882" y="168"/>
                </a:lnTo>
                <a:lnTo>
                  <a:pt x="882" y="161"/>
                </a:lnTo>
                <a:lnTo>
                  <a:pt x="890" y="161"/>
                </a:lnTo>
                <a:lnTo>
                  <a:pt x="890" y="161"/>
                </a:lnTo>
                <a:lnTo>
                  <a:pt x="898" y="161"/>
                </a:lnTo>
                <a:lnTo>
                  <a:pt x="898" y="161"/>
                </a:lnTo>
                <a:lnTo>
                  <a:pt x="905" y="161"/>
                </a:lnTo>
                <a:lnTo>
                  <a:pt x="905" y="153"/>
                </a:lnTo>
                <a:lnTo>
                  <a:pt x="905" y="153"/>
                </a:lnTo>
                <a:lnTo>
                  <a:pt x="905" y="153"/>
                </a:lnTo>
                <a:lnTo>
                  <a:pt x="913" y="153"/>
                </a:lnTo>
                <a:lnTo>
                  <a:pt x="913" y="153"/>
                </a:lnTo>
                <a:lnTo>
                  <a:pt x="921" y="153"/>
                </a:lnTo>
                <a:lnTo>
                  <a:pt x="921" y="153"/>
                </a:lnTo>
                <a:lnTo>
                  <a:pt x="928" y="153"/>
                </a:lnTo>
                <a:lnTo>
                  <a:pt x="928" y="153"/>
                </a:lnTo>
                <a:lnTo>
                  <a:pt x="928" y="153"/>
                </a:lnTo>
                <a:lnTo>
                  <a:pt x="928" y="145"/>
                </a:lnTo>
                <a:lnTo>
                  <a:pt x="936" y="145"/>
                </a:lnTo>
                <a:lnTo>
                  <a:pt x="936" y="145"/>
                </a:lnTo>
                <a:lnTo>
                  <a:pt x="944" y="145"/>
                </a:lnTo>
                <a:lnTo>
                  <a:pt x="944" y="145"/>
                </a:lnTo>
                <a:lnTo>
                  <a:pt x="951" y="145"/>
                </a:lnTo>
                <a:lnTo>
                  <a:pt x="951" y="145"/>
                </a:lnTo>
                <a:lnTo>
                  <a:pt x="951" y="145"/>
                </a:lnTo>
                <a:lnTo>
                  <a:pt x="951" y="145"/>
                </a:lnTo>
                <a:lnTo>
                  <a:pt x="959" y="145"/>
                </a:lnTo>
                <a:lnTo>
                  <a:pt x="959" y="145"/>
                </a:lnTo>
                <a:lnTo>
                  <a:pt x="967" y="145"/>
                </a:lnTo>
                <a:lnTo>
                  <a:pt x="967" y="130"/>
                </a:lnTo>
                <a:lnTo>
                  <a:pt x="974" y="130"/>
                </a:lnTo>
                <a:lnTo>
                  <a:pt x="974" y="130"/>
                </a:lnTo>
                <a:lnTo>
                  <a:pt x="974" y="130"/>
                </a:lnTo>
                <a:lnTo>
                  <a:pt x="974" y="130"/>
                </a:lnTo>
                <a:lnTo>
                  <a:pt x="982" y="130"/>
                </a:lnTo>
                <a:lnTo>
                  <a:pt x="982" y="130"/>
                </a:lnTo>
                <a:lnTo>
                  <a:pt x="990" y="130"/>
                </a:lnTo>
                <a:lnTo>
                  <a:pt x="990" y="130"/>
                </a:lnTo>
                <a:lnTo>
                  <a:pt x="997" y="130"/>
                </a:lnTo>
                <a:lnTo>
                  <a:pt x="997" y="123"/>
                </a:lnTo>
                <a:lnTo>
                  <a:pt x="1005" y="123"/>
                </a:lnTo>
                <a:lnTo>
                  <a:pt x="1005" y="123"/>
                </a:lnTo>
                <a:lnTo>
                  <a:pt x="1005" y="123"/>
                </a:lnTo>
                <a:lnTo>
                  <a:pt x="1005" y="123"/>
                </a:lnTo>
                <a:lnTo>
                  <a:pt x="1013" y="123"/>
                </a:lnTo>
                <a:lnTo>
                  <a:pt x="1013" y="123"/>
                </a:lnTo>
                <a:lnTo>
                  <a:pt x="1020" y="123"/>
                </a:lnTo>
                <a:lnTo>
                  <a:pt x="1020" y="123"/>
                </a:lnTo>
                <a:lnTo>
                  <a:pt x="1028" y="123"/>
                </a:lnTo>
                <a:lnTo>
                  <a:pt x="1028" y="123"/>
                </a:lnTo>
                <a:lnTo>
                  <a:pt x="1028" y="123"/>
                </a:lnTo>
                <a:lnTo>
                  <a:pt x="1028" y="123"/>
                </a:lnTo>
                <a:lnTo>
                  <a:pt x="1036" y="123"/>
                </a:lnTo>
                <a:lnTo>
                  <a:pt x="1036" y="123"/>
                </a:lnTo>
                <a:lnTo>
                  <a:pt x="1043" y="123"/>
                </a:lnTo>
                <a:lnTo>
                  <a:pt x="1043" y="123"/>
                </a:lnTo>
                <a:lnTo>
                  <a:pt x="1051" y="123"/>
                </a:lnTo>
                <a:lnTo>
                  <a:pt x="1051" y="123"/>
                </a:lnTo>
                <a:lnTo>
                  <a:pt x="1051" y="123"/>
                </a:lnTo>
                <a:lnTo>
                  <a:pt x="1051" y="115"/>
                </a:lnTo>
                <a:lnTo>
                  <a:pt x="1059" y="115"/>
                </a:lnTo>
                <a:lnTo>
                  <a:pt x="1059" y="115"/>
                </a:lnTo>
                <a:lnTo>
                  <a:pt x="1066" y="115"/>
                </a:lnTo>
                <a:lnTo>
                  <a:pt x="1066" y="100"/>
                </a:lnTo>
                <a:lnTo>
                  <a:pt x="1074" y="100"/>
                </a:lnTo>
                <a:lnTo>
                  <a:pt x="1074" y="100"/>
                </a:lnTo>
                <a:lnTo>
                  <a:pt x="1082" y="100"/>
                </a:lnTo>
                <a:lnTo>
                  <a:pt x="1082" y="100"/>
                </a:lnTo>
                <a:lnTo>
                  <a:pt x="1082" y="100"/>
                </a:lnTo>
                <a:lnTo>
                  <a:pt x="1082" y="100"/>
                </a:lnTo>
                <a:lnTo>
                  <a:pt x="1089" y="100"/>
                </a:lnTo>
                <a:lnTo>
                  <a:pt x="1089" y="92"/>
                </a:lnTo>
                <a:lnTo>
                  <a:pt x="1097" y="92"/>
                </a:lnTo>
                <a:lnTo>
                  <a:pt x="1097" y="92"/>
                </a:lnTo>
                <a:lnTo>
                  <a:pt x="1105" y="92"/>
                </a:lnTo>
                <a:lnTo>
                  <a:pt x="1105" y="92"/>
                </a:lnTo>
                <a:lnTo>
                  <a:pt x="1105" y="92"/>
                </a:lnTo>
                <a:lnTo>
                  <a:pt x="1105" y="92"/>
                </a:lnTo>
                <a:lnTo>
                  <a:pt x="1112" y="92"/>
                </a:lnTo>
                <a:lnTo>
                  <a:pt x="1112" y="92"/>
                </a:lnTo>
                <a:lnTo>
                  <a:pt x="1120" y="92"/>
                </a:lnTo>
                <a:lnTo>
                  <a:pt x="1120" y="92"/>
                </a:lnTo>
                <a:lnTo>
                  <a:pt x="1128" y="92"/>
                </a:lnTo>
                <a:lnTo>
                  <a:pt x="1128" y="92"/>
                </a:lnTo>
                <a:lnTo>
                  <a:pt x="1128" y="92"/>
                </a:lnTo>
                <a:lnTo>
                  <a:pt x="1128" y="92"/>
                </a:lnTo>
                <a:lnTo>
                  <a:pt x="1135" y="92"/>
                </a:lnTo>
                <a:lnTo>
                  <a:pt x="1135" y="92"/>
                </a:lnTo>
                <a:lnTo>
                  <a:pt x="1143" y="92"/>
                </a:lnTo>
                <a:lnTo>
                  <a:pt x="1143" y="92"/>
                </a:lnTo>
                <a:lnTo>
                  <a:pt x="1151" y="92"/>
                </a:lnTo>
                <a:lnTo>
                  <a:pt x="1151" y="84"/>
                </a:lnTo>
                <a:lnTo>
                  <a:pt x="1151" y="84"/>
                </a:lnTo>
                <a:lnTo>
                  <a:pt x="1151" y="84"/>
                </a:lnTo>
                <a:lnTo>
                  <a:pt x="1158" y="84"/>
                </a:lnTo>
                <a:lnTo>
                  <a:pt x="1158" y="84"/>
                </a:lnTo>
                <a:lnTo>
                  <a:pt x="1166" y="84"/>
                </a:lnTo>
                <a:lnTo>
                  <a:pt x="1166" y="84"/>
                </a:lnTo>
                <a:lnTo>
                  <a:pt x="1174" y="84"/>
                </a:lnTo>
                <a:lnTo>
                  <a:pt x="1174" y="84"/>
                </a:lnTo>
                <a:lnTo>
                  <a:pt x="1181" y="84"/>
                </a:lnTo>
                <a:lnTo>
                  <a:pt x="1181" y="84"/>
                </a:lnTo>
                <a:lnTo>
                  <a:pt x="1181" y="84"/>
                </a:lnTo>
                <a:lnTo>
                  <a:pt x="1181" y="77"/>
                </a:lnTo>
                <a:lnTo>
                  <a:pt x="1189" y="77"/>
                </a:lnTo>
                <a:lnTo>
                  <a:pt x="1189" y="77"/>
                </a:lnTo>
                <a:lnTo>
                  <a:pt x="1197" y="77"/>
                </a:lnTo>
                <a:lnTo>
                  <a:pt x="1197" y="77"/>
                </a:lnTo>
                <a:lnTo>
                  <a:pt x="1204" y="77"/>
                </a:lnTo>
                <a:lnTo>
                  <a:pt x="1204" y="77"/>
                </a:lnTo>
                <a:lnTo>
                  <a:pt x="1204" y="77"/>
                </a:lnTo>
                <a:lnTo>
                  <a:pt x="1204" y="77"/>
                </a:lnTo>
                <a:lnTo>
                  <a:pt x="1212" y="77"/>
                </a:lnTo>
                <a:lnTo>
                  <a:pt x="1212" y="69"/>
                </a:lnTo>
                <a:lnTo>
                  <a:pt x="1220" y="69"/>
                </a:lnTo>
                <a:lnTo>
                  <a:pt x="1220" y="61"/>
                </a:lnTo>
                <a:lnTo>
                  <a:pt x="1227" y="61"/>
                </a:lnTo>
                <a:lnTo>
                  <a:pt x="1227" y="54"/>
                </a:lnTo>
                <a:lnTo>
                  <a:pt x="1227" y="54"/>
                </a:lnTo>
                <a:lnTo>
                  <a:pt x="1227" y="54"/>
                </a:lnTo>
                <a:lnTo>
                  <a:pt x="1235" y="54"/>
                </a:lnTo>
                <a:lnTo>
                  <a:pt x="1235" y="54"/>
                </a:lnTo>
                <a:lnTo>
                  <a:pt x="1243" y="54"/>
                </a:lnTo>
                <a:lnTo>
                  <a:pt x="1243" y="38"/>
                </a:lnTo>
                <a:lnTo>
                  <a:pt x="1250" y="38"/>
                </a:lnTo>
                <a:lnTo>
                  <a:pt x="1250" y="38"/>
                </a:lnTo>
                <a:lnTo>
                  <a:pt x="1258" y="38"/>
                </a:lnTo>
                <a:lnTo>
                  <a:pt x="1258" y="31"/>
                </a:lnTo>
                <a:lnTo>
                  <a:pt x="1258" y="31"/>
                </a:lnTo>
                <a:lnTo>
                  <a:pt x="1258" y="31"/>
                </a:lnTo>
                <a:lnTo>
                  <a:pt x="1266" y="31"/>
                </a:lnTo>
                <a:lnTo>
                  <a:pt x="1266" y="31"/>
                </a:lnTo>
                <a:lnTo>
                  <a:pt x="1273" y="31"/>
                </a:lnTo>
                <a:lnTo>
                  <a:pt x="1273" y="0"/>
                </a:lnTo>
                <a:lnTo>
                  <a:pt x="1281" y="0"/>
                </a:lnTo>
                <a:lnTo>
                  <a:pt x="1281" y="0"/>
                </a:lnTo>
                <a:lnTo>
                  <a:pt x="1281" y="0"/>
                </a:lnTo>
                <a:lnTo>
                  <a:pt x="1281" y="0"/>
                </a:lnTo>
              </a:path>
            </a:pathLst>
          </a:custGeom>
          <a:noFill/>
          <a:ln w="25400" cap="sq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3" name="Rectangle 42"/>
          <p:cNvSpPr>
            <a:spLocks noChangeArrowheads="1"/>
          </p:cNvSpPr>
          <p:nvPr/>
        </p:nvSpPr>
        <p:spPr bwMode="auto">
          <a:xfrm>
            <a:off x="8623300" y="4913312"/>
            <a:ext cx="88166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5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</a:endParaRPr>
          </a:p>
        </p:txBody>
      </p:sp>
      <p:sp>
        <p:nvSpPr>
          <p:cNvPr id="49" name="Rectangle 48"/>
          <p:cNvSpPr>
            <a:spLocks noChangeArrowheads="1"/>
          </p:cNvSpPr>
          <p:nvPr/>
        </p:nvSpPr>
        <p:spPr bwMode="auto">
          <a:xfrm>
            <a:off x="1962149" y="1601787"/>
            <a:ext cx="8803692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In those allocated to </a:t>
            </a: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PLACEBO</a:t>
            </a: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400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</a:t>
            </a:r>
            <a:r>
              <a:rPr lang="en-US" altLang="en-US" sz="2400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   </a:t>
            </a: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558</a:t>
            </a:r>
            <a:r>
              <a:rPr kumimoji="0" lang="en-US" altLang="en-US" sz="2400" b="0" i="0" u="none" strike="noStrike" cap="none" normalizeH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 out of </a:t>
            </a:r>
            <a:r>
              <a: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latin typeface="Mulish" pitchFamily="2" charset="0"/>
              </a:rPr>
              <a:t>3305 people (16.9%) had one of these outcomes</a:t>
            </a:r>
          </a:p>
          <a:p>
            <a:pPr lvl="0"/>
            <a:endParaRPr lang="en-US" altLang="en-US" sz="2400" dirty="0" smtClean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  <a:p>
            <a:pPr lvl="0"/>
            <a:r>
              <a:rPr lang="en-US" altLang="en-US" sz="2400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In </a:t>
            </a:r>
            <a:r>
              <a:rPr lang="en-US" altLang="en-US" sz="2400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those allocated to </a:t>
            </a:r>
            <a:r>
              <a:rPr lang="en-US" altLang="en-US" sz="2400" b="1" dirty="0" smtClean="0">
                <a:solidFill>
                  <a:srgbClr val="CE08A8"/>
                </a:solidFill>
                <a:latin typeface="Mulish" pitchFamily="2" charset="0"/>
              </a:rPr>
              <a:t>EMPAGLIFLOZIN</a:t>
            </a:r>
            <a:r>
              <a:rPr lang="en-US" altLang="en-US" sz="2400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:</a:t>
            </a:r>
            <a:endParaRPr lang="en-US" altLang="en-US" sz="2400" dirty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  <a:p>
            <a:pPr lvl="0"/>
            <a:r>
              <a:rPr lang="en-US" altLang="en-US" sz="2400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</a:t>
            </a:r>
            <a:r>
              <a:rPr lang="en-US" altLang="en-US" sz="2400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   432 </a:t>
            </a:r>
            <a:r>
              <a:rPr lang="en-US" altLang="en-US" sz="2400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out of </a:t>
            </a:r>
            <a:r>
              <a:rPr lang="en-US" altLang="en-US" sz="2400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3304 </a:t>
            </a:r>
            <a:r>
              <a:rPr lang="en-US" altLang="en-US" sz="2400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people (</a:t>
            </a:r>
            <a:r>
              <a:rPr lang="en-US" altLang="en-US" sz="2400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13.1%) </a:t>
            </a:r>
            <a:r>
              <a:rPr lang="en-US" altLang="en-US" sz="2400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had one of these </a:t>
            </a:r>
            <a:r>
              <a:rPr lang="en-US" altLang="en-US" sz="2400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outcomes</a:t>
            </a:r>
            <a:endParaRPr kumimoji="0" lang="en-US" altLang="en-US" sz="2400" b="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2085022" y="3867149"/>
            <a:ext cx="8557945" cy="130501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/>
          <p:cNvSpPr txBox="1"/>
          <p:nvPr/>
        </p:nvSpPr>
        <p:spPr>
          <a:xfrm>
            <a:off x="2119985" y="3913662"/>
            <a:ext cx="84880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 smtClean="0">
                <a:solidFill>
                  <a:schemeClr val="bg1"/>
                </a:solidFill>
                <a:latin typeface="Mulish" pitchFamily="2" charset="0"/>
              </a:rPr>
              <a:t>The absolute risk of kidney disease progression or dying from heart (cardiovascular) disease in EMPA-KIDNEY participants is </a:t>
            </a:r>
            <a:r>
              <a:rPr lang="en-GB" sz="2400" b="1" dirty="0" smtClean="0">
                <a:solidFill>
                  <a:schemeClr val="bg1"/>
                </a:solidFill>
                <a:latin typeface="Mulish" pitchFamily="2" charset="0"/>
              </a:rPr>
              <a:t>reduced by 3.8% by taking empagliflozin</a:t>
            </a:r>
            <a:endParaRPr lang="en-GB" sz="2400" b="1" dirty="0">
              <a:solidFill>
                <a:schemeClr val="bg1"/>
              </a:solidFill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5148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ationale</a:t>
            </a:r>
            <a:endParaRPr lang="en-GB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1073912" y="2068734"/>
            <a:ext cx="0" cy="364308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1073912" y="5711820"/>
            <a:ext cx="458651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140178" y="1909077"/>
            <a:ext cx="933733" cy="3664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100</a:t>
            </a:r>
          </a:p>
          <a:p>
            <a:pPr algn="r"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90</a:t>
            </a:r>
          </a:p>
          <a:p>
            <a:pPr algn="r"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80</a:t>
            </a:r>
          </a:p>
          <a:p>
            <a:pPr algn="r"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70</a:t>
            </a:r>
          </a:p>
          <a:p>
            <a:pPr algn="r"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60</a:t>
            </a:r>
          </a:p>
          <a:p>
            <a:pPr algn="r"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50</a:t>
            </a:r>
          </a:p>
          <a:p>
            <a:pPr algn="r"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40</a:t>
            </a:r>
          </a:p>
          <a:p>
            <a:pPr algn="r"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30</a:t>
            </a:r>
          </a:p>
          <a:p>
            <a:pPr algn="r"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20</a:t>
            </a:r>
          </a:p>
          <a:p>
            <a:pPr algn="r"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10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60967" y="5830206"/>
            <a:ext cx="5603002" cy="417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25	35	45	55	65	75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489257" y="6288158"/>
            <a:ext cx="179529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Age (years)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 rot="16200000">
            <a:off x="-891665" y="3705610"/>
            <a:ext cx="262808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Kidney function: </a:t>
            </a:r>
            <a:r>
              <a:rPr lang="en-GB" dirty="0" err="1" smtClean="0">
                <a:latin typeface="Mulish" pitchFamily="2" charset="0"/>
              </a:rPr>
              <a:t>eGFR</a:t>
            </a:r>
            <a:endParaRPr lang="en-GB" dirty="0">
              <a:latin typeface="Mulish" pitchFamily="2" charset="0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1064362" y="2068734"/>
            <a:ext cx="1393455" cy="3193640"/>
          </a:xfrm>
          <a:prstGeom prst="line">
            <a:avLst/>
          </a:prstGeom>
          <a:ln>
            <a:solidFill>
              <a:srgbClr val="ED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1064362" y="5262375"/>
            <a:ext cx="458651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1283152" y="5315803"/>
            <a:ext cx="414893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Kidney failure: dialysis/transplant</a:t>
            </a:r>
            <a:endParaRPr lang="en-GB" dirty="0">
              <a:latin typeface="Mulish" pitchFamily="2" charset="0"/>
            </a:endParaRPr>
          </a:p>
        </p:txBody>
      </p:sp>
      <p:cxnSp>
        <p:nvCxnSpPr>
          <p:cNvPr id="38" name="Straight Connector 37"/>
          <p:cNvCxnSpPr/>
          <p:nvPr/>
        </p:nvCxnSpPr>
        <p:spPr>
          <a:xfrm>
            <a:off x="1064359" y="2068734"/>
            <a:ext cx="2694841" cy="3193640"/>
          </a:xfrm>
          <a:prstGeom prst="line">
            <a:avLst/>
          </a:prstGeom>
          <a:ln>
            <a:solidFill>
              <a:srgbClr val="ED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1073911" y="2068733"/>
            <a:ext cx="3929888" cy="3193641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0" name="Picture 2" descr="https://cdn-icons.flaticon.com/png/512/3974/premium/3974915.png?token=exp=1660217616~hmac=7f4cc16f5a1a7fb1cd2e97c4ec7650a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8590" y="4982314"/>
            <a:ext cx="810219" cy="810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4" name="Straight Connector 43"/>
          <p:cNvCxnSpPr/>
          <p:nvPr/>
        </p:nvCxnSpPr>
        <p:spPr>
          <a:xfrm>
            <a:off x="1083460" y="2068732"/>
            <a:ext cx="4407042" cy="1521293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2581328" y="2095474"/>
            <a:ext cx="3060000" cy="1044821"/>
          </a:xfrm>
          <a:prstGeom prst="line">
            <a:avLst/>
          </a:prstGeom>
          <a:ln>
            <a:solidFill>
              <a:srgbClr val="42B54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1073910" y="2068731"/>
            <a:ext cx="1507418" cy="26743"/>
          </a:xfrm>
          <a:prstGeom prst="line">
            <a:avLst/>
          </a:prstGeom>
          <a:ln>
            <a:solidFill>
              <a:srgbClr val="42B54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Content Placeholder 3"/>
          <p:cNvSpPr>
            <a:spLocks noGrp="1"/>
          </p:cNvSpPr>
          <p:nvPr>
            <p:ph sz="half" idx="4294967295"/>
          </p:nvPr>
        </p:nvSpPr>
        <p:spPr>
          <a:xfrm>
            <a:off x="6197600" y="1600206"/>
            <a:ext cx="5384800" cy="4525963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>
              <a:lnSpc>
                <a:spcPct val="120000"/>
              </a:lnSpc>
            </a:pPr>
            <a:r>
              <a:rPr lang="en-GB" sz="2800" b="1" u="sng" dirty="0" smtClean="0">
                <a:latin typeface="Mulish" pitchFamily="2" charset="0"/>
              </a:rPr>
              <a:t>Chronic</a:t>
            </a:r>
            <a:r>
              <a:rPr lang="en-GB" sz="2800" dirty="0" smtClean="0">
                <a:latin typeface="Mulish" pitchFamily="2" charset="0"/>
              </a:rPr>
              <a:t> kidney disease</a:t>
            </a:r>
          </a:p>
          <a:p>
            <a:pPr>
              <a:lnSpc>
                <a:spcPct val="120000"/>
              </a:lnSpc>
            </a:pPr>
            <a:r>
              <a:rPr lang="en-GB" sz="2800" dirty="0" smtClean="0">
                <a:latin typeface="Mulish" pitchFamily="2" charset="0"/>
              </a:rPr>
              <a:t>Declines over time</a:t>
            </a:r>
          </a:p>
          <a:p>
            <a:pPr>
              <a:lnSpc>
                <a:spcPct val="120000"/>
              </a:lnSpc>
            </a:pPr>
            <a:r>
              <a:rPr lang="en-GB" sz="2800" dirty="0" smtClean="0">
                <a:latin typeface="Mulish" pitchFamily="2" charset="0"/>
              </a:rPr>
              <a:t>Eventual outcome: dialysis or kidney transplant</a:t>
            </a:r>
          </a:p>
          <a:p>
            <a:pPr>
              <a:lnSpc>
                <a:spcPct val="120000"/>
              </a:lnSpc>
            </a:pPr>
            <a:r>
              <a:rPr lang="en-GB" sz="2800" dirty="0" smtClean="0">
                <a:latin typeface="Mulish" pitchFamily="2" charset="0"/>
              </a:rPr>
              <a:t>Rate of decline varies by person</a:t>
            </a:r>
          </a:p>
          <a:p>
            <a:pPr>
              <a:lnSpc>
                <a:spcPct val="120000"/>
              </a:lnSpc>
            </a:pPr>
            <a:r>
              <a:rPr lang="en-GB" sz="2800" dirty="0" smtClean="0">
                <a:latin typeface="Mulish" pitchFamily="2" charset="0"/>
              </a:rPr>
              <a:t>Aim: slow the rate of decline = delay dialysis/transplant</a:t>
            </a:r>
            <a:endParaRPr lang="en-GB" sz="2800" dirty="0">
              <a:latin typeface="Mulish" pitchFamily="2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635810" y="4096468"/>
            <a:ext cx="1577551" cy="408623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Fast decline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126356" y="2746566"/>
            <a:ext cx="1577551" cy="715089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Moderate decline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706817" y="1590840"/>
            <a:ext cx="4314991" cy="408623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Slower decline beginning later in life</a:t>
            </a:r>
            <a:endParaRPr lang="en-GB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9196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Kidney disease progression or </a:t>
            </a:r>
            <a:br>
              <a:rPr lang="en-GB" dirty="0"/>
            </a:br>
            <a:r>
              <a:rPr lang="en-GB" dirty="0"/>
              <a:t>death from heart (cardiovascular) disease</a:t>
            </a:r>
          </a:p>
        </p:txBody>
      </p:sp>
      <p:cxnSp>
        <p:nvCxnSpPr>
          <p:cNvPr id="13" name="Straight Connector 12"/>
          <p:cNvCxnSpPr/>
          <p:nvPr/>
        </p:nvCxnSpPr>
        <p:spPr>
          <a:xfrm flipH="1" flipV="1">
            <a:off x="5643325" y="3021170"/>
            <a:ext cx="719" cy="3240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5">
            <a:extLst>
              <a:ext uri="{FF2B5EF4-FFF2-40B4-BE49-F238E27FC236}">
                <a16:creationId xmlns:a16="http://schemas.microsoft.com/office/drawing/2014/main" id="{A45C65F4-E18D-F841-AC3E-F2725455BB0E}"/>
              </a:ext>
            </a:extLst>
          </p:cNvPr>
          <p:cNvSpPr txBox="1"/>
          <p:nvPr/>
        </p:nvSpPr>
        <p:spPr>
          <a:xfrm>
            <a:off x="3583550" y="3557995"/>
            <a:ext cx="2400646" cy="1031630"/>
          </a:xfrm>
          <a:prstGeom prst="roundRect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72000" tIns="72000" rIns="72000" bIns="72000" rtlCol="0" anchor="ctr">
            <a:noAutofit/>
          </a:bodyPr>
          <a:lstStyle>
            <a:defPPr>
              <a:defRPr lang="en-US"/>
            </a:defPPr>
            <a:lvl1pPr>
              <a:spcBef>
                <a:spcPts val="800"/>
              </a:spcBef>
              <a:spcAft>
                <a:spcPts val="400"/>
              </a:spcAft>
              <a:defRPr b="1"/>
            </a:lvl1pPr>
            <a:lvl3pPr marL="0" lvl="2" defTabSz="1219170">
              <a:buClr>
                <a:schemeClr val="bg1"/>
              </a:buClr>
              <a:defRPr sz="1200">
                <a:ea typeface="ＭＳ Ｐゴシック" pitchFamily="34" charset="-128"/>
                <a:cs typeface="Arial" pitchFamily="34" charset="0"/>
              </a:defRPr>
            </a:lvl3pPr>
          </a:lstStyle>
          <a:p>
            <a:pPr lvl="0" algn="ctr" defTabSz="45720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kern="0" dirty="0">
                <a:solidFill>
                  <a:prstClr val="black"/>
                </a:solidFill>
                <a:latin typeface="Mulish" pitchFamily="2" charset="0"/>
              </a:rPr>
              <a:t>Dies </a:t>
            </a:r>
            <a:r>
              <a:rPr lang="en-GB" sz="2000" b="0" kern="0" dirty="0">
                <a:solidFill>
                  <a:prstClr val="black"/>
                </a:solidFill>
                <a:latin typeface="Mulish" pitchFamily="2" charset="0"/>
              </a:rPr>
              <a:t>during the trial </a:t>
            </a:r>
            <a:r>
              <a:rPr lang="en-GB" sz="2000" kern="0" dirty="0">
                <a:solidFill>
                  <a:prstClr val="black"/>
                </a:solidFill>
                <a:latin typeface="Mulish" pitchFamily="2" charset="0"/>
              </a:rPr>
              <a:t>because of kidney failure</a:t>
            </a:r>
          </a:p>
        </p:txBody>
      </p:sp>
      <p:sp>
        <p:nvSpPr>
          <p:cNvPr id="15" name="TextBox 20">
            <a:extLst>
              <a:ext uri="{FF2B5EF4-FFF2-40B4-BE49-F238E27FC236}">
                <a16:creationId xmlns:a16="http://schemas.microsoft.com/office/drawing/2014/main" id="{107893A3-085A-A344-B920-31EAE60F92BA}"/>
              </a:ext>
            </a:extLst>
          </p:cNvPr>
          <p:cNvSpPr txBox="1"/>
          <p:nvPr/>
        </p:nvSpPr>
        <p:spPr>
          <a:xfrm>
            <a:off x="6369577" y="3555444"/>
            <a:ext cx="2950637" cy="1031629"/>
          </a:xfrm>
          <a:prstGeom prst="roundRect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72000" tIns="72000" rIns="72000" bIns="72000" rtlCol="0" anchor="ctr">
            <a:noAutofit/>
          </a:bodyPr>
          <a:lstStyle>
            <a:defPPr>
              <a:defRPr lang="en-US"/>
            </a:defPPr>
            <a:lvl1pPr>
              <a:spcBef>
                <a:spcPts val="800"/>
              </a:spcBef>
              <a:spcAft>
                <a:spcPts val="400"/>
              </a:spcAft>
              <a:defRPr b="1"/>
            </a:lvl1pPr>
            <a:lvl3pPr marL="0" lvl="2" defTabSz="1219170">
              <a:buClr>
                <a:schemeClr val="bg1"/>
              </a:buClr>
              <a:defRPr sz="1200">
                <a:ea typeface="ＭＳ Ｐゴシック" pitchFamily="34" charset="-128"/>
                <a:cs typeface="Arial" pitchFamily="34" charset="0"/>
              </a:defRPr>
            </a:lvl3pPr>
          </a:lstStyle>
          <a:p>
            <a:pPr lvl="0" algn="ctr" defTabSz="45720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b="0" kern="0" dirty="0">
                <a:solidFill>
                  <a:prstClr val="black"/>
                </a:solidFill>
                <a:latin typeface="Mulish" pitchFamily="2" charset="0"/>
              </a:rPr>
              <a:t>Meets specific criteria based on </a:t>
            </a:r>
            <a:r>
              <a:rPr lang="en-GB" sz="2000" kern="0" dirty="0">
                <a:solidFill>
                  <a:prstClr val="black"/>
                </a:solidFill>
                <a:latin typeface="Mulish" pitchFamily="2" charset="0"/>
              </a:rPr>
              <a:t>change in eGFR </a:t>
            </a:r>
            <a:r>
              <a:rPr lang="en-GB" sz="2000" b="0" kern="0" dirty="0">
                <a:solidFill>
                  <a:prstClr val="black"/>
                </a:solidFill>
                <a:latin typeface="Mulish" pitchFamily="2" charset="0"/>
              </a:rPr>
              <a:t>during the trial</a:t>
            </a:r>
          </a:p>
        </p:txBody>
      </p:sp>
      <p:sp>
        <p:nvSpPr>
          <p:cNvPr id="16" name="Rechteck 14">
            <a:extLst>
              <a:ext uri="{FF2B5EF4-FFF2-40B4-BE49-F238E27FC236}">
                <a16:creationId xmlns:a16="http://schemas.microsoft.com/office/drawing/2014/main" id="{DAD1E1BD-0D8A-2348-8B7B-09F7641C4568}"/>
              </a:ext>
            </a:extLst>
          </p:cNvPr>
          <p:cNvSpPr/>
          <p:nvPr/>
        </p:nvSpPr>
        <p:spPr>
          <a:xfrm>
            <a:off x="4349852" y="2401535"/>
            <a:ext cx="2304000" cy="63709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90000" tIns="108000" bIns="108000" rtlCol="0" anchor="ctr">
            <a:noAutofit/>
          </a:bodyPr>
          <a:lstStyle/>
          <a:p>
            <a:pPr marL="0" marR="0" lvl="2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Kidney disease progression</a:t>
            </a:r>
          </a:p>
        </p:txBody>
      </p:sp>
      <p:sp>
        <p:nvSpPr>
          <p:cNvPr id="17" name="Rechteck 14">
            <a:extLst>
              <a:ext uri="{FF2B5EF4-FFF2-40B4-BE49-F238E27FC236}">
                <a16:creationId xmlns:a16="http://schemas.microsoft.com/office/drawing/2014/main" id="{54D898B0-0C3C-CE48-9DA1-6FD93F125A29}"/>
              </a:ext>
            </a:extLst>
          </p:cNvPr>
          <p:cNvSpPr/>
          <p:nvPr/>
        </p:nvSpPr>
        <p:spPr>
          <a:xfrm>
            <a:off x="626242" y="2424493"/>
            <a:ext cx="3207108" cy="60996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28575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lIns="90000" tIns="108000" bIns="108000" rtlCol="0" anchor="ctr">
            <a:noAutofit/>
          </a:bodyPr>
          <a:lstStyle/>
          <a:p>
            <a:pPr marL="0" marR="0" lvl="2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Death from heart (cardiovascular)</a:t>
            </a:r>
            <a:r>
              <a:rPr kumimoji="0" lang="en-GB" sz="2000" b="1" i="0" u="none" strike="noStrike" kern="1200" cap="none" spc="0" normalizeH="0" noProof="0" dirty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 disease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515151"/>
              </a:solidFill>
              <a:effectLst/>
              <a:uLnTx/>
              <a:uFillTx/>
              <a:latin typeface="Mulish" pitchFamily="2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31B79D3-A183-5249-A821-DA6E546435C7}"/>
              </a:ext>
            </a:extLst>
          </p:cNvPr>
          <p:cNvSpPr txBox="1"/>
          <p:nvPr/>
        </p:nvSpPr>
        <p:spPr>
          <a:xfrm>
            <a:off x="3833351" y="2550479"/>
            <a:ext cx="490840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Mulish" pitchFamily="2" charset="0"/>
              </a:rPr>
              <a:t>O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8B017B6-0537-934D-9D42-784EE0FE87EE}"/>
              </a:ext>
            </a:extLst>
          </p:cNvPr>
          <p:cNvSpPr txBox="1"/>
          <p:nvPr/>
        </p:nvSpPr>
        <p:spPr>
          <a:xfrm>
            <a:off x="1717039" y="1642849"/>
            <a:ext cx="42899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Mulish" pitchFamily="2" charset="0"/>
              </a:rPr>
              <a:t>Primary</a:t>
            </a:r>
            <a:r>
              <a:rPr kumimoji="0" lang="en-GB" sz="2400" b="1" i="0" u="none" strike="noStrike" kern="1200" cap="none" spc="0" normalizeH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Mulish" pitchFamily="2" charset="0"/>
              </a:rPr>
              <a:t> composite outcome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Mulish" pitchFamily="2" charset="0"/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4783873" y="3338820"/>
            <a:ext cx="0" cy="2160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844895" y="3335645"/>
            <a:ext cx="0" cy="2160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1898828" y="3345170"/>
            <a:ext cx="594606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" descr="https://cdn-icons-png.flaticon.com/512/949/949878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4357" y="2232315"/>
            <a:ext cx="2448058" cy="2448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0">
            <a:extLst>
              <a:ext uri="{FF2B5EF4-FFF2-40B4-BE49-F238E27FC236}">
                <a16:creationId xmlns:a16="http://schemas.microsoft.com/office/drawing/2014/main" id="{107893A3-085A-A344-B920-31EAE60F92BA}"/>
              </a:ext>
            </a:extLst>
          </p:cNvPr>
          <p:cNvSpPr txBox="1"/>
          <p:nvPr/>
        </p:nvSpPr>
        <p:spPr>
          <a:xfrm>
            <a:off x="609600" y="3558230"/>
            <a:ext cx="2590799" cy="1031629"/>
          </a:xfrm>
          <a:prstGeom prst="roundRect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72000" tIns="72000" rIns="72000" bIns="72000" rtlCol="0" anchor="ctr">
            <a:noAutofit/>
          </a:bodyPr>
          <a:lstStyle>
            <a:defPPr>
              <a:defRPr lang="en-US"/>
            </a:defPPr>
            <a:lvl1pPr>
              <a:spcBef>
                <a:spcPts val="800"/>
              </a:spcBef>
              <a:spcAft>
                <a:spcPts val="400"/>
              </a:spcAft>
              <a:defRPr b="1"/>
            </a:lvl1pPr>
            <a:lvl3pPr marL="0" lvl="2" defTabSz="1219170">
              <a:buClr>
                <a:schemeClr val="bg1"/>
              </a:buClr>
              <a:defRPr sz="1200">
                <a:ea typeface="ＭＳ Ｐゴシック" pitchFamily="34" charset="-128"/>
                <a:cs typeface="Arial" pitchFamily="34" charset="0"/>
              </a:defRPr>
            </a:lvl3pPr>
          </a:lstStyle>
          <a:p>
            <a:pPr lvl="0" algn="ctr" defTabSz="45720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b="0" kern="0" dirty="0">
                <a:solidFill>
                  <a:prstClr val="black"/>
                </a:solidFill>
                <a:latin typeface="Mulish" pitchFamily="2" charset="0"/>
              </a:rPr>
              <a:t>Starts </a:t>
            </a:r>
            <a:r>
              <a:rPr lang="en-GB" sz="2000" kern="0" dirty="0">
                <a:solidFill>
                  <a:prstClr val="black"/>
                </a:solidFill>
                <a:latin typeface="Mulish" pitchFamily="2" charset="0"/>
              </a:rPr>
              <a:t>dialysis or receives transplant </a:t>
            </a:r>
            <a:r>
              <a:rPr lang="en-GB" sz="2000" b="0" kern="0" dirty="0">
                <a:solidFill>
                  <a:prstClr val="black"/>
                </a:solidFill>
                <a:latin typeface="Mulish" pitchFamily="2" charset="0"/>
              </a:rPr>
              <a:t>during the trial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>
            <a:off x="1898828" y="3335585"/>
            <a:ext cx="0" cy="2160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9905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Kidney disease progression or </a:t>
            </a:r>
            <a:br>
              <a:rPr lang="en-GB" dirty="0"/>
            </a:br>
            <a:r>
              <a:rPr lang="en-GB" dirty="0"/>
              <a:t>death from heart (cardiovascular) disease</a:t>
            </a:r>
          </a:p>
        </p:txBody>
      </p:sp>
      <p:sp>
        <p:nvSpPr>
          <p:cNvPr id="16" name="Rechteck 14">
            <a:extLst>
              <a:ext uri="{FF2B5EF4-FFF2-40B4-BE49-F238E27FC236}">
                <a16:creationId xmlns:a16="http://schemas.microsoft.com/office/drawing/2014/main" id="{DAD1E1BD-0D8A-2348-8B7B-09F7641C4568}"/>
              </a:ext>
            </a:extLst>
          </p:cNvPr>
          <p:cNvSpPr/>
          <p:nvPr/>
        </p:nvSpPr>
        <p:spPr>
          <a:xfrm>
            <a:off x="4349852" y="2401535"/>
            <a:ext cx="2304000" cy="63709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90000" tIns="108000" bIns="108000" rtlCol="0" anchor="ctr">
            <a:noAutofit/>
          </a:bodyPr>
          <a:lstStyle/>
          <a:p>
            <a:pPr marL="0" marR="0" lvl="2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Kidney disease progression</a:t>
            </a:r>
          </a:p>
        </p:txBody>
      </p:sp>
      <p:sp>
        <p:nvSpPr>
          <p:cNvPr id="17" name="Rechteck 14">
            <a:extLst>
              <a:ext uri="{FF2B5EF4-FFF2-40B4-BE49-F238E27FC236}">
                <a16:creationId xmlns:a16="http://schemas.microsoft.com/office/drawing/2014/main" id="{54D898B0-0C3C-CE48-9DA1-6FD93F125A29}"/>
              </a:ext>
            </a:extLst>
          </p:cNvPr>
          <p:cNvSpPr/>
          <p:nvPr/>
        </p:nvSpPr>
        <p:spPr>
          <a:xfrm>
            <a:off x="626242" y="2424493"/>
            <a:ext cx="3207108" cy="60996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28575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 lIns="90000" tIns="108000" bIns="108000" rtlCol="0" anchor="ctr">
            <a:noAutofit/>
          </a:bodyPr>
          <a:lstStyle/>
          <a:p>
            <a:pPr marL="0" marR="0" lvl="2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Death from heart (cardiovascular)</a:t>
            </a:r>
            <a:r>
              <a:rPr kumimoji="0" lang="en-GB" sz="2000" b="1" i="0" u="none" strike="noStrike" kern="1200" cap="none" spc="0" normalizeH="0" noProof="0" dirty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 disease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515151"/>
              </a:solidFill>
              <a:effectLst/>
              <a:uLnTx/>
              <a:uFillTx/>
              <a:latin typeface="Mulish" pitchFamily="2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31B79D3-A183-5249-A821-DA6E546435C7}"/>
              </a:ext>
            </a:extLst>
          </p:cNvPr>
          <p:cNvSpPr txBox="1"/>
          <p:nvPr/>
        </p:nvSpPr>
        <p:spPr>
          <a:xfrm>
            <a:off x="3833351" y="2550479"/>
            <a:ext cx="490840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Mulish" pitchFamily="2" charset="0"/>
              </a:rPr>
              <a:t>O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8B017B6-0537-934D-9D42-784EE0FE87EE}"/>
              </a:ext>
            </a:extLst>
          </p:cNvPr>
          <p:cNvSpPr txBox="1"/>
          <p:nvPr/>
        </p:nvSpPr>
        <p:spPr>
          <a:xfrm>
            <a:off x="1717039" y="1642849"/>
            <a:ext cx="42899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Mulish" pitchFamily="2" charset="0"/>
              </a:rPr>
              <a:t>Primary</a:t>
            </a:r>
            <a:r>
              <a:rPr kumimoji="0" lang="en-GB" sz="2400" b="1" i="0" u="none" strike="noStrike" kern="1200" cap="none" spc="0" normalizeH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Mulish" pitchFamily="2" charset="0"/>
              </a:rPr>
              <a:t> composite outcome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Mulish" pitchFamily="2" charset="0"/>
            </a:endParaRPr>
          </a:p>
        </p:txBody>
      </p:sp>
      <p:pic>
        <p:nvPicPr>
          <p:cNvPr id="23" name="Picture 2" descr="https://cdn-icons-png.flaticon.com/512/949/949878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4357" y="2232315"/>
            <a:ext cx="2448058" cy="2448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48B017B6-0537-934D-9D42-784EE0FE87EE}"/>
              </a:ext>
            </a:extLst>
          </p:cNvPr>
          <p:cNvSpPr txBox="1"/>
          <p:nvPr/>
        </p:nvSpPr>
        <p:spPr>
          <a:xfrm>
            <a:off x="2282029" y="3892970"/>
            <a:ext cx="76279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Mulish" pitchFamily="2" charset="0"/>
              </a:rPr>
              <a:t>In total 990 participants had kidney </a:t>
            </a:r>
            <a:r>
              <a:rPr kumimoji="0" lang="en-GB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Mulish" pitchFamily="2" charset="0"/>
              </a:rPr>
              <a:t>diseas</a:t>
            </a:r>
            <a:r>
              <a:rPr lang="en-GB" sz="24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e progression OR died from cardiovascular disea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2400" b="1" dirty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0095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Both components examined separately</a:t>
            </a:r>
            <a:endParaRPr dirty="0"/>
          </a:p>
        </p:txBody>
      </p:sp>
      <p:grpSp>
        <p:nvGrpSpPr>
          <p:cNvPr id="4" name="Group 3"/>
          <p:cNvGrpSpPr/>
          <p:nvPr/>
        </p:nvGrpSpPr>
        <p:grpSpPr>
          <a:xfrm>
            <a:off x="160360" y="2289865"/>
            <a:ext cx="5315388" cy="3939361"/>
            <a:chOff x="643098" y="1838326"/>
            <a:chExt cx="10423141" cy="3939361"/>
          </a:xfrm>
        </p:grpSpPr>
        <p:sp>
          <p:nvSpPr>
            <p:cNvPr id="6" name="Line 5"/>
            <p:cNvSpPr>
              <a:spLocks noChangeShapeType="1"/>
            </p:cNvSpPr>
            <p:nvPr/>
          </p:nvSpPr>
          <p:spPr bwMode="auto">
            <a:xfrm>
              <a:off x="2538413" y="5138738"/>
              <a:ext cx="8183563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7" name="Line 6"/>
            <p:cNvSpPr>
              <a:spLocks noChangeShapeType="1"/>
            </p:cNvSpPr>
            <p:nvPr/>
          </p:nvSpPr>
          <p:spPr bwMode="auto">
            <a:xfrm flipV="1">
              <a:off x="2538413" y="2036763"/>
              <a:ext cx="0" cy="3101975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2538413" y="5138738"/>
              <a:ext cx="8183563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2538413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4176713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1" name="Line 10"/>
            <p:cNvSpPr>
              <a:spLocks noChangeShapeType="1"/>
            </p:cNvSpPr>
            <p:nvPr/>
          </p:nvSpPr>
          <p:spPr bwMode="auto">
            <a:xfrm>
              <a:off x="4176713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2" name="Line 11"/>
            <p:cNvSpPr>
              <a:spLocks noChangeShapeType="1"/>
            </p:cNvSpPr>
            <p:nvPr/>
          </p:nvSpPr>
          <p:spPr bwMode="auto">
            <a:xfrm>
              <a:off x="5816600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3" name="Line 12"/>
            <p:cNvSpPr>
              <a:spLocks noChangeShapeType="1"/>
            </p:cNvSpPr>
            <p:nvPr/>
          </p:nvSpPr>
          <p:spPr bwMode="auto">
            <a:xfrm>
              <a:off x="5816600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4" name="Line 13"/>
            <p:cNvSpPr>
              <a:spLocks noChangeShapeType="1"/>
            </p:cNvSpPr>
            <p:nvPr/>
          </p:nvSpPr>
          <p:spPr bwMode="auto">
            <a:xfrm>
              <a:off x="7454900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5" name="Line 14"/>
            <p:cNvSpPr>
              <a:spLocks noChangeShapeType="1"/>
            </p:cNvSpPr>
            <p:nvPr/>
          </p:nvSpPr>
          <p:spPr bwMode="auto">
            <a:xfrm>
              <a:off x="7454900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6" name="Line 15"/>
            <p:cNvSpPr>
              <a:spLocks noChangeShapeType="1"/>
            </p:cNvSpPr>
            <p:nvPr/>
          </p:nvSpPr>
          <p:spPr bwMode="auto">
            <a:xfrm>
              <a:off x="9083675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7" name="Line 16"/>
            <p:cNvSpPr>
              <a:spLocks noChangeShapeType="1"/>
            </p:cNvSpPr>
            <p:nvPr/>
          </p:nvSpPr>
          <p:spPr bwMode="auto">
            <a:xfrm>
              <a:off x="9083675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8" name="Line 17"/>
            <p:cNvSpPr>
              <a:spLocks noChangeShapeType="1"/>
            </p:cNvSpPr>
            <p:nvPr/>
          </p:nvSpPr>
          <p:spPr bwMode="auto">
            <a:xfrm>
              <a:off x="10721975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9" name="Line 18"/>
            <p:cNvSpPr>
              <a:spLocks noChangeShapeType="1"/>
            </p:cNvSpPr>
            <p:nvPr/>
          </p:nvSpPr>
          <p:spPr bwMode="auto">
            <a:xfrm flipV="1">
              <a:off x="2538413" y="2036763"/>
              <a:ext cx="0" cy="3101975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0" name="Line 19"/>
            <p:cNvSpPr>
              <a:spLocks noChangeShapeType="1"/>
            </p:cNvSpPr>
            <p:nvPr/>
          </p:nvSpPr>
          <p:spPr bwMode="auto">
            <a:xfrm flipH="1">
              <a:off x="2444750" y="5138738"/>
              <a:ext cx="93663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1" name="Line 20"/>
            <p:cNvSpPr>
              <a:spLocks noChangeShapeType="1"/>
            </p:cNvSpPr>
            <p:nvPr/>
          </p:nvSpPr>
          <p:spPr bwMode="auto">
            <a:xfrm flipH="1">
              <a:off x="2444750" y="4365626"/>
              <a:ext cx="93663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2" name="Line 21"/>
            <p:cNvSpPr>
              <a:spLocks noChangeShapeType="1"/>
            </p:cNvSpPr>
            <p:nvPr/>
          </p:nvSpPr>
          <p:spPr bwMode="auto">
            <a:xfrm flipH="1">
              <a:off x="2444750" y="3594101"/>
              <a:ext cx="93663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3" name="Line 22"/>
            <p:cNvSpPr>
              <a:spLocks noChangeShapeType="1"/>
            </p:cNvSpPr>
            <p:nvPr/>
          </p:nvSpPr>
          <p:spPr bwMode="auto">
            <a:xfrm flipH="1">
              <a:off x="2444750" y="2820988"/>
              <a:ext cx="93663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4" name="Line 23"/>
            <p:cNvSpPr>
              <a:spLocks noChangeShapeType="1"/>
            </p:cNvSpPr>
            <p:nvPr/>
          </p:nvSpPr>
          <p:spPr bwMode="auto">
            <a:xfrm flipH="1">
              <a:off x="2444750" y="2036763"/>
              <a:ext cx="93663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2344739" y="5278438"/>
              <a:ext cx="2703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3856039" y="5278438"/>
              <a:ext cx="65382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.5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5624514" y="5278438"/>
              <a:ext cx="2703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7134225" y="5278438"/>
              <a:ext cx="65382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.5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8902700" y="5278438"/>
              <a:ext cx="2703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>
              <a:off x="10412414" y="5278438"/>
              <a:ext cx="65382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.5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1939927" y="4938713"/>
              <a:ext cx="2703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1765299" y="4167188"/>
              <a:ext cx="54066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1765299" y="3394076"/>
              <a:ext cx="54066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" name="Rectangle 33"/>
            <p:cNvSpPr>
              <a:spLocks noChangeArrowheads="1"/>
            </p:cNvSpPr>
            <p:nvPr/>
          </p:nvSpPr>
          <p:spPr bwMode="auto">
            <a:xfrm>
              <a:off x="1765299" y="2622551"/>
              <a:ext cx="54066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" name="Rectangle 34"/>
            <p:cNvSpPr>
              <a:spLocks noChangeArrowheads="1"/>
            </p:cNvSpPr>
            <p:nvPr/>
          </p:nvSpPr>
          <p:spPr bwMode="auto">
            <a:xfrm>
              <a:off x="1765299" y="1838326"/>
              <a:ext cx="54066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4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" name="Rectangle 35"/>
            <p:cNvSpPr>
              <a:spLocks noChangeArrowheads="1"/>
            </p:cNvSpPr>
            <p:nvPr/>
          </p:nvSpPr>
          <p:spPr bwMode="auto">
            <a:xfrm>
              <a:off x="5160964" y="5500688"/>
              <a:ext cx="407697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Years of Follow-up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" name="Rectangle 36"/>
            <p:cNvSpPr>
              <a:spLocks noChangeArrowheads="1"/>
            </p:cNvSpPr>
            <p:nvPr/>
          </p:nvSpPr>
          <p:spPr bwMode="auto">
            <a:xfrm rot="16200000">
              <a:off x="-596945" y="3310591"/>
              <a:ext cx="3023264" cy="543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Participants with Event (%)</a:t>
              </a:r>
              <a:endParaRPr kumimoji="0" lang="en-US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2538413" y="4178301"/>
              <a:ext cx="6227763" cy="960438"/>
            </a:xfrm>
            <a:custGeom>
              <a:avLst/>
              <a:gdLst>
                <a:gd name="T0" fmla="*/ 287 w 3923"/>
                <a:gd name="T1" fmla="*/ 605 h 605"/>
                <a:gd name="T2" fmla="*/ 376 w 3923"/>
                <a:gd name="T3" fmla="*/ 598 h 605"/>
                <a:gd name="T4" fmla="*/ 487 w 3923"/>
                <a:gd name="T5" fmla="*/ 590 h 605"/>
                <a:gd name="T6" fmla="*/ 627 w 3923"/>
                <a:gd name="T7" fmla="*/ 590 h 605"/>
                <a:gd name="T8" fmla="*/ 730 w 3923"/>
                <a:gd name="T9" fmla="*/ 590 h 605"/>
                <a:gd name="T10" fmla="*/ 841 w 3923"/>
                <a:gd name="T11" fmla="*/ 583 h 605"/>
                <a:gd name="T12" fmla="*/ 914 w 3923"/>
                <a:gd name="T13" fmla="*/ 583 h 605"/>
                <a:gd name="T14" fmla="*/ 988 w 3923"/>
                <a:gd name="T15" fmla="*/ 568 h 605"/>
                <a:gd name="T16" fmla="*/ 1062 w 3923"/>
                <a:gd name="T17" fmla="*/ 553 h 605"/>
                <a:gd name="T18" fmla="*/ 1121 w 3923"/>
                <a:gd name="T19" fmla="*/ 546 h 605"/>
                <a:gd name="T20" fmla="*/ 1209 w 3923"/>
                <a:gd name="T21" fmla="*/ 539 h 605"/>
                <a:gd name="T22" fmla="*/ 1357 w 3923"/>
                <a:gd name="T23" fmla="*/ 539 h 605"/>
                <a:gd name="T24" fmla="*/ 1460 w 3923"/>
                <a:gd name="T25" fmla="*/ 539 h 605"/>
                <a:gd name="T26" fmla="*/ 1534 w 3923"/>
                <a:gd name="T27" fmla="*/ 524 h 605"/>
                <a:gd name="T28" fmla="*/ 1622 w 3923"/>
                <a:gd name="T29" fmla="*/ 517 h 605"/>
                <a:gd name="T30" fmla="*/ 1755 w 3923"/>
                <a:gd name="T31" fmla="*/ 517 h 605"/>
                <a:gd name="T32" fmla="*/ 1829 w 3923"/>
                <a:gd name="T33" fmla="*/ 509 h 605"/>
                <a:gd name="T34" fmla="*/ 1888 w 3923"/>
                <a:gd name="T35" fmla="*/ 494 h 605"/>
                <a:gd name="T36" fmla="*/ 1932 w 3923"/>
                <a:gd name="T37" fmla="*/ 480 h 605"/>
                <a:gd name="T38" fmla="*/ 1984 w 3923"/>
                <a:gd name="T39" fmla="*/ 465 h 605"/>
                <a:gd name="T40" fmla="*/ 2028 w 3923"/>
                <a:gd name="T41" fmla="*/ 450 h 605"/>
                <a:gd name="T42" fmla="*/ 2080 w 3923"/>
                <a:gd name="T43" fmla="*/ 421 h 605"/>
                <a:gd name="T44" fmla="*/ 2124 w 3923"/>
                <a:gd name="T45" fmla="*/ 406 h 605"/>
                <a:gd name="T46" fmla="*/ 2168 w 3923"/>
                <a:gd name="T47" fmla="*/ 399 h 605"/>
                <a:gd name="T48" fmla="*/ 2212 w 3923"/>
                <a:gd name="T49" fmla="*/ 391 h 605"/>
                <a:gd name="T50" fmla="*/ 2257 w 3923"/>
                <a:gd name="T51" fmla="*/ 391 h 605"/>
                <a:gd name="T52" fmla="*/ 2316 w 3923"/>
                <a:gd name="T53" fmla="*/ 384 h 605"/>
                <a:gd name="T54" fmla="*/ 2360 w 3923"/>
                <a:gd name="T55" fmla="*/ 376 h 605"/>
                <a:gd name="T56" fmla="*/ 2404 w 3923"/>
                <a:gd name="T57" fmla="*/ 362 h 605"/>
                <a:gd name="T58" fmla="*/ 2448 w 3923"/>
                <a:gd name="T59" fmla="*/ 362 h 605"/>
                <a:gd name="T60" fmla="*/ 2493 w 3923"/>
                <a:gd name="T61" fmla="*/ 362 h 605"/>
                <a:gd name="T62" fmla="*/ 2537 w 3923"/>
                <a:gd name="T63" fmla="*/ 362 h 605"/>
                <a:gd name="T64" fmla="*/ 2589 w 3923"/>
                <a:gd name="T65" fmla="*/ 354 h 605"/>
                <a:gd name="T66" fmla="*/ 2633 w 3923"/>
                <a:gd name="T67" fmla="*/ 347 h 605"/>
                <a:gd name="T68" fmla="*/ 2677 w 3923"/>
                <a:gd name="T69" fmla="*/ 340 h 605"/>
                <a:gd name="T70" fmla="*/ 2721 w 3923"/>
                <a:gd name="T71" fmla="*/ 340 h 605"/>
                <a:gd name="T72" fmla="*/ 2766 w 3923"/>
                <a:gd name="T73" fmla="*/ 332 h 605"/>
                <a:gd name="T74" fmla="*/ 2810 w 3923"/>
                <a:gd name="T75" fmla="*/ 332 h 605"/>
                <a:gd name="T76" fmla="*/ 2854 w 3923"/>
                <a:gd name="T77" fmla="*/ 310 h 605"/>
                <a:gd name="T78" fmla="*/ 2906 w 3923"/>
                <a:gd name="T79" fmla="*/ 303 h 605"/>
                <a:gd name="T80" fmla="*/ 2950 w 3923"/>
                <a:gd name="T81" fmla="*/ 281 h 605"/>
                <a:gd name="T82" fmla="*/ 2994 w 3923"/>
                <a:gd name="T83" fmla="*/ 266 h 605"/>
                <a:gd name="T84" fmla="*/ 3038 w 3923"/>
                <a:gd name="T85" fmla="*/ 244 h 605"/>
                <a:gd name="T86" fmla="*/ 3083 w 3923"/>
                <a:gd name="T87" fmla="*/ 222 h 605"/>
                <a:gd name="T88" fmla="*/ 3127 w 3923"/>
                <a:gd name="T89" fmla="*/ 200 h 605"/>
                <a:gd name="T90" fmla="*/ 3171 w 3923"/>
                <a:gd name="T91" fmla="*/ 170 h 605"/>
                <a:gd name="T92" fmla="*/ 3215 w 3923"/>
                <a:gd name="T93" fmla="*/ 141 h 605"/>
                <a:gd name="T94" fmla="*/ 3267 w 3923"/>
                <a:gd name="T95" fmla="*/ 126 h 605"/>
                <a:gd name="T96" fmla="*/ 3311 w 3923"/>
                <a:gd name="T97" fmla="*/ 111 h 605"/>
                <a:gd name="T98" fmla="*/ 3356 w 3923"/>
                <a:gd name="T99" fmla="*/ 104 h 605"/>
                <a:gd name="T100" fmla="*/ 3400 w 3923"/>
                <a:gd name="T101" fmla="*/ 89 h 605"/>
                <a:gd name="T102" fmla="*/ 3444 w 3923"/>
                <a:gd name="T103" fmla="*/ 74 h 605"/>
                <a:gd name="T104" fmla="*/ 3488 w 3923"/>
                <a:gd name="T105" fmla="*/ 74 h 605"/>
                <a:gd name="T106" fmla="*/ 3533 w 3923"/>
                <a:gd name="T107" fmla="*/ 74 h 605"/>
                <a:gd name="T108" fmla="*/ 3584 w 3923"/>
                <a:gd name="T109" fmla="*/ 67 h 605"/>
                <a:gd name="T110" fmla="*/ 3628 w 3923"/>
                <a:gd name="T111" fmla="*/ 52 h 605"/>
                <a:gd name="T112" fmla="*/ 3673 w 3923"/>
                <a:gd name="T113" fmla="*/ 45 h 605"/>
                <a:gd name="T114" fmla="*/ 3717 w 3923"/>
                <a:gd name="T115" fmla="*/ 37 h 605"/>
                <a:gd name="T116" fmla="*/ 3761 w 3923"/>
                <a:gd name="T117" fmla="*/ 30 h 605"/>
                <a:gd name="T118" fmla="*/ 3805 w 3923"/>
                <a:gd name="T119" fmla="*/ 23 h 605"/>
                <a:gd name="T120" fmla="*/ 3850 w 3923"/>
                <a:gd name="T121" fmla="*/ 15 h 605"/>
                <a:gd name="T122" fmla="*/ 3901 w 3923"/>
                <a:gd name="T123" fmla="*/ 8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923" h="605">
                  <a:moveTo>
                    <a:pt x="0" y="605"/>
                  </a:moveTo>
                  <a:lnTo>
                    <a:pt x="103" y="605"/>
                  </a:lnTo>
                  <a:lnTo>
                    <a:pt x="103" y="605"/>
                  </a:lnTo>
                  <a:lnTo>
                    <a:pt x="169" y="605"/>
                  </a:lnTo>
                  <a:lnTo>
                    <a:pt x="169" y="605"/>
                  </a:lnTo>
                  <a:lnTo>
                    <a:pt x="214" y="605"/>
                  </a:lnTo>
                  <a:lnTo>
                    <a:pt x="214" y="605"/>
                  </a:lnTo>
                  <a:lnTo>
                    <a:pt x="221" y="605"/>
                  </a:lnTo>
                  <a:lnTo>
                    <a:pt x="221" y="605"/>
                  </a:lnTo>
                  <a:lnTo>
                    <a:pt x="236" y="605"/>
                  </a:lnTo>
                  <a:lnTo>
                    <a:pt x="236" y="605"/>
                  </a:lnTo>
                  <a:lnTo>
                    <a:pt x="243" y="605"/>
                  </a:lnTo>
                  <a:lnTo>
                    <a:pt x="243" y="605"/>
                  </a:lnTo>
                  <a:lnTo>
                    <a:pt x="258" y="605"/>
                  </a:lnTo>
                  <a:lnTo>
                    <a:pt x="258" y="605"/>
                  </a:lnTo>
                  <a:lnTo>
                    <a:pt x="287" y="605"/>
                  </a:lnTo>
                  <a:lnTo>
                    <a:pt x="287" y="605"/>
                  </a:lnTo>
                  <a:lnTo>
                    <a:pt x="310" y="605"/>
                  </a:lnTo>
                  <a:lnTo>
                    <a:pt x="310" y="605"/>
                  </a:lnTo>
                  <a:lnTo>
                    <a:pt x="317" y="605"/>
                  </a:lnTo>
                  <a:lnTo>
                    <a:pt x="317" y="605"/>
                  </a:lnTo>
                  <a:lnTo>
                    <a:pt x="339" y="605"/>
                  </a:lnTo>
                  <a:lnTo>
                    <a:pt x="339" y="605"/>
                  </a:lnTo>
                  <a:lnTo>
                    <a:pt x="354" y="605"/>
                  </a:lnTo>
                  <a:lnTo>
                    <a:pt x="354" y="605"/>
                  </a:lnTo>
                  <a:lnTo>
                    <a:pt x="361" y="605"/>
                  </a:lnTo>
                  <a:lnTo>
                    <a:pt x="361" y="598"/>
                  </a:lnTo>
                  <a:lnTo>
                    <a:pt x="361" y="598"/>
                  </a:lnTo>
                  <a:lnTo>
                    <a:pt x="361" y="598"/>
                  </a:lnTo>
                  <a:lnTo>
                    <a:pt x="369" y="598"/>
                  </a:lnTo>
                  <a:lnTo>
                    <a:pt x="369" y="598"/>
                  </a:lnTo>
                  <a:lnTo>
                    <a:pt x="376" y="598"/>
                  </a:lnTo>
                  <a:lnTo>
                    <a:pt x="376" y="598"/>
                  </a:lnTo>
                  <a:lnTo>
                    <a:pt x="383" y="598"/>
                  </a:lnTo>
                  <a:lnTo>
                    <a:pt x="383" y="598"/>
                  </a:lnTo>
                  <a:lnTo>
                    <a:pt x="383" y="598"/>
                  </a:lnTo>
                  <a:lnTo>
                    <a:pt x="383" y="598"/>
                  </a:lnTo>
                  <a:lnTo>
                    <a:pt x="413" y="598"/>
                  </a:lnTo>
                  <a:lnTo>
                    <a:pt x="413" y="590"/>
                  </a:lnTo>
                  <a:lnTo>
                    <a:pt x="420" y="590"/>
                  </a:lnTo>
                  <a:lnTo>
                    <a:pt x="420" y="590"/>
                  </a:lnTo>
                  <a:lnTo>
                    <a:pt x="428" y="590"/>
                  </a:lnTo>
                  <a:lnTo>
                    <a:pt x="428" y="590"/>
                  </a:lnTo>
                  <a:lnTo>
                    <a:pt x="464" y="590"/>
                  </a:lnTo>
                  <a:lnTo>
                    <a:pt x="464" y="590"/>
                  </a:lnTo>
                  <a:lnTo>
                    <a:pt x="487" y="590"/>
                  </a:lnTo>
                  <a:lnTo>
                    <a:pt x="487" y="590"/>
                  </a:lnTo>
                  <a:lnTo>
                    <a:pt x="487" y="590"/>
                  </a:lnTo>
                  <a:lnTo>
                    <a:pt x="487" y="590"/>
                  </a:lnTo>
                  <a:lnTo>
                    <a:pt x="553" y="590"/>
                  </a:lnTo>
                  <a:lnTo>
                    <a:pt x="553" y="590"/>
                  </a:lnTo>
                  <a:lnTo>
                    <a:pt x="560" y="590"/>
                  </a:lnTo>
                  <a:lnTo>
                    <a:pt x="560" y="590"/>
                  </a:lnTo>
                  <a:lnTo>
                    <a:pt x="575" y="590"/>
                  </a:lnTo>
                  <a:lnTo>
                    <a:pt x="575" y="590"/>
                  </a:lnTo>
                  <a:lnTo>
                    <a:pt x="597" y="590"/>
                  </a:lnTo>
                  <a:lnTo>
                    <a:pt x="597" y="590"/>
                  </a:lnTo>
                  <a:lnTo>
                    <a:pt x="605" y="590"/>
                  </a:lnTo>
                  <a:lnTo>
                    <a:pt x="605" y="590"/>
                  </a:lnTo>
                  <a:lnTo>
                    <a:pt x="619" y="590"/>
                  </a:lnTo>
                  <a:lnTo>
                    <a:pt x="619" y="590"/>
                  </a:lnTo>
                  <a:lnTo>
                    <a:pt x="627" y="590"/>
                  </a:lnTo>
                  <a:lnTo>
                    <a:pt x="627" y="590"/>
                  </a:lnTo>
                  <a:lnTo>
                    <a:pt x="627" y="590"/>
                  </a:lnTo>
                  <a:lnTo>
                    <a:pt x="627" y="590"/>
                  </a:lnTo>
                  <a:lnTo>
                    <a:pt x="649" y="590"/>
                  </a:lnTo>
                  <a:lnTo>
                    <a:pt x="649" y="590"/>
                  </a:lnTo>
                  <a:lnTo>
                    <a:pt x="678" y="590"/>
                  </a:lnTo>
                  <a:lnTo>
                    <a:pt x="678" y="590"/>
                  </a:lnTo>
                  <a:lnTo>
                    <a:pt x="686" y="590"/>
                  </a:lnTo>
                  <a:lnTo>
                    <a:pt x="686" y="590"/>
                  </a:lnTo>
                  <a:lnTo>
                    <a:pt x="693" y="590"/>
                  </a:lnTo>
                  <a:lnTo>
                    <a:pt x="693" y="590"/>
                  </a:lnTo>
                  <a:lnTo>
                    <a:pt x="715" y="590"/>
                  </a:lnTo>
                  <a:lnTo>
                    <a:pt x="715" y="590"/>
                  </a:lnTo>
                  <a:lnTo>
                    <a:pt x="723" y="590"/>
                  </a:lnTo>
                  <a:lnTo>
                    <a:pt x="723" y="590"/>
                  </a:lnTo>
                  <a:lnTo>
                    <a:pt x="723" y="590"/>
                  </a:lnTo>
                  <a:lnTo>
                    <a:pt x="723" y="590"/>
                  </a:lnTo>
                  <a:lnTo>
                    <a:pt x="730" y="590"/>
                  </a:lnTo>
                  <a:lnTo>
                    <a:pt x="730" y="590"/>
                  </a:lnTo>
                  <a:lnTo>
                    <a:pt x="745" y="590"/>
                  </a:lnTo>
                  <a:lnTo>
                    <a:pt x="745" y="590"/>
                  </a:lnTo>
                  <a:lnTo>
                    <a:pt x="752" y="590"/>
                  </a:lnTo>
                  <a:lnTo>
                    <a:pt x="752" y="590"/>
                  </a:lnTo>
                  <a:lnTo>
                    <a:pt x="752" y="590"/>
                  </a:lnTo>
                  <a:lnTo>
                    <a:pt x="752" y="590"/>
                  </a:lnTo>
                  <a:lnTo>
                    <a:pt x="782" y="590"/>
                  </a:lnTo>
                  <a:lnTo>
                    <a:pt x="782" y="590"/>
                  </a:lnTo>
                  <a:lnTo>
                    <a:pt x="796" y="590"/>
                  </a:lnTo>
                  <a:lnTo>
                    <a:pt x="796" y="583"/>
                  </a:lnTo>
                  <a:lnTo>
                    <a:pt x="818" y="583"/>
                  </a:lnTo>
                  <a:lnTo>
                    <a:pt x="818" y="583"/>
                  </a:lnTo>
                  <a:lnTo>
                    <a:pt x="826" y="583"/>
                  </a:lnTo>
                  <a:lnTo>
                    <a:pt x="826" y="583"/>
                  </a:lnTo>
                  <a:lnTo>
                    <a:pt x="841" y="583"/>
                  </a:lnTo>
                  <a:lnTo>
                    <a:pt x="841" y="583"/>
                  </a:lnTo>
                  <a:lnTo>
                    <a:pt x="848" y="583"/>
                  </a:lnTo>
                  <a:lnTo>
                    <a:pt x="848" y="583"/>
                  </a:lnTo>
                  <a:lnTo>
                    <a:pt x="855" y="583"/>
                  </a:lnTo>
                  <a:lnTo>
                    <a:pt x="855" y="583"/>
                  </a:lnTo>
                  <a:lnTo>
                    <a:pt x="870" y="583"/>
                  </a:lnTo>
                  <a:lnTo>
                    <a:pt x="870" y="583"/>
                  </a:lnTo>
                  <a:lnTo>
                    <a:pt x="870" y="583"/>
                  </a:lnTo>
                  <a:lnTo>
                    <a:pt x="870" y="583"/>
                  </a:lnTo>
                  <a:lnTo>
                    <a:pt x="877" y="583"/>
                  </a:lnTo>
                  <a:lnTo>
                    <a:pt x="877" y="583"/>
                  </a:lnTo>
                  <a:lnTo>
                    <a:pt x="885" y="583"/>
                  </a:lnTo>
                  <a:lnTo>
                    <a:pt x="885" y="583"/>
                  </a:lnTo>
                  <a:lnTo>
                    <a:pt x="892" y="583"/>
                  </a:lnTo>
                  <a:lnTo>
                    <a:pt x="892" y="583"/>
                  </a:lnTo>
                  <a:lnTo>
                    <a:pt x="914" y="583"/>
                  </a:lnTo>
                  <a:lnTo>
                    <a:pt x="914" y="576"/>
                  </a:lnTo>
                  <a:lnTo>
                    <a:pt x="922" y="576"/>
                  </a:lnTo>
                  <a:lnTo>
                    <a:pt x="922" y="576"/>
                  </a:lnTo>
                  <a:lnTo>
                    <a:pt x="936" y="576"/>
                  </a:lnTo>
                  <a:lnTo>
                    <a:pt x="936" y="568"/>
                  </a:lnTo>
                  <a:lnTo>
                    <a:pt x="944" y="568"/>
                  </a:lnTo>
                  <a:lnTo>
                    <a:pt x="944" y="568"/>
                  </a:lnTo>
                  <a:lnTo>
                    <a:pt x="944" y="568"/>
                  </a:lnTo>
                  <a:lnTo>
                    <a:pt x="944" y="568"/>
                  </a:lnTo>
                  <a:lnTo>
                    <a:pt x="951" y="568"/>
                  </a:lnTo>
                  <a:lnTo>
                    <a:pt x="951" y="568"/>
                  </a:lnTo>
                  <a:lnTo>
                    <a:pt x="966" y="568"/>
                  </a:lnTo>
                  <a:lnTo>
                    <a:pt x="966" y="568"/>
                  </a:lnTo>
                  <a:lnTo>
                    <a:pt x="981" y="568"/>
                  </a:lnTo>
                  <a:lnTo>
                    <a:pt x="981" y="568"/>
                  </a:lnTo>
                  <a:lnTo>
                    <a:pt x="988" y="568"/>
                  </a:lnTo>
                  <a:lnTo>
                    <a:pt x="988" y="568"/>
                  </a:lnTo>
                  <a:lnTo>
                    <a:pt x="988" y="568"/>
                  </a:lnTo>
                  <a:lnTo>
                    <a:pt x="988" y="561"/>
                  </a:lnTo>
                  <a:lnTo>
                    <a:pt x="995" y="561"/>
                  </a:lnTo>
                  <a:lnTo>
                    <a:pt x="995" y="561"/>
                  </a:lnTo>
                  <a:lnTo>
                    <a:pt x="1003" y="561"/>
                  </a:lnTo>
                  <a:lnTo>
                    <a:pt x="1003" y="561"/>
                  </a:lnTo>
                  <a:lnTo>
                    <a:pt x="1018" y="561"/>
                  </a:lnTo>
                  <a:lnTo>
                    <a:pt x="1018" y="553"/>
                  </a:lnTo>
                  <a:lnTo>
                    <a:pt x="1025" y="553"/>
                  </a:lnTo>
                  <a:lnTo>
                    <a:pt x="1025" y="553"/>
                  </a:lnTo>
                  <a:lnTo>
                    <a:pt x="1032" y="553"/>
                  </a:lnTo>
                  <a:lnTo>
                    <a:pt x="1032" y="553"/>
                  </a:lnTo>
                  <a:lnTo>
                    <a:pt x="1040" y="553"/>
                  </a:lnTo>
                  <a:lnTo>
                    <a:pt x="1040" y="553"/>
                  </a:lnTo>
                  <a:lnTo>
                    <a:pt x="1062" y="553"/>
                  </a:lnTo>
                  <a:lnTo>
                    <a:pt x="1062" y="546"/>
                  </a:lnTo>
                  <a:lnTo>
                    <a:pt x="1062" y="546"/>
                  </a:lnTo>
                  <a:lnTo>
                    <a:pt x="1062" y="546"/>
                  </a:lnTo>
                  <a:lnTo>
                    <a:pt x="1084" y="546"/>
                  </a:lnTo>
                  <a:lnTo>
                    <a:pt x="1084" y="546"/>
                  </a:lnTo>
                  <a:lnTo>
                    <a:pt x="1091" y="546"/>
                  </a:lnTo>
                  <a:lnTo>
                    <a:pt x="1091" y="546"/>
                  </a:lnTo>
                  <a:lnTo>
                    <a:pt x="1099" y="546"/>
                  </a:lnTo>
                  <a:lnTo>
                    <a:pt x="1099" y="546"/>
                  </a:lnTo>
                  <a:lnTo>
                    <a:pt x="1106" y="546"/>
                  </a:lnTo>
                  <a:lnTo>
                    <a:pt x="1106" y="546"/>
                  </a:lnTo>
                  <a:lnTo>
                    <a:pt x="1113" y="546"/>
                  </a:lnTo>
                  <a:lnTo>
                    <a:pt x="1113" y="546"/>
                  </a:lnTo>
                  <a:lnTo>
                    <a:pt x="1113" y="546"/>
                  </a:lnTo>
                  <a:lnTo>
                    <a:pt x="1113" y="546"/>
                  </a:lnTo>
                  <a:lnTo>
                    <a:pt x="1121" y="546"/>
                  </a:lnTo>
                  <a:lnTo>
                    <a:pt x="1121" y="546"/>
                  </a:lnTo>
                  <a:lnTo>
                    <a:pt x="1136" y="546"/>
                  </a:lnTo>
                  <a:lnTo>
                    <a:pt x="1136" y="546"/>
                  </a:lnTo>
                  <a:lnTo>
                    <a:pt x="1150" y="546"/>
                  </a:lnTo>
                  <a:lnTo>
                    <a:pt x="1150" y="539"/>
                  </a:lnTo>
                  <a:lnTo>
                    <a:pt x="1158" y="539"/>
                  </a:lnTo>
                  <a:lnTo>
                    <a:pt x="1158" y="539"/>
                  </a:lnTo>
                  <a:lnTo>
                    <a:pt x="1158" y="539"/>
                  </a:lnTo>
                  <a:lnTo>
                    <a:pt x="1158" y="539"/>
                  </a:lnTo>
                  <a:lnTo>
                    <a:pt x="1172" y="539"/>
                  </a:lnTo>
                  <a:lnTo>
                    <a:pt x="1172" y="539"/>
                  </a:lnTo>
                  <a:lnTo>
                    <a:pt x="1180" y="539"/>
                  </a:lnTo>
                  <a:lnTo>
                    <a:pt x="1180" y="539"/>
                  </a:lnTo>
                  <a:lnTo>
                    <a:pt x="1187" y="539"/>
                  </a:lnTo>
                  <a:lnTo>
                    <a:pt x="1187" y="539"/>
                  </a:lnTo>
                  <a:lnTo>
                    <a:pt x="1209" y="539"/>
                  </a:lnTo>
                  <a:lnTo>
                    <a:pt x="1209" y="539"/>
                  </a:lnTo>
                  <a:lnTo>
                    <a:pt x="1239" y="539"/>
                  </a:lnTo>
                  <a:lnTo>
                    <a:pt x="1239" y="539"/>
                  </a:lnTo>
                  <a:lnTo>
                    <a:pt x="1254" y="539"/>
                  </a:lnTo>
                  <a:lnTo>
                    <a:pt x="1254" y="539"/>
                  </a:lnTo>
                  <a:lnTo>
                    <a:pt x="1283" y="539"/>
                  </a:lnTo>
                  <a:lnTo>
                    <a:pt x="1283" y="539"/>
                  </a:lnTo>
                  <a:lnTo>
                    <a:pt x="1298" y="539"/>
                  </a:lnTo>
                  <a:lnTo>
                    <a:pt x="1298" y="539"/>
                  </a:lnTo>
                  <a:lnTo>
                    <a:pt x="1305" y="539"/>
                  </a:lnTo>
                  <a:lnTo>
                    <a:pt x="1305" y="539"/>
                  </a:lnTo>
                  <a:lnTo>
                    <a:pt x="1305" y="539"/>
                  </a:lnTo>
                  <a:lnTo>
                    <a:pt x="1305" y="539"/>
                  </a:lnTo>
                  <a:lnTo>
                    <a:pt x="1349" y="539"/>
                  </a:lnTo>
                  <a:lnTo>
                    <a:pt x="1349" y="539"/>
                  </a:lnTo>
                  <a:lnTo>
                    <a:pt x="1357" y="539"/>
                  </a:lnTo>
                  <a:lnTo>
                    <a:pt x="1357" y="539"/>
                  </a:lnTo>
                  <a:lnTo>
                    <a:pt x="1364" y="539"/>
                  </a:lnTo>
                  <a:lnTo>
                    <a:pt x="1364" y="539"/>
                  </a:lnTo>
                  <a:lnTo>
                    <a:pt x="1386" y="539"/>
                  </a:lnTo>
                  <a:lnTo>
                    <a:pt x="1386" y="539"/>
                  </a:lnTo>
                  <a:lnTo>
                    <a:pt x="1401" y="539"/>
                  </a:lnTo>
                  <a:lnTo>
                    <a:pt x="1401" y="539"/>
                  </a:lnTo>
                  <a:lnTo>
                    <a:pt x="1401" y="539"/>
                  </a:lnTo>
                  <a:lnTo>
                    <a:pt x="1401" y="539"/>
                  </a:lnTo>
                  <a:lnTo>
                    <a:pt x="1438" y="539"/>
                  </a:lnTo>
                  <a:lnTo>
                    <a:pt x="1438" y="539"/>
                  </a:lnTo>
                  <a:lnTo>
                    <a:pt x="1453" y="539"/>
                  </a:lnTo>
                  <a:lnTo>
                    <a:pt x="1453" y="539"/>
                  </a:lnTo>
                  <a:lnTo>
                    <a:pt x="1453" y="539"/>
                  </a:lnTo>
                  <a:lnTo>
                    <a:pt x="1453" y="539"/>
                  </a:lnTo>
                  <a:lnTo>
                    <a:pt x="1460" y="539"/>
                  </a:lnTo>
                  <a:lnTo>
                    <a:pt x="1460" y="539"/>
                  </a:lnTo>
                  <a:lnTo>
                    <a:pt x="1475" y="539"/>
                  </a:lnTo>
                  <a:lnTo>
                    <a:pt x="1475" y="531"/>
                  </a:lnTo>
                  <a:lnTo>
                    <a:pt x="1482" y="531"/>
                  </a:lnTo>
                  <a:lnTo>
                    <a:pt x="1482" y="531"/>
                  </a:lnTo>
                  <a:lnTo>
                    <a:pt x="1490" y="531"/>
                  </a:lnTo>
                  <a:lnTo>
                    <a:pt x="1490" y="531"/>
                  </a:lnTo>
                  <a:lnTo>
                    <a:pt x="1497" y="531"/>
                  </a:lnTo>
                  <a:lnTo>
                    <a:pt x="1497" y="531"/>
                  </a:lnTo>
                  <a:lnTo>
                    <a:pt x="1497" y="531"/>
                  </a:lnTo>
                  <a:lnTo>
                    <a:pt x="1497" y="531"/>
                  </a:lnTo>
                  <a:lnTo>
                    <a:pt x="1512" y="531"/>
                  </a:lnTo>
                  <a:lnTo>
                    <a:pt x="1512" y="524"/>
                  </a:lnTo>
                  <a:lnTo>
                    <a:pt x="1526" y="524"/>
                  </a:lnTo>
                  <a:lnTo>
                    <a:pt x="1526" y="524"/>
                  </a:lnTo>
                  <a:lnTo>
                    <a:pt x="1534" y="524"/>
                  </a:lnTo>
                  <a:lnTo>
                    <a:pt x="1534" y="524"/>
                  </a:lnTo>
                  <a:lnTo>
                    <a:pt x="1541" y="524"/>
                  </a:lnTo>
                  <a:lnTo>
                    <a:pt x="1541" y="524"/>
                  </a:lnTo>
                  <a:lnTo>
                    <a:pt x="1549" y="524"/>
                  </a:lnTo>
                  <a:lnTo>
                    <a:pt x="1549" y="524"/>
                  </a:lnTo>
                  <a:lnTo>
                    <a:pt x="1549" y="524"/>
                  </a:lnTo>
                  <a:lnTo>
                    <a:pt x="1549" y="524"/>
                  </a:lnTo>
                  <a:lnTo>
                    <a:pt x="1556" y="524"/>
                  </a:lnTo>
                  <a:lnTo>
                    <a:pt x="1556" y="517"/>
                  </a:lnTo>
                  <a:lnTo>
                    <a:pt x="1593" y="517"/>
                  </a:lnTo>
                  <a:lnTo>
                    <a:pt x="1593" y="517"/>
                  </a:lnTo>
                  <a:lnTo>
                    <a:pt x="1600" y="517"/>
                  </a:lnTo>
                  <a:lnTo>
                    <a:pt x="1600" y="517"/>
                  </a:lnTo>
                  <a:lnTo>
                    <a:pt x="1622" y="517"/>
                  </a:lnTo>
                  <a:lnTo>
                    <a:pt x="1622" y="517"/>
                  </a:lnTo>
                  <a:lnTo>
                    <a:pt x="1622" y="517"/>
                  </a:lnTo>
                  <a:lnTo>
                    <a:pt x="1622" y="517"/>
                  </a:lnTo>
                  <a:lnTo>
                    <a:pt x="1645" y="517"/>
                  </a:lnTo>
                  <a:lnTo>
                    <a:pt x="1645" y="517"/>
                  </a:lnTo>
                  <a:lnTo>
                    <a:pt x="1645" y="517"/>
                  </a:lnTo>
                  <a:lnTo>
                    <a:pt x="1645" y="517"/>
                  </a:lnTo>
                  <a:lnTo>
                    <a:pt x="1674" y="517"/>
                  </a:lnTo>
                  <a:lnTo>
                    <a:pt x="1674" y="517"/>
                  </a:lnTo>
                  <a:lnTo>
                    <a:pt x="1696" y="517"/>
                  </a:lnTo>
                  <a:lnTo>
                    <a:pt x="1696" y="517"/>
                  </a:lnTo>
                  <a:lnTo>
                    <a:pt x="1718" y="517"/>
                  </a:lnTo>
                  <a:lnTo>
                    <a:pt x="1718" y="517"/>
                  </a:lnTo>
                  <a:lnTo>
                    <a:pt x="1740" y="517"/>
                  </a:lnTo>
                  <a:lnTo>
                    <a:pt x="1740" y="517"/>
                  </a:lnTo>
                  <a:lnTo>
                    <a:pt x="1748" y="517"/>
                  </a:lnTo>
                  <a:lnTo>
                    <a:pt x="1748" y="517"/>
                  </a:lnTo>
                  <a:lnTo>
                    <a:pt x="1755" y="517"/>
                  </a:lnTo>
                  <a:lnTo>
                    <a:pt x="1755" y="517"/>
                  </a:lnTo>
                  <a:lnTo>
                    <a:pt x="1763" y="517"/>
                  </a:lnTo>
                  <a:lnTo>
                    <a:pt x="1763" y="517"/>
                  </a:lnTo>
                  <a:lnTo>
                    <a:pt x="1792" y="517"/>
                  </a:lnTo>
                  <a:lnTo>
                    <a:pt x="1792" y="517"/>
                  </a:lnTo>
                  <a:lnTo>
                    <a:pt x="1792" y="517"/>
                  </a:lnTo>
                  <a:lnTo>
                    <a:pt x="1792" y="517"/>
                  </a:lnTo>
                  <a:lnTo>
                    <a:pt x="1799" y="517"/>
                  </a:lnTo>
                  <a:lnTo>
                    <a:pt x="1799" y="509"/>
                  </a:lnTo>
                  <a:lnTo>
                    <a:pt x="1814" y="509"/>
                  </a:lnTo>
                  <a:lnTo>
                    <a:pt x="1814" y="509"/>
                  </a:lnTo>
                  <a:lnTo>
                    <a:pt x="1814" y="509"/>
                  </a:lnTo>
                  <a:lnTo>
                    <a:pt x="1814" y="509"/>
                  </a:lnTo>
                  <a:lnTo>
                    <a:pt x="1822" y="509"/>
                  </a:lnTo>
                  <a:lnTo>
                    <a:pt x="1822" y="509"/>
                  </a:lnTo>
                  <a:lnTo>
                    <a:pt x="1829" y="509"/>
                  </a:lnTo>
                  <a:lnTo>
                    <a:pt x="1829" y="509"/>
                  </a:lnTo>
                  <a:lnTo>
                    <a:pt x="1836" y="509"/>
                  </a:lnTo>
                  <a:lnTo>
                    <a:pt x="1836" y="509"/>
                  </a:lnTo>
                  <a:lnTo>
                    <a:pt x="1836" y="509"/>
                  </a:lnTo>
                  <a:lnTo>
                    <a:pt x="1836" y="509"/>
                  </a:lnTo>
                  <a:lnTo>
                    <a:pt x="1866" y="509"/>
                  </a:lnTo>
                  <a:lnTo>
                    <a:pt x="1866" y="502"/>
                  </a:lnTo>
                  <a:lnTo>
                    <a:pt x="1866" y="502"/>
                  </a:lnTo>
                  <a:lnTo>
                    <a:pt x="1866" y="502"/>
                  </a:lnTo>
                  <a:lnTo>
                    <a:pt x="1873" y="502"/>
                  </a:lnTo>
                  <a:lnTo>
                    <a:pt x="1873" y="502"/>
                  </a:lnTo>
                  <a:lnTo>
                    <a:pt x="1881" y="502"/>
                  </a:lnTo>
                  <a:lnTo>
                    <a:pt x="1881" y="494"/>
                  </a:lnTo>
                  <a:lnTo>
                    <a:pt x="1888" y="494"/>
                  </a:lnTo>
                  <a:lnTo>
                    <a:pt x="1888" y="494"/>
                  </a:lnTo>
                  <a:lnTo>
                    <a:pt x="1888" y="494"/>
                  </a:lnTo>
                  <a:lnTo>
                    <a:pt x="1888" y="494"/>
                  </a:lnTo>
                  <a:lnTo>
                    <a:pt x="1895" y="494"/>
                  </a:lnTo>
                  <a:lnTo>
                    <a:pt x="1895" y="494"/>
                  </a:lnTo>
                  <a:lnTo>
                    <a:pt x="1903" y="494"/>
                  </a:lnTo>
                  <a:lnTo>
                    <a:pt x="1903" y="487"/>
                  </a:lnTo>
                  <a:lnTo>
                    <a:pt x="1910" y="487"/>
                  </a:lnTo>
                  <a:lnTo>
                    <a:pt x="1910" y="487"/>
                  </a:lnTo>
                  <a:lnTo>
                    <a:pt x="1910" y="487"/>
                  </a:lnTo>
                  <a:lnTo>
                    <a:pt x="1910" y="480"/>
                  </a:lnTo>
                  <a:lnTo>
                    <a:pt x="1917" y="480"/>
                  </a:lnTo>
                  <a:lnTo>
                    <a:pt x="1917" y="480"/>
                  </a:lnTo>
                  <a:lnTo>
                    <a:pt x="1925" y="480"/>
                  </a:lnTo>
                  <a:lnTo>
                    <a:pt x="1925" y="480"/>
                  </a:lnTo>
                  <a:lnTo>
                    <a:pt x="1932" y="480"/>
                  </a:lnTo>
                  <a:lnTo>
                    <a:pt x="1932" y="480"/>
                  </a:lnTo>
                  <a:lnTo>
                    <a:pt x="1932" y="480"/>
                  </a:lnTo>
                  <a:lnTo>
                    <a:pt x="1932" y="480"/>
                  </a:lnTo>
                  <a:lnTo>
                    <a:pt x="1940" y="480"/>
                  </a:lnTo>
                  <a:lnTo>
                    <a:pt x="1940" y="472"/>
                  </a:lnTo>
                  <a:lnTo>
                    <a:pt x="1947" y="472"/>
                  </a:lnTo>
                  <a:lnTo>
                    <a:pt x="1947" y="472"/>
                  </a:lnTo>
                  <a:lnTo>
                    <a:pt x="1954" y="472"/>
                  </a:lnTo>
                  <a:lnTo>
                    <a:pt x="1954" y="472"/>
                  </a:lnTo>
                  <a:lnTo>
                    <a:pt x="1962" y="472"/>
                  </a:lnTo>
                  <a:lnTo>
                    <a:pt x="1962" y="472"/>
                  </a:lnTo>
                  <a:lnTo>
                    <a:pt x="1962" y="472"/>
                  </a:lnTo>
                  <a:lnTo>
                    <a:pt x="1962" y="472"/>
                  </a:lnTo>
                  <a:lnTo>
                    <a:pt x="1969" y="472"/>
                  </a:lnTo>
                  <a:lnTo>
                    <a:pt x="1969" y="472"/>
                  </a:lnTo>
                  <a:lnTo>
                    <a:pt x="1976" y="472"/>
                  </a:lnTo>
                  <a:lnTo>
                    <a:pt x="1976" y="465"/>
                  </a:lnTo>
                  <a:lnTo>
                    <a:pt x="1984" y="465"/>
                  </a:lnTo>
                  <a:lnTo>
                    <a:pt x="1984" y="465"/>
                  </a:lnTo>
                  <a:lnTo>
                    <a:pt x="1984" y="465"/>
                  </a:lnTo>
                  <a:lnTo>
                    <a:pt x="1984" y="465"/>
                  </a:lnTo>
                  <a:lnTo>
                    <a:pt x="1991" y="465"/>
                  </a:lnTo>
                  <a:lnTo>
                    <a:pt x="1991" y="458"/>
                  </a:lnTo>
                  <a:lnTo>
                    <a:pt x="1999" y="458"/>
                  </a:lnTo>
                  <a:lnTo>
                    <a:pt x="1999" y="458"/>
                  </a:lnTo>
                  <a:lnTo>
                    <a:pt x="2006" y="458"/>
                  </a:lnTo>
                  <a:lnTo>
                    <a:pt x="2006" y="458"/>
                  </a:lnTo>
                  <a:lnTo>
                    <a:pt x="2006" y="458"/>
                  </a:lnTo>
                  <a:lnTo>
                    <a:pt x="2006" y="458"/>
                  </a:lnTo>
                  <a:lnTo>
                    <a:pt x="2013" y="458"/>
                  </a:lnTo>
                  <a:lnTo>
                    <a:pt x="2013" y="450"/>
                  </a:lnTo>
                  <a:lnTo>
                    <a:pt x="2021" y="450"/>
                  </a:lnTo>
                  <a:lnTo>
                    <a:pt x="2021" y="450"/>
                  </a:lnTo>
                  <a:lnTo>
                    <a:pt x="2028" y="450"/>
                  </a:lnTo>
                  <a:lnTo>
                    <a:pt x="2028" y="443"/>
                  </a:lnTo>
                  <a:lnTo>
                    <a:pt x="2035" y="443"/>
                  </a:lnTo>
                  <a:lnTo>
                    <a:pt x="2035" y="443"/>
                  </a:lnTo>
                  <a:lnTo>
                    <a:pt x="2035" y="443"/>
                  </a:lnTo>
                  <a:lnTo>
                    <a:pt x="2035" y="435"/>
                  </a:lnTo>
                  <a:lnTo>
                    <a:pt x="2043" y="435"/>
                  </a:lnTo>
                  <a:lnTo>
                    <a:pt x="2043" y="435"/>
                  </a:lnTo>
                  <a:lnTo>
                    <a:pt x="2058" y="435"/>
                  </a:lnTo>
                  <a:lnTo>
                    <a:pt x="2058" y="435"/>
                  </a:lnTo>
                  <a:lnTo>
                    <a:pt x="2058" y="435"/>
                  </a:lnTo>
                  <a:lnTo>
                    <a:pt x="2058" y="428"/>
                  </a:lnTo>
                  <a:lnTo>
                    <a:pt x="2065" y="428"/>
                  </a:lnTo>
                  <a:lnTo>
                    <a:pt x="2065" y="428"/>
                  </a:lnTo>
                  <a:lnTo>
                    <a:pt x="2072" y="428"/>
                  </a:lnTo>
                  <a:lnTo>
                    <a:pt x="2072" y="421"/>
                  </a:lnTo>
                  <a:lnTo>
                    <a:pt x="2080" y="421"/>
                  </a:lnTo>
                  <a:lnTo>
                    <a:pt x="2080" y="421"/>
                  </a:lnTo>
                  <a:lnTo>
                    <a:pt x="2080" y="421"/>
                  </a:lnTo>
                  <a:lnTo>
                    <a:pt x="2080" y="421"/>
                  </a:lnTo>
                  <a:lnTo>
                    <a:pt x="2087" y="421"/>
                  </a:lnTo>
                  <a:lnTo>
                    <a:pt x="2087" y="421"/>
                  </a:lnTo>
                  <a:lnTo>
                    <a:pt x="2094" y="421"/>
                  </a:lnTo>
                  <a:lnTo>
                    <a:pt x="2094" y="413"/>
                  </a:lnTo>
                  <a:lnTo>
                    <a:pt x="2102" y="413"/>
                  </a:lnTo>
                  <a:lnTo>
                    <a:pt x="2102" y="413"/>
                  </a:lnTo>
                  <a:lnTo>
                    <a:pt x="2102" y="413"/>
                  </a:lnTo>
                  <a:lnTo>
                    <a:pt x="2102" y="413"/>
                  </a:lnTo>
                  <a:lnTo>
                    <a:pt x="2109" y="413"/>
                  </a:lnTo>
                  <a:lnTo>
                    <a:pt x="2109" y="413"/>
                  </a:lnTo>
                  <a:lnTo>
                    <a:pt x="2117" y="413"/>
                  </a:lnTo>
                  <a:lnTo>
                    <a:pt x="2117" y="406"/>
                  </a:lnTo>
                  <a:lnTo>
                    <a:pt x="2124" y="406"/>
                  </a:lnTo>
                  <a:lnTo>
                    <a:pt x="2124" y="406"/>
                  </a:lnTo>
                  <a:lnTo>
                    <a:pt x="2131" y="406"/>
                  </a:lnTo>
                  <a:lnTo>
                    <a:pt x="2131" y="406"/>
                  </a:lnTo>
                  <a:lnTo>
                    <a:pt x="2131" y="406"/>
                  </a:lnTo>
                  <a:lnTo>
                    <a:pt x="2131" y="406"/>
                  </a:lnTo>
                  <a:lnTo>
                    <a:pt x="2139" y="406"/>
                  </a:lnTo>
                  <a:lnTo>
                    <a:pt x="2139" y="399"/>
                  </a:lnTo>
                  <a:lnTo>
                    <a:pt x="2146" y="399"/>
                  </a:lnTo>
                  <a:lnTo>
                    <a:pt x="2146" y="399"/>
                  </a:lnTo>
                  <a:lnTo>
                    <a:pt x="2153" y="399"/>
                  </a:lnTo>
                  <a:lnTo>
                    <a:pt x="2153" y="399"/>
                  </a:lnTo>
                  <a:lnTo>
                    <a:pt x="2153" y="399"/>
                  </a:lnTo>
                  <a:lnTo>
                    <a:pt x="2153" y="399"/>
                  </a:lnTo>
                  <a:lnTo>
                    <a:pt x="2161" y="399"/>
                  </a:lnTo>
                  <a:lnTo>
                    <a:pt x="2161" y="399"/>
                  </a:lnTo>
                  <a:lnTo>
                    <a:pt x="2168" y="399"/>
                  </a:lnTo>
                  <a:lnTo>
                    <a:pt x="2168" y="399"/>
                  </a:lnTo>
                  <a:lnTo>
                    <a:pt x="2176" y="399"/>
                  </a:lnTo>
                  <a:lnTo>
                    <a:pt x="2176" y="399"/>
                  </a:lnTo>
                  <a:lnTo>
                    <a:pt x="2176" y="399"/>
                  </a:lnTo>
                  <a:lnTo>
                    <a:pt x="2176" y="399"/>
                  </a:lnTo>
                  <a:lnTo>
                    <a:pt x="2183" y="399"/>
                  </a:lnTo>
                  <a:lnTo>
                    <a:pt x="2183" y="391"/>
                  </a:lnTo>
                  <a:lnTo>
                    <a:pt x="2190" y="391"/>
                  </a:lnTo>
                  <a:lnTo>
                    <a:pt x="2190" y="391"/>
                  </a:lnTo>
                  <a:lnTo>
                    <a:pt x="2198" y="391"/>
                  </a:lnTo>
                  <a:lnTo>
                    <a:pt x="2198" y="391"/>
                  </a:lnTo>
                  <a:lnTo>
                    <a:pt x="2205" y="391"/>
                  </a:lnTo>
                  <a:lnTo>
                    <a:pt x="2205" y="391"/>
                  </a:lnTo>
                  <a:lnTo>
                    <a:pt x="2205" y="391"/>
                  </a:lnTo>
                  <a:lnTo>
                    <a:pt x="2205" y="391"/>
                  </a:lnTo>
                  <a:lnTo>
                    <a:pt x="2212" y="391"/>
                  </a:lnTo>
                  <a:lnTo>
                    <a:pt x="2212" y="391"/>
                  </a:lnTo>
                  <a:lnTo>
                    <a:pt x="2220" y="391"/>
                  </a:lnTo>
                  <a:lnTo>
                    <a:pt x="2220" y="391"/>
                  </a:lnTo>
                  <a:lnTo>
                    <a:pt x="2227" y="391"/>
                  </a:lnTo>
                  <a:lnTo>
                    <a:pt x="2227" y="391"/>
                  </a:lnTo>
                  <a:lnTo>
                    <a:pt x="2227" y="391"/>
                  </a:lnTo>
                  <a:lnTo>
                    <a:pt x="2227" y="391"/>
                  </a:lnTo>
                  <a:lnTo>
                    <a:pt x="2235" y="391"/>
                  </a:lnTo>
                  <a:lnTo>
                    <a:pt x="2235" y="391"/>
                  </a:lnTo>
                  <a:lnTo>
                    <a:pt x="2242" y="391"/>
                  </a:lnTo>
                  <a:lnTo>
                    <a:pt x="2242" y="391"/>
                  </a:lnTo>
                  <a:lnTo>
                    <a:pt x="2249" y="391"/>
                  </a:lnTo>
                  <a:lnTo>
                    <a:pt x="2249" y="391"/>
                  </a:lnTo>
                  <a:lnTo>
                    <a:pt x="2249" y="391"/>
                  </a:lnTo>
                  <a:lnTo>
                    <a:pt x="2249" y="391"/>
                  </a:lnTo>
                  <a:lnTo>
                    <a:pt x="2257" y="391"/>
                  </a:lnTo>
                  <a:lnTo>
                    <a:pt x="2257" y="391"/>
                  </a:lnTo>
                  <a:lnTo>
                    <a:pt x="2264" y="391"/>
                  </a:lnTo>
                  <a:lnTo>
                    <a:pt x="2264" y="384"/>
                  </a:lnTo>
                  <a:lnTo>
                    <a:pt x="2271" y="384"/>
                  </a:lnTo>
                  <a:lnTo>
                    <a:pt x="2271" y="384"/>
                  </a:lnTo>
                  <a:lnTo>
                    <a:pt x="2286" y="384"/>
                  </a:lnTo>
                  <a:lnTo>
                    <a:pt x="2286" y="384"/>
                  </a:lnTo>
                  <a:lnTo>
                    <a:pt x="2294" y="384"/>
                  </a:lnTo>
                  <a:lnTo>
                    <a:pt x="2294" y="384"/>
                  </a:lnTo>
                  <a:lnTo>
                    <a:pt x="2301" y="384"/>
                  </a:lnTo>
                  <a:lnTo>
                    <a:pt x="2301" y="384"/>
                  </a:lnTo>
                  <a:lnTo>
                    <a:pt x="2301" y="384"/>
                  </a:lnTo>
                  <a:lnTo>
                    <a:pt x="2301" y="384"/>
                  </a:lnTo>
                  <a:lnTo>
                    <a:pt x="2308" y="384"/>
                  </a:lnTo>
                  <a:lnTo>
                    <a:pt x="2308" y="384"/>
                  </a:lnTo>
                  <a:lnTo>
                    <a:pt x="2316" y="384"/>
                  </a:lnTo>
                  <a:lnTo>
                    <a:pt x="2316" y="384"/>
                  </a:lnTo>
                  <a:lnTo>
                    <a:pt x="2323" y="384"/>
                  </a:lnTo>
                  <a:lnTo>
                    <a:pt x="2323" y="384"/>
                  </a:lnTo>
                  <a:lnTo>
                    <a:pt x="2323" y="384"/>
                  </a:lnTo>
                  <a:lnTo>
                    <a:pt x="2323" y="384"/>
                  </a:lnTo>
                  <a:lnTo>
                    <a:pt x="2330" y="384"/>
                  </a:lnTo>
                  <a:lnTo>
                    <a:pt x="2330" y="384"/>
                  </a:lnTo>
                  <a:lnTo>
                    <a:pt x="2338" y="384"/>
                  </a:lnTo>
                  <a:lnTo>
                    <a:pt x="2338" y="384"/>
                  </a:lnTo>
                  <a:lnTo>
                    <a:pt x="2345" y="384"/>
                  </a:lnTo>
                  <a:lnTo>
                    <a:pt x="2345" y="376"/>
                  </a:lnTo>
                  <a:lnTo>
                    <a:pt x="2345" y="376"/>
                  </a:lnTo>
                  <a:lnTo>
                    <a:pt x="2345" y="376"/>
                  </a:lnTo>
                  <a:lnTo>
                    <a:pt x="2353" y="376"/>
                  </a:lnTo>
                  <a:lnTo>
                    <a:pt x="2353" y="376"/>
                  </a:lnTo>
                  <a:lnTo>
                    <a:pt x="2360" y="376"/>
                  </a:lnTo>
                  <a:lnTo>
                    <a:pt x="2360" y="376"/>
                  </a:lnTo>
                  <a:lnTo>
                    <a:pt x="2367" y="376"/>
                  </a:lnTo>
                  <a:lnTo>
                    <a:pt x="2367" y="376"/>
                  </a:lnTo>
                  <a:lnTo>
                    <a:pt x="2375" y="376"/>
                  </a:lnTo>
                  <a:lnTo>
                    <a:pt x="2375" y="369"/>
                  </a:lnTo>
                  <a:lnTo>
                    <a:pt x="2375" y="369"/>
                  </a:lnTo>
                  <a:lnTo>
                    <a:pt x="2375" y="369"/>
                  </a:lnTo>
                  <a:lnTo>
                    <a:pt x="2382" y="369"/>
                  </a:lnTo>
                  <a:lnTo>
                    <a:pt x="2382" y="369"/>
                  </a:lnTo>
                  <a:lnTo>
                    <a:pt x="2389" y="369"/>
                  </a:lnTo>
                  <a:lnTo>
                    <a:pt x="2389" y="369"/>
                  </a:lnTo>
                  <a:lnTo>
                    <a:pt x="2397" y="369"/>
                  </a:lnTo>
                  <a:lnTo>
                    <a:pt x="2397" y="369"/>
                  </a:lnTo>
                  <a:lnTo>
                    <a:pt x="2397" y="369"/>
                  </a:lnTo>
                  <a:lnTo>
                    <a:pt x="2397" y="362"/>
                  </a:lnTo>
                  <a:lnTo>
                    <a:pt x="2404" y="362"/>
                  </a:lnTo>
                  <a:lnTo>
                    <a:pt x="2404" y="362"/>
                  </a:lnTo>
                  <a:lnTo>
                    <a:pt x="2412" y="362"/>
                  </a:lnTo>
                  <a:lnTo>
                    <a:pt x="2412" y="362"/>
                  </a:lnTo>
                  <a:lnTo>
                    <a:pt x="2419" y="362"/>
                  </a:lnTo>
                  <a:lnTo>
                    <a:pt x="2419" y="362"/>
                  </a:lnTo>
                  <a:lnTo>
                    <a:pt x="2419" y="362"/>
                  </a:lnTo>
                  <a:lnTo>
                    <a:pt x="2419" y="362"/>
                  </a:lnTo>
                  <a:lnTo>
                    <a:pt x="2426" y="362"/>
                  </a:lnTo>
                  <a:lnTo>
                    <a:pt x="2426" y="362"/>
                  </a:lnTo>
                  <a:lnTo>
                    <a:pt x="2434" y="362"/>
                  </a:lnTo>
                  <a:lnTo>
                    <a:pt x="2434" y="362"/>
                  </a:lnTo>
                  <a:lnTo>
                    <a:pt x="2441" y="362"/>
                  </a:lnTo>
                  <a:lnTo>
                    <a:pt x="2441" y="362"/>
                  </a:lnTo>
                  <a:lnTo>
                    <a:pt x="2441" y="362"/>
                  </a:lnTo>
                  <a:lnTo>
                    <a:pt x="2441" y="362"/>
                  </a:lnTo>
                  <a:lnTo>
                    <a:pt x="2448" y="362"/>
                  </a:lnTo>
                  <a:lnTo>
                    <a:pt x="2448" y="362"/>
                  </a:lnTo>
                  <a:lnTo>
                    <a:pt x="2456" y="362"/>
                  </a:lnTo>
                  <a:lnTo>
                    <a:pt x="2456" y="362"/>
                  </a:lnTo>
                  <a:lnTo>
                    <a:pt x="2463" y="362"/>
                  </a:lnTo>
                  <a:lnTo>
                    <a:pt x="2463" y="362"/>
                  </a:lnTo>
                  <a:lnTo>
                    <a:pt x="2471" y="362"/>
                  </a:lnTo>
                  <a:lnTo>
                    <a:pt x="2471" y="362"/>
                  </a:lnTo>
                  <a:lnTo>
                    <a:pt x="2471" y="362"/>
                  </a:lnTo>
                  <a:lnTo>
                    <a:pt x="2471" y="362"/>
                  </a:lnTo>
                  <a:lnTo>
                    <a:pt x="2478" y="362"/>
                  </a:lnTo>
                  <a:lnTo>
                    <a:pt x="2478" y="362"/>
                  </a:lnTo>
                  <a:lnTo>
                    <a:pt x="2485" y="362"/>
                  </a:lnTo>
                  <a:lnTo>
                    <a:pt x="2485" y="362"/>
                  </a:lnTo>
                  <a:lnTo>
                    <a:pt x="2493" y="362"/>
                  </a:lnTo>
                  <a:lnTo>
                    <a:pt x="2493" y="362"/>
                  </a:lnTo>
                  <a:lnTo>
                    <a:pt x="2493" y="362"/>
                  </a:lnTo>
                  <a:lnTo>
                    <a:pt x="2493" y="362"/>
                  </a:lnTo>
                  <a:lnTo>
                    <a:pt x="2500" y="362"/>
                  </a:lnTo>
                  <a:lnTo>
                    <a:pt x="2500" y="362"/>
                  </a:lnTo>
                  <a:lnTo>
                    <a:pt x="2507" y="362"/>
                  </a:lnTo>
                  <a:lnTo>
                    <a:pt x="2507" y="362"/>
                  </a:lnTo>
                  <a:lnTo>
                    <a:pt x="2515" y="362"/>
                  </a:lnTo>
                  <a:lnTo>
                    <a:pt x="2515" y="362"/>
                  </a:lnTo>
                  <a:lnTo>
                    <a:pt x="2515" y="362"/>
                  </a:lnTo>
                  <a:lnTo>
                    <a:pt x="2515" y="362"/>
                  </a:lnTo>
                  <a:lnTo>
                    <a:pt x="2522" y="362"/>
                  </a:lnTo>
                  <a:lnTo>
                    <a:pt x="2522" y="362"/>
                  </a:lnTo>
                  <a:lnTo>
                    <a:pt x="2530" y="362"/>
                  </a:lnTo>
                  <a:lnTo>
                    <a:pt x="2530" y="362"/>
                  </a:lnTo>
                  <a:lnTo>
                    <a:pt x="2537" y="362"/>
                  </a:lnTo>
                  <a:lnTo>
                    <a:pt x="2537" y="362"/>
                  </a:lnTo>
                  <a:lnTo>
                    <a:pt x="2537" y="362"/>
                  </a:lnTo>
                  <a:lnTo>
                    <a:pt x="2537" y="362"/>
                  </a:lnTo>
                  <a:lnTo>
                    <a:pt x="2544" y="362"/>
                  </a:lnTo>
                  <a:lnTo>
                    <a:pt x="2544" y="362"/>
                  </a:lnTo>
                  <a:lnTo>
                    <a:pt x="2552" y="362"/>
                  </a:lnTo>
                  <a:lnTo>
                    <a:pt x="2552" y="362"/>
                  </a:lnTo>
                  <a:lnTo>
                    <a:pt x="2559" y="362"/>
                  </a:lnTo>
                  <a:lnTo>
                    <a:pt x="2559" y="362"/>
                  </a:lnTo>
                  <a:lnTo>
                    <a:pt x="2566" y="362"/>
                  </a:lnTo>
                  <a:lnTo>
                    <a:pt x="2566" y="362"/>
                  </a:lnTo>
                  <a:lnTo>
                    <a:pt x="2566" y="362"/>
                  </a:lnTo>
                  <a:lnTo>
                    <a:pt x="2566" y="354"/>
                  </a:lnTo>
                  <a:lnTo>
                    <a:pt x="2574" y="354"/>
                  </a:lnTo>
                  <a:lnTo>
                    <a:pt x="2574" y="354"/>
                  </a:lnTo>
                  <a:lnTo>
                    <a:pt x="2581" y="354"/>
                  </a:lnTo>
                  <a:lnTo>
                    <a:pt x="2581" y="354"/>
                  </a:lnTo>
                  <a:lnTo>
                    <a:pt x="2589" y="354"/>
                  </a:lnTo>
                  <a:lnTo>
                    <a:pt x="2589" y="347"/>
                  </a:lnTo>
                  <a:lnTo>
                    <a:pt x="2589" y="347"/>
                  </a:lnTo>
                  <a:lnTo>
                    <a:pt x="2589" y="347"/>
                  </a:lnTo>
                  <a:lnTo>
                    <a:pt x="2596" y="347"/>
                  </a:lnTo>
                  <a:lnTo>
                    <a:pt x="2596" y="347"/>
                  </a:lnTo>
                  <a:lnTo>
                    <a:pt x="2603" y="347"/>
                  </a:lnTo>
                  <a:lnTo>
                    <a:pt x="2603" y="347"/>
                  </a:lnTo>
                  <a:lnTo>
                    <a:pt x="2611" y="347"/>
                  </a:lnTo>
                  <a:lnTo>
                    <a:pt x="2611" y="347"/>
                  </a:lnTo>
                  <a:lnTo>
                    <a:pt x="2611" y="347"/>
                  </a:lnTo>
                  <a:lnTo>
                    <a:pt x="2611" y="347"/>
                  </a:lnTo>
                  <a:lnTo>
                    <a:pt x="2618" y="347"/>
                  </a:lnTo>
                  <a:lnTo>
                    <a:pt x="2618" y="347"/>
                  </a:lnTo>
                  <a:lnTo>
                    <a:pt x="2625" y="347"/>
                  </a:lnTo>
                  <a:lnTo>
                    <a:pt x="2625" y="347"/>
                  </a:lnTo>
                  <a:lnTo>
                    <a:pt x="2633" y="347"/>
                  </a:lnTo>
                  <a:lnTo>
                    <a:pt x="2633" y="347"/>
                  </a:lnTo>
                  <a:lnTo>
                    <a:pt x="2640" y="347"/>
                  </a:lnTo>
                  <a:lnTo>
                    <a:pt x="2640" y="347"/>
                  </a:lnTo>
                  <a:lnTo>
                    <a:pt x="2640" y="347"/>
                  </a:lnTo>
                  <a:lnTo>
                    <a:pt x="2640" y="340"/>
                  </a:lnTo>
                  <a:lnTo>
                    <a:pt x="2648" y="340"/>
                  </a:lnTo>
                  <a:lnTo>
                    <a:pt x="2648" y="340"/>
                  </a:lnTo>
                  <a:lnTo>
                    <a:pt x="2655" y="340"/>
                  </a:lnTo>
                  <a:lnTo>
                    <a:pt x="2655" y="340"/>
                  </a:lnTo>
                  <a:lnTo>
                    <a:pt x="2662" y="340"/>
                  </a:lnTo>
                  <a:lnTo>
                    <a:pt x="2662" y="340"/>
                  </a:lnTo>
                  <a:lnTo>
                    <a:pt x="2662" y="340"/>
                  </a:lnTo>
                  <a:lnTo>
                    <a:pt x="2662" y="340"/>
                  </a:lnTo>
                  <a:lnTo>
                    <a:pt x="2670" y="340"/>
                  </a:lnTo>
                  <a:lnTo>
                    <a:pt x="2670" y="340"/>
                  </a:lnTo>
                  <a:lnTo>
                    <a:pt x="2677" y="340"/>
                  </a:lnTo>
                  <a:lnTo>
                    <a:pt x="2677" y="340"/>
                  </a:lnTo>
                  <a:lnTo>
                    <a:pt x="2684" y="340"/>
                  </a:lnTo>
                  <a:lnTo>
                    <a:pt x="2684" y="340"/>
                  </a:lnTo>
                  <a:lnTo>
                    <a:pt x="2684" y="340"/>
                  </a:lnTo>
                  <a:lnTo>
                    <a:pt x="2684" y="340"/>
                  </a:lnTo>
                  <a:lnTo>
                    <a:pt x="2692" y="340"/>
                  </a:lnTo>
                  <a:lnTo>
                    <a:pt x="2692" y="340"/>
                  </a:lnTo>
                  <a:lnTo>
                    <a:pt x="2699" y="340"/>
                  </a:lnTo>
                  <a:lnTo>
                    <a:pt x="2699" y="340"/>
                  </a:lnTo>
                  <a:lnTo>
                    <a:pt x="2707" y="340"/>
                  </a:lnTo>
                  <a:lnTo>
                    <a:pt x="2707" y="340"/>
                  </a:lnTo>
                  <a:lnTo>
                    <a:pt x="2707" y="340"/>
                  </a:lnTo>
                  <a:lnTo>
                    <a:pt x="2707" y="340"/>
                  </a:lnTo>
                  <a:lnTo>
                    <a:pt x="2714" y="340"/>
                  </a:lnTo>
                  <a:lnTo>
                    <a:pt x="2714" y="340"/>
                  </a:lnTo>
                  <a:lnTo>
                    <a:pt x="2721" y="340"/>
                  </a:lnTo>
                  <a:lnTo>
                    <a:pt x="2721" y="340"/>
                  </a:lnTo>
                  <a:lnTo>
                    <a:pt x="2729" y="340"/>
                  </a:lnTo>
                  <a:lnTo>
                    <a:pt x="2729" y="340"/>
                  </a:lnTo>
                  <a:lnTo>
                    <a:pt x="2736" y="340"/>
                  </a:lnTo>
                  <a:lnTo>
                    <a:pt x="2736" y="332"/>
                  </a:lnTo>
                  <a:lnTo>
                    <a:pt x="2736" y="332"/>
                  </a:lnTo>
                  <a:lnTo>
                    <a:pt x="2736" y="332"/>
                  </a:lnTo>
                  <a:lnTo>
                    <a:pt x="2743" y="332"/>
                  </a:lnTo>
                  <a:lnTo>
                    <a:pt x="2743" y="332"/>
                  </a:lnTo>
                  <a:lnTo>
                    <a:pt x="2751" y="332"/>
                  </a:lnTo>
                  <a:lnTo>
                    <a:pt x="2751" y="332"/>
                  </a:lnTo>
                  <a:lnTo>
                    <a:pt x="2758" y="332"/>
                  </a:lnTo>
                  <a:lnTo>
                    <a:pt x="2758" y="332"/>
                  </a:lnTo>
                  <a:lnTo>
                    <a:pt x="2758" y="332"/>
                  </a:lnTo>
                  <a:lnTo>
                    <a:pt x="2758" y="332"/>
                  </a:lnTo>
                  <a:lnTo>
                    <a:pt x="2766" y="332"/>
                  </a:lnTo>
                  <a:lnTo>
                    <a:pt x="2766" y="332"/>
                  </a:lnTo>
                  <a:lnTo>
                    <a:pt x="2773" y="332"/>
                  </a:lnTo>
                  <a:lnTo>
                    <a:pt x="2773" y="332"/>
                  </a:lnTo>
                  <a:lnTo>
                    <a:pt x="2780" y="332"/>
                  </a:lnTo>
                  <a:lnTo>
                    <a:pt x="2780" y="332"/>
                  </a:lnTo>
                  <a:lnTo>
                    <a:pt x="2780" y="332"/>
                  </a:lnTo>
                  <a:lnTo>
                    <a:pt x="2780" y="332"/>
                  </a:lnTo>
                  <a:lnTo>
                    <a:pt x="2788" y="332"/>
                  </a:lnTo>
                  <a:lnTo>
                    <a:pt x="2788" y="332"/>
                  </a:lnTo>
                  <a:lnTo>
                    <a:pt x="2795" y="332"/>
                  </a:lnTo>
                  <a:lnTo>
                    <a:pt x="2795" y="332"/>
                  </a:lnTo>
                  <a:lnTo>
                    <a:pt x="2802" y="332"/>
                  </a:lnTo>
                  <a:lnTo>
                    <a:pt x="2802" y="332"/>
                  </a:lnTo>
                  <a:lnTo>
                    <a:pt x="2810" y="332"/>
                  </a:lnTo>
                  <a:lnTo>
                    <a:pt x="2810" y="332"/>
                  </a:lnTo>
                  <a:lnTo>
                    <a:pt x="2810" y="332"/>
                  </a:lnTo>
                  <a:lnTo>
                    <a:pt x="2810" y="325"/>
                  </a:lnTo>
                  <a:lnTo>
                    <a:pt x="2817" y="325"/>
                  </a:lnTo>
                  <a:lnTo>
                    <a:pt x="2817" y="325"/>
                  </a:lnTo>
                  <a:lnTo>
                    <a:pt x="2825" y="325"/>
                  </a:lnTo>
                  <a:lnTo>
                    <a:pt x="2825" y="325"/>
                  </a:lnTo>
                  <a:lnTo>
                    <a:pt x="2832" y="325"/>
                  </a:lnTo>
                  <a:lnTo>
                    <a:pt x="2832" y="325"/>
                  </a:lnTo>
                  <a:lnTo>
                    <a:pt x="2832" y="325"/>
                  </a:lnTo>
                  <a:lnTo>
                    <a:pt x="2832" y="325"/>
                  </a:lnTo>
                  <a:lnTo>
                    <a:pt x="2839" y="325"/>
                  </a:lnTo>
                  <a:lnTo>
                    <a:pt x="2839" y="325"/>
                  </a:lnTo>
                  <a:lnTo>
                    <a:pt x="2847" y="325"/>
                  </a:lnTo>
                  <a:lnTo>
                    <a:pt x="2847" y="317"/>
                  </a:lnTo>
                  <a:lnTo>
                    <a:pt x="2854" y="317"/>
                  </a:lnTo>
                  <a:lnTo>
                    <a:pt x="2854" y="310"/>
                  </a:lnTo>
                  <a:lnTo>
                    <a:pt x="2854" y="310"/>
                  </a:lnTo>
                  <a:lnTo>
                    <a:pt x="2854" y="310"/>
                  </a:lnTo>
                  <a:lnTo>
                    <a:pt x="2861" y="310"/>
                  </a:lnTo>
                  <a:lnTo>
                    <a:pt x="2861" y="310"/>
                  </a:lnTo>
                  <a:lnTo>
                    <a:pt x="2869" y="310"/>
                  </a:lnTo>
                  <a:lnTo>
                    <a:pt x="2869" y="310"/>
                  </a:lnTo>
                  <a:lnTo>
                    <a:pt x="2876" y="310"/>
                  </a:lnTo>
                  <a:lnTo>
                    <a:pt x="2876" y="310"/>
                  </a:lnTo>
                  <a:lnTo>
                    <a:pt x="2876" y="310"/>
                  </a:lnTo>
                  <a:lnTo>
                    <a:pt x="2876" y="310"/>
                  </a:lnTo>
                  <a:lnTo>
                    <a:pt x="2884" y="310"/>
                  </a:lnTo>
                  <a:lnTo>
                    <a:pt x="2884" y="310"/>
                  </a:lnTo>
                  <a:lnTo>
                    <a:pt x="2891" y="310"/>
                  </a:lnTo>
                  <a:lnTo>
                    <a:pt x="2891" y="310"/>
                  </a:lnTo>
                  <a:lnTo>
                    <a:pt x="2898" y="310"/>
                  </a:lnTo>
                  <a:lnTo>
                    <a:pt x="2898" y="303"/>
                  </a:lnTo>
                  <a:lnTo>
                    <a:pt x="2906" y="303"/>
                  </a:lnTo>
                  <a:lnTo>
                    <a:pt x="2906" y="303"/>
                  </a:lnTo>
                  <a:lnTo>
                    <a:pt x="2906" y="303"/>
                  </a:lnTo>
                  <a:lnTo>
                    <a:pt x="2906" y="303"/>
                  </a:lnTo>
                  <a:lnTo>
                    <a:pt x="2913" y="303"/>
                  </a:lnTo>
                  <a:lnTo>
                    <a:pt x="2913" y="303"/>
                  </a:lnTo>
                  <a:lnTo>
                    <a:pt x="2920" y="303"/>
                  </a:lnTo>
                  <a:lnTo>
                    <a:pt x="2920" y="295"/>
                  </a:lnTo>
                  <a:lnTo>
                    <a:pt x="2928" y="295"/>
                  </a:lnTo>
                  <a:lnTo>
                    <a:pt x="2928" y="295"/>
                  </a:lnTo>
                  <a:lnTo>
                    <a:pt x="2928" y="295"/>
                  </a:lnTo>
                  <a:lnTo>
                    <a:pt x="2928" y="288"/>
                  </a:lnTo>
                  <a:lnTo>
                    <a:pt x="2935" y="288"/>
                  </a:lnTo>
                  <a:lnTo>
                    <a:pt x="2935" y="281"/>
                  </a:lnTo>
                  <a:lnTo>
                    <a:pt x="2943" y="281"/>
                  </a:lnTo>
                  <a:lnTo>
                    <a:pt x="2943" y="281"/>
                  </a:lnTo>
                  <a:lnTo>
                    <a:pt x="2950" y="281"/>
                  </a:lnTo>
                  <a:lnTo>
                    <a:pt x="2950" y="281"/>
                  </a:lnTo>
                  <a:lnTo>
                    <a:pt x="2950" y="281"/>
                  </a:lnTo>
                  <a:lnTo>
                    <a:pt x="2950" y="281"/>
                  </a:lnTo>
                  <a:lnTo>
                    <a:pt x="2957" y="281"/>
                  </a:lnTo>
                  <a:lnTo>
                    <a:pt x="2957" y="281"/>
                  </a:lnTo>
                  <a:lnTo>
                    <a:pt x="2965" y="281"/>
                  </a:lnTo>
                  <a:lnTo>
                    <a:pt x="2965" y="281"/>
                  </a:lnTo>
                  <a:lnTo>
                    <a:pt x="2972" y="281"/>
                  </a:lnTo>
                  <a:lnTo>
                    <a:pt x="2972" y="266"/>
                  </a:lnTo>
                  <a:lnTo>
                    <a:pt x="2979" y="266"/>
                  </a:lnTo>
                  <a:lnTo>
                    <a:pt x="2979" y="266"/>
                  </a:lnTo>
                  <a:lnTo>
                    <a:pt x="2979" y="266"/>
                  </a:lnTo>
                  <a:lnTo>
                    <a:pt x="2979" y="266"/>
                  </a:lnTo>
                  <a:lnTo>
                    <a:pt x="2987" y="266"/>
                  </a:lnTo>
                  <a:lnTo>
                    <a:pt x="2987" y="266"/>
                  </a:lnTo>
                  <a:lnTo>
                    <a:pt x="2994" y="266"/>
                  </a:lnTo>
                  <a:lnTo>
                    <a:pt x="2994" y="266"/>
                  </a:lnTo>
                  <a:lnTo>
                    <a:pt x="3002" y="266"/>
                  </a:lnTo>
                  <a:lnTo>
                    <a:pt x="3002" y="266"/>
                  </a:lnTo>
                  <a:lnTo>
                    <a:pt x="3002" y="266"/>
                  </a:lnTo>
                  <a:lnTo>
                    <a:pt x="3002" y="258"/>
                  </a:lnTo>
                  <a:lnTo>
                    <a:pt x="3009" y="258"/>
                  </a:lnTo>
                  <a:lnTo>
                    <a:pt x="3009" y="258"/>
                  </a:lnTo>
                  <a:lnTo>
                    <a:pt x="3016" y="258"/>
                  </a:lnTo>
                  <a:lnTo>
                    <a:pt x="3016" y="251"/>
                  </a:lnTo>
                  <a:lnTo>
                    <a:pt x="3024" y="251"/>
                  </a:lnTo>
                  <a:lnTo>
                    <a:pt x="3024" y="251"/>
                  </a:lnTo>
                  <a:lnTo>
                    <a:pt x="3024" y="251"/>
                  </a:lnTo>
                  <a:lnTo>
                    <a:pt x="3024" y="244"/>
                  </a:lnTo>
                  <a:lnTo>
                    <a:pt x="3031" y="244"/>
                  </a:lnTo>
                  <a:lnTo>
                    <a:pt x="3031" y="244"/>
                  </a:lnTo>
                  <a:lnTo>
                    <a:pt x="3038" y="244"/>
                  </a:lnTo>
                  <a:lnTo>
                    <a:pt x="3038" y="244"/>
                  </a:lnTo>
                  <a:lnTo>
                    <a:pt x="3046" y="244"/>
                  </a:lnTo>
                  <a:lnTo>
                    <a:pt x="3046" y="236"/>
                  </a:lnTo>
                  <a:lnTo>
                    <a:pt x="3046" y="236"/>
                  </a:lnTo>
                  <a:lnTo>
                    <a:pt x="3046" y="236"/>
                  </a:lnTo>
                  <a:lnTo>
                    <a:pt x="3053" y="236"/>
                  </a:lnTo>
                  <a:lnTo>
                    <a:pt x="3053" y="236"/>
                  </a:lnTo>
                  <a:lnTo>
                    <a:pt x="3061" y="236"/>
                  </a:lnTo>
                  <a:lnTo>
                    <a:pt x="3061" y="229"/>
                  </a:lnTo>
                  <a:lnTo>
                    <a:pt x="3068" y="229"/>
                  </a:lnTo>
                  <a:lnTo>
                    <a:pt x="3068" y="229"/>
                  </a:lnTo>
                  <a:lnTo>
                    <a:pt x="3075" y="229"/>
                  </a:lnTo>
                  <a:lnTo>
                    <a:pt x="3075" y="229"/>
                  </a:lnTo>
                  <a:lnTo>
                    <a:pt x="3075" y="229"/>
                  </a:lnTo>
                  <a:lnTo>
                    <a:pt x="3075" y="222"/>
                  </a:lnTo>
                  <a:lnTo>
                    <a:pt x="3083" y="222"/>
                  </a:lnTo>
                  <a:lnTo>
                    <a:pt x="3083" y="222"/>
                  </a:lnTo>
                  <a:lnTo>
                    <a:pt x="3090" y="222"/>
                  </a:lnTo>
                  <a:lnTo>
                    <a:pt x="3090" y="214"/>
                  </a:lnTo>
                  <a:lnTo>
                    <a:pt x="3097" y="214"/>
                  </a:lnTo>
                  <a:lnTo>
                    <a:pt x="3097" y="207"/>
                  </a:lnTo>
                  <a:lnTo>
                    <a:pt x="3097" y="207"/>
                  </a:lnTo>
                  <a:lnTo>
                    <a:pt x="3097" y="207"/>
                  </a:lnTo>
                  <a:lnTo>
                    <a:pt x="3105" y="207"/>
                  </a:lnTo>
                  <a:lnTo>
                    <a:pt x="3105" y="207"/>
                  </a:lnTo>
                  <a:lnTo>
                    <a:pt x="3112" y="207"/>
                  </a:lnTo>
                  <a:lnTo>
                    <a:pt x="3112" y="207"/>
                  </a:lnTo>
                  <a:lnTo>
                    <a:pt x="3120" y="207"/>
                  </a:lnTo>
                  <a:lnTo>
                    <a:pt x="3120" y="207"/>
                  </a:lnTo>
                  <a:lnTo>
                    <a:pt x="3120" y="207"/>
                  </a:lnTo>
                  <a:lnTo>
                    <a:pt x="3120" y="200"/>
                  </a:lnTo>
                  <a:lnTo>
                    <a:pt x="3127" y="200"/>
                  </a:lnTo>
                  <a:lnTo>
                    <a:pt x="3127" y="192"/>
                  </a:lnTo>
                  <a:lnTo>
                    <a:pt x="3134" y="192"/>
                  </a:lnTo>
                  <a:lnTo>
                    <a:pt x="3134" y="185"/>
                  </a:lnTo>
                  <a:lnTo>
                    <a:pt x="3142" y="185"/>
                  </a:lnTo>
                  <a:lnTo>
                    <a:pt x="3142" y="185"/>
                  </a:lnTo>
                  <a:lnTo>
                    <a:pt x="3149" y="185"/>
                  </a:lnTo>
                  <a:lnTo>
                    <a:pt x="3149" y="185"/>
                  </a:lnTo>
                  <a:lnTo>
                    <a:pt x="3149" y="185"/>
                  </a:lnTo>
                  <a:lnTo>
                    <a:pt x="3149" y="185"/>
                  </a:lnTo>
                  <a:lnTo>
                    <a:pt x="3156" y="185"/>
                  </a:lnTo>
                  <a:lnTo>
                    <a:pt x="3156" y="185"/>
                  </a:lnTo>
                  <a:lnTo>
                    <a:pt x="3164" y="185"/>
                  </a:lnTo>
                  <a:lnTo>
                    <a:pt x="3164" y="177"/>
                  </a:lnTo>
                  <a:lnTo>
                    <a:pt x="3171" y="177"/>
                  </a:lnTo>
                  <a:lnTo>
                    <a:pt x="3171" y="170"/>
                  </a:lnTo>
                  <a:lnTo>
                    <a:pt x="3171" y="170"/>
                  </a:lnTo>
                  <a:lnTo>
                    <a:pt x="3171" y="163"/>
                  </a:lnTo>
                  <a:lnTo>
                    <a:pt x="3179" y="163"/>
                  </a:lnTo>
                  <a:lnTo>
                    <a:pt x="3179" y="163"/>
                  </a:lnTo>
                  <a:lnTo>
                    <a:pt x="3186" y="163"/>
                  </a:lnTo>
                  <a:lnTo>
                    <a:pt x="3186" y="155"/>
                  </a:lnTo>
                  <a:lnTo>
                    <a:pt x="3193" y="155"/>
                  </a:lnTo>
                  <a:lnTo>
                    <a:pt x="3193" y="155"/>
                  </a:lnTo>
                  <a:lnTo>
                    <a:pt x="3193" y="155"/>
                  </a:lnTo>
                  <a:lnTo>
                    <a:pt x="3193" y="155"/>
                  </a:lnTo>
                  <a:lnTo>
                    <a:pt x="3201" y="155"/>
                  </a:lnTo>
                  <a:lnTo>
                    <a:pt x="3201" y="148"/>
                  </a:lnTo>
                  <a:lnTo>
                    <a:pt x="3208" y="148"/>
                  </a:lnTo>
                  <a:lnTo>
                    <a:pt x="3208" y="141"/>
                  </a:lnTo>
                  <a:lnTo>
                    <a:pt x="3215" y="141"/>
                  </a:lnTo>
                  <a:lnTo>
                    <a:pt x="3215" y="141"/>
                  </a:lnTo>
                  <a:lnTo>
                    <a:pt x="3215" y="141"/>
                  </a:lnTo>
                  <a:lnTo>
                    <a:pt x="3215" y="141"/>
                  </a:lnTo>
                  <a:lnTo>
                    <a:pt x="3223" y="141"/>
                  </a:lnTo>
                  <a:lnTo>
                    <a:pt x="3223" y="141"/>
                  </a:lnTo>
                  <a:lnTo>
                    <a:pt x="3230" y="141"/>
                  </a:lnTo>
                  <a:lnTo>
                    <a:pt x="3230" y="141"/>
                  </a:lnTo>
                  <a:lnTo>
                    <a:pt x="3238" y="141"/>
                  </a:lnTo>
                  <a:lnTo>
                    <a:pt x="3238" y="141"/>
                  </a:lnTo>
                  <a:lnTo>
                    <a:pt x="3245" y="141"/>
                  </a:lnTo>
                  <a:lnTo>
                    <a:pt x="3245" y="133"/>
                  </a:lnTo>
                  <a:lnTo>
                    <a:pt x="3245" y="133"/>
                  </a:lnTo>
                  <a:lnTo>
                    <a:pt x="3245" y="126"/>
                  </a:lnTo>
                  <a:lnTo>
                    <a:pt x="3252" y="126"/>
                  </a:lnTo>
                  <a:lnTo>
                    <a:pt x="3252" y="126"/>
                  </a:lnTo>
                  <a:lnTo>
                    <a:pt x="3260" y="126"/>
                  </a:lnTo>
                  <a:lnTo>
                    <a:pt x="3260" y="126"/>
                  </a:lnTo>
                  <a:lnTo>
                    <a:pt x="3267" y="126"/>
                  </a:lnTo>
                  <a:lnTo>
                    <a:pt x="3267" y="126"/>
                  </a:lnTo>
                  <a:lnTo>
                    <a:pt x="3267" y="126"/>
                  </a:lnTo>
                  <a:lnTo>
                    <a:pt x="3267" y="126"/>
                  </a:lnTo>
                  <a:lnTo>
                    <a:pt x="3274" y="126"/>
                  </a:lnTo>
                  <a:lnTo>
                    <a:pt x="3274" y="118"/>
                  </a:lnTo>
                  <a:lnTo>
                    <a:pt x="3282" y="118"/>
                  </a:lnTo>
                  <a:lnTo>
                    <a:pt x="3282" y="118"/>
                  </a:lnTo>
                  <a:lnTo>
                    <a:pt x="3289" y="118"/>
                  </a:lnTo>
                  <a:lnTo>
                    <a:pt x="3289" y="118"/>
                  </a:lnTo>
                  <a:lnTo>
                    <a:pt x="3289" y="118"/>
                  </a:lnTo>
                  <a:lnTo>
                    <a:pt x="3289" y="118"/>
                  </a:lnTo>
                  <a:lnTo>
                    <a:pt x="3297" y="118"/>
                  </a:lnTo>
                  <a:lnTo>
                    <a:pt x="3297" y="111"/>
                  </a:lnTo>
                  <a:lnTo>
                    <a:pt x="3304" y="111"/>
                  </a:lnTo>
                  <a:lnTo>
                    <a:pt x="3304" y="111"/>
                  </a:lnTo>
                  <a:lnTo>
                    <a:pt x="3311" y="111"/>
                  </a:lnTo>
                  <a:lnTo>
                    <a:pt x="3311" y="111"/>
                  </a:lnTo>
                  <a:lnTo>
                    <a:pt x="3311" y="111"/>
                  </a:lnTo>
                  <a:lnTo>
                    <a:pt x="3311" y="111"/>
                  </a:lnTo>
                  <a:lnTo>
                    <a:pt x="3319" y="111"/>
                  </a:lnTo>
                  <a:lnTo>
                    <a:pt x="3319" y="104"/>
                  </a:lnTo>
                  <a:lnTo>
                    <a:pt x="3326" y="104"/>
                  </a:lnTo>
                  <a:lnTo>
                    <a:pt x="3326" y="104"/>
                  </a:lnTo>
                  <a:lnTo>
                    <a:pt x="3333" y="104"/>
                  </a:lnTo>
                  <a:lnTo>
                    <a:pt x="3333" y="104"/>
                  </a:lnTo>
                  <a:lnTo>
                    <a:pt x="3341" y="104"/>
                  </a:lnTo>
                  <a:lnTo>
                    <a:pt x="3341" y="104"/>
                  </a:lnTo>
                  <a:lnTo>
                    <a:pt x="3341" y="104"/>
                  </a:lnTo>
                  <a:lnTo>
                    <a:pt x="3341" y="104"/>
                  </a:lnTo>
                  <a:lnTo>
                    <a:pt x="3348" y="104"/>
                  </a:lnTo>
                  <a:lnTo>
                    <a:pt x="3348" y="104"/>
                  </a:lnTo>
                  <a:lnTo>
                    <a:pt x="3356" y="104"/>
                  </a:lnTo>
                  <a:lnTo>
                    <a:pt x="3356" y="104"/>
                  </a:lnTo>
                  <a:lnTo>
                    <a:pt x="3363" y="104"/>
                  </a:lnTo>
                  <a:lnTo>
                    <a:pt x="3363" y="104"/>
                  </a:lnTo>
                  <a:lnTo>
                    <a:pt x="3363" y="104"/>
                  </a:lnTo>
                  <a:lnTo>
                    <a:pt x="3363" y="96"/>
                  </a:lnTo>
                  <a:lnTo>
                    <a:pt x="3370" y="96"/>
                  </a:lnTo>
                  <a:lnTo>
                    <a:pt x="3370" y="96"/>
                  </a:lnTo>
                  <a:lnTo>
                    <a:pt x="3378" y="96"/>
                  </a:lnTo>
                  <a:lnTo>
                    <a:pt x="3378" y="96"/>
                  </a:lnTo>
                  <a:lnTo>
                    <a:pt x="3385" y="96"/>
                  </a:lnTo>
                  <a:lnTo>
                    <a:pt x="3385" y="89"/>
                  </a:lnTo>
                  <a:lnTo>
                    <a:pt x="3385" y="89"/>
                  </a:lnTo>
                  <a:lnTo>
                    <a:pt x="3385" y="89"/>
                  </a:lnTo>
                  <a:lnTo>
                    <a:pt x="3392" y="89"/>
                  </a:lnTo>
                  <a:lnTo>
                    <a:pt x="3392" y="89"/>
                  </a:lnTo>
                  <a:lnTo>
                    <a:pt x="3400" y="89"/>
                  </a:lnTo>
                  <a:lnTo>
                    <a:pt x="3400" y="89"/>
                  </a:lnTo>
                  <a:lnTo>
                    <a:pt x="3407" y="89"/>
                  </a:lnTo>
                  <a:lnTo>
                    <a:pt x="3407" y="82"/>
                  </a:lnTo>
                  <a:lnTo>
                    <a:pt x="3415" y="82"/>
                  </a:lnTo>
                  <a:lnTo>
                    <a:pt x="3415" y="82"/>
                  </a:lnTo>
                  <a:lnTo>
                    <a:pt x="3415" y="82"/>
                  </a:lnTo>
                  <a:lnTo>
                    <a:pt x="3415" y="82"/>
                  </a:lnTo>
                  <a:lnTo>
                    <a:pt x="3422" y="82"/>
                  </a:lnTo>
                  <a:lnTo>
                    <a:pt x="3422" y="82"/>
                  </a:lnTo>
                  <a:lnTo>
                    <a:pt x="3429" y="82"/>
                  </a:lnTo>
                  <a:lnTo>
                    <a:pt x="3429" y="74"/>
                  </a:lnTo>
                  <a:lnTo>
                    <a:pt x="3437" y="74"/>
                  </a:lnTo>
                  <a:lnTo>
                    <a:pt x="3437" y="74"/>
                  </a:lnTo>
                  <a:lnTo>
                    <a:pt x="3437" y="74"/>
                  </a:lnTo>
                  <a:lnTo>
                    <a:pt x="3437" y="74"/>
                  </a:lnTo>
                  <a:lnTo>
                    <a:pt x="3444" y="74"/>
                  </a:lnTo>
                  <a:lnTo>
                    <a:pt x="3444" y="74"/>
                  </a:lnTo>
                  <a:lnTo>
                    <a:pt x="3451" y="74"/>
                  </a:lnTo>
                  <a:lnTo>
                    <a:pt x="3451" y="74"/>
                  </a:lnTo>
                  <a:lnTo>
                    <a:pt x="3459" y="74"/>
                  </a:lnTo>
                  <a:lnTo>
                    <a:pt x="3459" y="74"/>
                  </a:lnTo>
                  <a:lnTo>
                    <a:pt x="3459" y="74"/>
                  </a:lnTo>
                  <a:lnTo>
                    <a:pt x="3459" y="74"/>
                  </a:lnTo>
                  <a:lnTo>
                    <a:pt x="3466" y="74"/>
                  </a:lnTo>
                  <a:lnTo>
                    <a:pt x="3466" y="74"/>
                  </a:lnTo>
                  <a:lnTo>
                    <a:pt x="3474" y="74"/>
                  </a:lnTo>
                  <a:lnTo>
                    <a:pt x="3474" y="74"/>
                  </a:lnTo>
                  <a:lnTo>
                    <a:pt x="3481" y="74"/>
                  </a:lnTo>
                  <a:lnTo>
                    <a:pt x="3481" y="74"/>
                  </a:lnTo>
                  <a:lnTo>
                    <a:pt x="3481" y="74"/>
                  </a:lnTo>
                  <a:lnTo>
                    <a:pt x="3481" y="74"/>
                  </a:lnTo>
                  <a:lnTo>
                    <a:pt x="3488" y="74"/>
                  </a:lnTo>
                  <a:lnTo>
                    <a:pt x="3488" y="74"/>
                  </a:lnTo>
                  <a:lnTo>
                    <a:pt x="3496" y="74"/>
                  </a:lnTo>
                  <a:lnTo>
                    <a:pt x="3496" y="74"/>
                  </a:lnTo>
                  <a:lnTo>
                    <a:pt x="3503" y="74"/>
                  </a:lnTo>
                  <a:lnTo>
                    <a:pt x="3503" y="74"/>
                  </a:lnTo>
                  <a:lnTo>
                    <a:pt x="3510" y="74"/>
                  </a:lnTo>
                  <a:lnTo>
                    <a:pt x="3510" y="74"/>
                  </a:lnTo>
                  <a:lnTo>
                    <a:pt x="3510" y="74"/>
                  </a:lnTo>
                  <a:lnTo>
                    <a:pt x="3510" y="74"/>
                  </a:lnTo>
                  <a:lnTo>
                    <a:pt x="3518" y="74"/>
                  </a:lnTo>
                  <a:lnTo>
                    <a:pt x="3518" y="74"/>
                  </a:lnTo>
                  <a:lnTo>
                    <a:pt x="3525" y="74"/>
                  </a:lnTo>
                  <a:lnTo>
                    <a:pt x="3525" y="74"/>
                  </a:lnTo>
                  <a:lnTo>
                    <a:pt x="3533" y="74"/>
                  </a:lnTo>
                  <a:lnTo>
                    <a:pt x="3533" y="74"/>
                  </a:lnTo>
                  <a:lnTo>
                    <a:pt x="3533" y="74"/>
                  </a:lnTo>
                  <a:lnTo>
                    <a:pt x="3533" y="74"/>
                  </a:lnTo>
                  <a:lnTo>
                    <a:pt x="3540" y="74"/>
                  </a:lnTo>
                  <a:lnTo>
                    <a:pt x="3540" y="74"/>
                  </a:lnTo>
                  <a:lnTo>
                    <a:pt x="3547" y="74"/>
                  </a:lnTo>
                  <a:lnTo>
                    <a:pt x="3547" y="74"/>
                  </a:lnTo>
                  <a:lnTo>
                    <a:pt x="3555" y="74"/>
                  </a:lnTo>
                  <a:lnTo>
                    <a:pt x="3555" y="74"/>
                  </a:lnTo>
                  <a:lnTo>
                    <a:pt x="3555" y="74"/>
                  </a:lnTo>
                  <a:lnTo>
                    <a:pt x="3555" y="67"/>
                  </a:lnTo>
                  <a:lnTo>
                    <a:pt x="3562" y="67"/>
                  </a:lnTo>
                  <a:lnTo>
                    <a:pt x="3562" y="67"/>
                  </a:lnTo>
                  <a:lnTo>
                    <a:pt x="3569" y="67"/>
                  </a:lnTo>
                  <a:lnTo>
                    <a:pt x="3569" y="67"/>
                  </a:lnTo>
                  <a:lnTo>
                    <a:pt x="3577" y="67"/>
                  </a:lnTo>
                  <a:lnTo>
                    <a:pt x="3577" y="67"/>
                  </a:lnTo>
                  <a:lnTo>
                    <a:pt x="3584" y="67"/>
                  </a:lnTo>
                  <a:lnTo>
                    <a:pt x="3584" y="59"/>
                  </a:lnTo>
                  <a:lnTo>
                    <a:pt x="3584" y="59"/>
                  </a:lnTo>
                  <a:lnTo>
                    <a:pt x="3584" y="59"/>
                  </a:lnTo>
                  <a:lnTo>
                    <a:pt x="3592" y="59"/>
                  </a:lnTo>
                  <a:lnTo>
                    <a:pt x="3592" y="59"/>
                  </a:lnTo>
                  <a:lnTo>
                    <a:pt x="3599" y="59"/>
                  </a:lnTo>
                  <a:lnTo>
                    <a:pt x="3599" y="59"/>
                  </a:lnTo>
                  <a:lnTo>
                    <a:pt x="3606" y="59"/>
                  </a:lnTo>
                  <a:lnTo>
                    <a:pt x="3606" y="52"/>
                  </a:lnTo>
                  <a:lnTo>
                    <a:pt x="3606" y="52"/>
                  </a:lnTo>
                  <a:lnTo>
                    <a:pt x="3606" y="52"/>
                  </a:lnTo>
                  <a:lnTo>
                    <a:pt x="3614" y="52"/>
                  </a:lnTo>
                  <a:lnTo>
                    <a:pt x="3614" y="52"/>
                  </a:lnTo>
                  <a:lnTo>
                    <a:pt x="3621" y="52"/>
                  </a:lnTo>
                  <a:lnTo>
                    <a:pt x="3621" y="52"/>
                  </a:lnTo>
                  <a:lnTo>
                    <a:pt x="3628" y="52"/>
                  </a:lnTo>
                  <a:lnTo>
                    <a:pt x="3628" y="52"/>
                  </a:lnTo>
                  <a:lnTo>
                    <a:pt x="3628" y="52"/>
                  </a:lnTo>
                  <a:lnTo>
                    <a:pt x="3628" y="52"/>
                  </a:lnTo>
                  <a:lnTo>
                    <a:pt x="3636" y="52"/>
                  </a:lnTo>
                  <a:lnTo>
                    <a:pt x="3636" y="52"/>
                  </a:lnTo>
                  <a:lnTo>
                    <a:pt x="3643" y="52"/>
                  </a:lnTo>
                  <a:lnTo>
                    <a:pt x="3643" y="52"/>
                  </a:lnTo>
                  <a:lnTo>
                    <a:pt x="3651" y="52"/>
                  </a:lnTo>
                  <a:lnTo>
                    <a:pt x="3651" y="45"/>
                  </a:lnTo>
                  <a:lnTo>
                    <a:pt x="3651" y="45"/>
                  </a:lnTo>
                  <a:lnTo>
                    <a:pt x="3651" y="45"/>
                  </a:lnTo>
                  <a:lnTo>
                    <a:pt x="3658" y="45"/>
                  </a:lnTo>
                  <a:lnTo>
                    <a:pt x="3658" y="45"/>
                  </a:lnTo>
                  <a:lnTo>
                    <a:pt x="3665" y="45"/>
                  </a:lnTo>
                  <a:lnTo>
                    <a:pt x="3665" y="45"/>
                  </a:lnTo>
                  <a:lnTo>
                    <a:pt x="3673" y="45"/>
                  </a:lnTo>
                  <a:lnTo>
                    <a:pt x="3673" y="37"/>
                  </a:lnTo>
                  <a:lnTo>
                    <a:pt x="3680" y="37"/>
                  </a:lnTo>
                  <a:lnTo>
                    <a:pt x="3680" y="37"/>
                  </a:lnTo>
                  <a:lnTo>
                    <a:pt x="3680" y="37"/>
                  </a:lnTo>
                  <a:lnTo>
                    <a:pt x="3680" y="37"/>
                  </a:lnTo>
                  <a:lnTo>
                    <a:pt x="3687" y="37"/>
                  </a:lnTo>
                  <a:lnTo>
                    <a:pt x="3687" y="37"/>
                  </a:lnTo>
                  <a:lnTo>
                    <a:pt x="3695" y="37"/>
                  </a:lnTo>
                  <a:lnTo>
                    <a:pt x="3695" y="37"/>
                  </a:lnTo>
                  <a:lnTo>
                    <a:pt x="3702" y="37"/>
                  </a:lnTo>
                  <a:lnTo>
                    <a:pt x="3702" y="37"/>
                  </a:lnTo>
                  <a:lnTo>
                    <a:pt x="3702" y="37"/>
                  </a:lnTo>
                  <a:lnTo>
                    <a:pt x="3702" y="37"/>
                  </a:lnTo>
                  <a:lnTo>
                    <a:pt x="3710" y="37"/>
                  </a:lnTo>
                  <a:lnTo>
                    <a:pt x="3710" y="37"/>
                  </a:lnTo>
                  <a:lnTo>
                    <a:pt x="3717" y="37"/>
                  </a:lnTo>
                  <a:lnTo>
                    <a:pt x="3717" y="37"/>
                  </a:lnTo>
                  <a:lnTo>
                    <a:pt x="3724" y="37"/>
                  </a:lnTo>
                  <a:lnTo>
                    <a:pt x="3724" y="37"/>
                  </a:lnTo>
                  <a:lnTo>
                    <a:pt x="3724" y="37"/>
                  </a:lnTo>
                  <a:lnTo>
                    <a:pt x="3724" y="37"/>
                  </a:lnTo>
                  <a:lnTo>
                    <a:pt x="3732" y="37"/>
                  </a:lnTo>
                  <a:lnTo>
                    <a:pt x="3732" y="37"/>
                  </a:lnTo>
                  <a:lnTo>
                    <a:pt x="3739" y="37"/>
                  </a:lnTo>
                  <a:lnTo>
                    <a:pt x="3739" y="30"/>
                  </a:lnTo>
                  <a:lnTo>
                    <a:pt x="3746" y="30"/>
                  </a:lnTo>
                  <a:lnTo>
                    <a:pt x="3746" y="30"/>
                  </a:lnTo>
                  <a:lnTo>
                    <a:pt x="3754" y="30"/>
                  </a:lnTo>
                  <a:lnTo>
                    <a:pt x="3754" y="30"/>
                  </a:lnTo>
                  <a:lnTo>
                    <a:pt x="3754" y="30"/>
                  </a:lnTo>
                  <a:lnTo>
                    <a:pt x="3754" y="30"/>
                  </a:lnTo>
                  <a:lnTo>
                    <a:pt x="3761" y="30"/>
                  </a:lnTo>
                  <a:lnTo>
                    <a:pt x="3761" y="30"/>
                  </a:lnTo>
                  <a:lnTo>
                    <a:pt x="3769" y="30"/>
                  </a:lnTo>
                  <a:lnTo>
                    <a:pt x="3769" y="30"/>
                  </a:lnTo>
                  <a:lnTo>
                    <a:pt x="3776" y="30"/>
                  </a:lnTo>
                  <a:lnTo>
                    <a:pt x="3776" y="23"/>
                  </a:lnTo>
                  <a:lnTo>
                    <a:pt x="3776" y="23"/>
                  </a:lnTo>
                  <a:lnTo>
                    <a:pt x="3776" y="23"/>
                  </a:lnTo>
                  <a:lnTo>
                    <a:pt x="3783" y="23"/>
                  </a:lnTo>
                  <a:lnTo>
                    <a:pt x="3783" y="23"/>
                  </a:lnTo>
                  <a:lnTo>
                    <a:pt x="3791" y="23"/>
                  </a:lnTo>
                  <a:lnTo>
                    <a:pt x="3791" y="23"/>
                  </a:lnTo>
                  <a:lnTo>
                    <a:pt x="3798" y="23"/>
                  </a:lnTo>
                  <a:lnTo>
                    <a:pt x="3798" y="23"/>
                  </a:lnTo>
                  <a:lnTo>
                    <a:pt x="3798" y="23"/>
                  </a:lnTo>
                  <a:lnTo>
                    <a:pt x="3798" y="23"/>
                  </a:lnTo>
                  <a:lnTo>
                    <a:pt x="3805" y="23"/>
                  </a:lnTo>
                  <a:lnTo>
                    <a:pt x="3805" y="23"/>
                  </a:lnTo>
                  <a:lnTo>
                    <a:pt x="3813" y="23"/>
                  </a:lnTo>
                  <a:lnTo>
                    <a:pt x="3813" y="23"/>
                  </a:lnTo>
                  <a:lnTo>
                    <a:pt x="3820" y="23"/>
                  </a:lnTo>
                  <a:lnTo>
                    <a:pt x="3820" y="23"/>
                  </a:lnTo>
                  <a:lnTo>
                    <a:pt x="3820" y="23"/>
                  </a:lnTo>
                  <a:lnTo>
                    <a:pt x="3820" y="23"/>
                  </a:lnTo>
                  <a:lnTo>
                    <a:pt x="3828" y="23"/>
                  </a:lnTo>
                  <a:lnTo>
                    <a:pt x="3828" y="23"/>
                  </a:lnTo>
                  <a:lnTo>
                    <a:pt x="3835" y="23"/>
                  </a:lnTo>
                  <a:lnTo>
                    <a:pt x="3835" y="23"/>
                  </a:lnTo>
                  <a:lnTo>
                    <a:pt x="3842" y="23"/>
                  </a:lnTo>
                  <a:lnTo>
                    <a:pt x="3842" y="23"/>
                  </a:lnTo>
                  <a:lnTo>
                    <a:pt x="3850" y="23"/>
                  </a:lnTo>
                  <a:lnTo>
                    <a:pt x="3850" y="15"/>
                  </a:lnTo>
                  <a:lnTo>
                    <a:pt x="3850" y="15"/>
                  </a:lnTo>
                  <a:lnTo>
                    <a:pt x="3850" y="15"/>
                  </a:lnTo>
                  <a:lnTo>
                    <a:pt x="3857" y="15"/>
                  </a:lnTo>
                  <a:lnTo>
                    <a:pt x="3857" y="15"/>
                  </a:lnTo>
                  <a:lnTo>
                    <a:pt x="3864" y="15"/>
                  </a:lnTo>
                  <a:lnTo>
                    <a:pt x="3864" y="15"/>
                  </a:lnTo>
                  <a:lnTo>
                    <a:pt x="3872" y="15"/>
                  </a:lnTo>
                  <a:lnTo>
                    <a:pt x="3872" y="15"/>
                  </a:lnTo>
                  <a:lnTo>
                    <a:pt x="3879" y="15"/>
                  </a:lnTo>
                  <a:lnTo>
                    <a:pt x="3879" y="15"/>
                  </a:lnTo>
                  <a:lnTo>
                    <a:pt x="3887" y="15"/>
                  </a:lnTo>
                  <a:lnTo>
                    <a:pt x="3887" y="8"/>
                  </a:lnTo>
                  <a:lnTo>
                    <a:pt x="3894" y="8"/>
                  </a:lnTo>
                  <a:lnTo>
                    <a:pt x="3894" y="8"/>
                  </a:lnTo>
                  <a:lnTo>
                    <a:pt x="3894" y="8"/>
                  </a:lnTo>
                  <a:lnTo>
                    <a:pt x="3894" y="8"/>
                  </a:lnTo>
                  <a:lnTo>
                    <a:pt x="3901" y="8"/>
                  </a:lnTo>
                  <a:lnTo>
                    <a:pt x="3901" y="8"/>
                  </a:lnTo>
                  <a:lnTo>
                    <a:pt x="3909" y="8"/>
                  </a:lnTo>
                  <a:lnTo>
                    <a:pt x="3909" y="8"/>
                  </a:lnTo>
                  <a:lnTo>
                    <a:pt x="3916" y="8"/>
                  </a:lnTo>
                  <a:lnTo>
                    <a:pt x="3916" y="8"/>
                  </a:lnTo>
                  <a:lnTo>
                    <a:pt x="3923" y="8"/>
                  </a:lnTo>
                  <a:lnTo>
                    <a:pt x="3923" y="0"/>
                  </a:lnTo>
                  <a:lnTo>
                    <a:pt x="3923" y="0"/>
                  </a:lnTo>
                  <a:lnTo>
                    <a:pt x="3923" y="0"/>
                  </a:lnTo>
                </a:path>
              </a:pathLst>
            </a:custGeom>
            <a:noFill/>
            <a:ln w="25400" cap="sq">
              <a:solidFill>
                <a:srgbClr val="0B0B4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8766175" y="3441701"/>
              <a:ext cx="1955800" cy="736600"/>
            </a:xfrm>
            <a:custGeom>
              <a:avLst/>
              <a:gdLst>
                <a:gd name="T0" fmla="*/ 23 w 1232"/>
                <a:gd name="T1" fmla="*/ 464 h 464"/>
                <a:gd name="T2" fmla="*/ 45 w 1232"/>
                <a:gd name="T3" fmla="*/ 450 h 464"/>
                <a:gd name="T4" fmla="*/ 59 w 1232"/>
                <a:gd name="T5" fmla="*/ 450 h 464"/>
                <a:gd name="T6" fmla="*/ 82 w 1232"/>
                <a:gd name="T7" fmla="*/ 442 h 464"/>
                <a:gd name="T8" fmla="*/ 96 w 1232"/>
                <a:gd name="T9" fmla="*/ 435 h 464"/>
                <a:gd name="T10" fmla="*/ 118 w 1232"/>
                <a:gd name="T11" fmla="*/ 428 h 464"/>
                <a:gd name="T12" fmla="*/ 141 w 1232"/>
                <a:gd name="T13" fmla="*/ 420 h 464"/>
                <a:gd name="T14" fmla="*/ 163 w 1232"/>
                <a:gd name="T15" fmla="*/ 420 h 464"/>
                <a:gd name="T16" fmla="*/ 177 w 1232"/>
                <a:gd name="T17" fmla="*/ 405 h 464"/>
                <a:gd name="T18" fmla="*/ 200 w 1232"/>
                <a:gd name="T19" fmla="*/ 383 h 464"/>
                <a:gd name="T20" fmla="*/ 214 w 1232"/>
                <a:gd name="T21" fmla="*/ 376 h 464"/>
                <a:gd name="T22" fmla="*/ 236 w 1232"/>
                <a:gd name="T23" fmla="*/ 361 h 464"/>
                <a:gd name="T24" fmla="*/ 259 w 1232"/>
                <a:gd name="T25" fmla="*/ 354 h 464"/>
                <a:gd name="T26" fmla="*/ 281 w 1232"/>
                <a:gd name="T27" fmla="*/ 346 h 464"/>
                <a:gd name="T28" fmla="*/ 295 w 1232"/>
                <a:gd name="T29" fmla="*/ 346 h 464"/>
                <a:gd name="T30" fmla="*/ 318 w 1232"/>
                <a:gd name="T31" fmla="*/ 339 h 464"/>
                <a:gd name="T32" fmla="*/ 332 w 1232"/>
                <a:gd name="T33" fmla="*/ 332 h 464"/>
                <a:gd name="T34" fmla="*/ 362 w 1232"/>
                <a:gd name="T35" fmla="*/ 332 h 464"/>
                <a:gd name="T36" fmla="*/ 377 w 1232"/>
                <a:gd name="T37" fmla="*/ 332 h 464"/>
                <a:gd name="T38" fmla="*/ 399 w 1232"/>
                <a:gd name="T39" fmla="*/ 310 h 464"/>
                <a:gd name="T40" fmla="*/ 413 w 1232"/>
                <a:gd name="T41" fmla="*/ 310 h 464"/>
                <a:gd name="T42" fmla="*/ 436 w 1232"/>
                <a:gd name="T43" fmla="*/ 302 h 464"/>
                <a:gd name="T44" fmla="*/ 458 w 1232"/>
                <a:gd name="T45" fmla="*/ 295 h 464"/>
                <a:gd name="T46" fmla="*/ 480 w 1232"/>
                <a:gd name="T47" fmla="*/ 295 h 464"/>
                <a:gd name="T48" fmla="*/ 495 w 1232"/>
                <a:gd name="T49" fmla="*/ 295 h 464"/>
                <a:gd name="T50" fmla="*/ 517 w 1232"/>
                <a:gd name="T51" fmla="*/ 287 h 464"/>
                <a:gd name="T52" fmla="*/ 531 w 1232"/>
                <a:gd name="T53" fmla="*/ 287 h 464"/>
                <a:gd name="T54" fmla="*/ 554 w 1232"/>
                <a:gd name="T55" fmla="*/ 280 h 464"/>
                <a:gd name="T56" fmla="*/ 576 w 1232"/>
                <a:gd name="T57" fmla="*/ 273 h 464"/>
                <a:gd name="T58" fmla="*/ 598 w 1232"/>
                <a:gd name="T59" fmla="*/ 273 h 464"/>
                <a:gd name="T60" fmla="*/ 613 w 1232"/>
                <a:gd name="T61" fmla="*/ 273 h 464"/>
                <a:gd name="T62" fmla="*/ 635 w 1232"/>
                <a:gd name="T63" fmla="*/ 265 h 464"/>
                <a:gd name="T64" fmla="*/ 657 w 1232"/>
                <a:gd name="T65" fmla="*/ 258 h 464"/>
                <a:gd name="T66" fmla="*/ 679 w 1232"/>
                <a:gd name="T67" fmla="*/ 258 h 464"/>
                <a:gd name="T68" fmla="*/ 701 w 1232"/>
                <a:gd name="T69" fmla="*/ 258 h 464"/>
                <a:gd name="T70" fmla="*/ 723 w 1232"/>
                <a:gd name="T71" fmla="*/ 251 h 464"/>
                <a:gd name="T72" fmla="*/ 738 w 1232"/>
                <a:gd name="T73" fmla="*/ 251 h 464"/>
                <a:gd name="T74" fmla="*/ 760 w 1232"/>
                <a:gd name="T75" fmla="*/ 236 h 464"/>
                <a:gd name="T76" fmla="*/ 775 w 1232"/>
                <a:gd name="T77" fmla="*/ 236 h 464"/>
                <a:gd name="T78" fmla="*/ 797 w 1232"/>
                <a:gd name="T79" fmla="*/ 236 h 464"/>
                <a:gd name="T80" fmla="*/ 819 w 1232"/>
                <a:gd name="T81" fmla="*/ 229 h 464"/>
                <a:gd name="T82" fmla="*/ 841 w 1232"/>
                <a:gd name="T83" fmla="*/ 229 h 464"/>
                <a:gd name="T84" fmla="*/ 856 w 1232"/>
                <a:gd name="T85" fmla="*/ 221 h 464"/>
                <a:gd name="T86" fmla="*/ 878 w 1232"/>
                <a:gd name="T87" fmla="*/ 206 h 464"/>
                <a:gd name="T88" fmla="*/ 893 w 1232"/>
                <a:gd name="T89" fmla="*/ 199 h 464"/>
                <a:gd name="T90" fmla="*/ 915 w 1232"/>
                <a:gd name="T91" fmla="*/ 192 h 464"/>
                <a:gd name="T92" fmla="*/ 937 w 1232"/>
                <a:gd name="T93" fmla="*/ 192 h 464"/>
                <a:gd name="T94" fmla="*/ 959 w 1232"/>
                <a:gd name="T95" fmla="*/ 177 h 464"/>
                <a:gd name="T96" fmla="*/ 974 w 1232"/>
                <a:gd name="T97" fmla="*/ 170 h 464"/>
                <a:gd name="T98" fmla="*/ 996 w 1232"/>
                <a:gd name="T99" fmla="*/ 155 h 464"/>
                <a:gd name="T100" fmla="*/ 1011 w 1232"/>
                <a:gd name="T101" fmla="*/ 155 h 464"/>
                <a:gd name="T102" fmla="*/ 1040 w 1232"/>
                <a:gd name="T103" fmla="*/ 140 h 464"/>
                <a:gd name="T104" fmla="*/ 1055 w 1232"/>
                <a:gd name="T105" fmla="*/ 133 h 464"/>
                <a:gd name="T106" fmla="*/ 1077 w 1232"/>
                <a:gd name="T107" fmla="*/ 125 h 464"/>
                <a:gd name="T108" fmla="*/ 1092 w 1232"/>
                <a:gd name="T109" fmla="*/ 111 h 464"/>
                <a:gd name="T110" fmla="*/ 1114 w 1232"/>
                <a:gd name="T111" fmla="*/ 74 h 464"/>
                <a:gd name="T112" fmla="*/ 1136 w 1232"/>
                <a:gd name="T113" fmla="*/ 66 h 464"/>
                <a:gd name="T114" fmla="*/ 1158 w 1232"/>
                <a:gd name="T115" fmla="*/ 59 h 464"/>
                <a:gd name="T116" fmla="*/ 1173 w 1232"/>
                <a:gd name="T117" fmla="*/ 52 h 464"/>
                <a:gd name="T118" fmla="*/ 1195 w 1232"/>
                <a:gd name="T119" fmla="*/ 29 h 464"/>
                <a:gd name="T120" fmla="*/ 1210 w 1232"/>
                <a:gd name="T121" fmla="*/ 22 h 464"/>
                <a:gd name="T122" fmla="*/ 1232 w 1232"/>
                <a:gd name="T123" fmla="*/ 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32" h="464">
                  <a:moveTo>
                    <a:pt x="0" y="464"/>
                  </a:moveTo>
                  <a:lnTo>
                    <a:pt x="8" y="464"/>
                  </a:lnTo>
                  <a:lnTo>
                    <a:pt x="8" y="464"/>
                  </a:lnTo>
                  <a:lnTo>
                    <a:pt x="15" y="464"/>
                  </a:lnTo>
                  <a:lnTo>
                    <a:pt x="15" y="464"/>
                  </a:lnTo>
                  <a:lnTo>
                    <a:pt x="23" y="464"/>
                  </a:lnTo>
                  <a:lnTo>
                    <a:pt x="23" y="464"/>
                  </a:lnTo>
                  <a:lnTo>
                    <a:pt x="23" y="464"/>
                  </a:lnTo>
                  <a:lnTo>
                    <a:pt x="23" y="464"/>
                  </a:lnTo>
                  <a:lnTo>
                    <a:pt x="30" y="464"/>
                  </a:lnTo>
                  <a:lnTo>
                    <a:pt x="30" y="457"/>
                  </a:lnTo>
                  <a:lnTo>
                    <a:pt x="37" y="457"/>
                  </a:lnTo>
                  <a:lnTo>
                    <a:pt x="37" y="450"/>
                  </a:lnTo>
                  <a:lnTo>
                    <a:pt x="45" y="450"/>
                  </a:lnTo>
                  <a:lnTo>
                    <a:pt x="45" y="450"/>
                  </a:lnTo>
                  <a:lnTo>
                    <a:pt x="45" y="450"/>
                  </a:lnTo>
                  <a:lnTo>
                    <a:pt x="45" y="450"/>
                  </a:lnTo>
                  <a:lnTo>
                    <a:pt x="52" y="450"/>
                  </a:lnTo>
                  <a:lnTo>
                    <a:pt x="52" y="450"/>
                  </a:lnTo>
                  <a:lnTo>
                    <a:pt x="59" y="450"/>
                  </a:lnTo>
                  <a:lnTo>
                    <a:pt x="59" y="450"/>
                  </a:lnTo>
                  <a:lnTo>
                    <a:pt x="67" y="450"/>
                  </a:lnTo>
                  <a:lnTo>
                    <a:pt x="67" y="450"/>
                  </a:lnTo>
                  <a:lnTo>
                    <a:pt x="67" y="450"/>
                  </a:lnTo>
                  <a:lnTo>
                    <a:pt x="67" y="450"/>
                  </a:lnTo>
                  <a:lnTo>
                    <a:pt x="74" y="450"/>
                  </a:lnTo>
                  <a:lnTo>
                    <a:pt x="74" y="442"/>
                  </a:lnTo>
                  <a:lnTo>
                    <a:pt x="82" y="442"/>
                  </a:lnTo>
                  <a:lnTo>
                    <a:pt x="82" y="442"/>
                  </a:lnTo>
                  <a:lnTo>
                    <a:pt x="89" y="442"/>
                  </a:lnTo>
                  <a:lnTo>
                    <a:pt x="89" y="442"/>
                  </a:lnTo>
                  <a:lnTo>
                    <a:pt x="96" y="442"/>
                  </a:lnTo>
                  <a:lnTo>
                    <a:pt x="96" y="435"/>
                  </a:lnTo>
                  <a:lnTo>
                    <a:pt x="96" y="435"/>
                  </a:lnTo>
                  <a:lnTo>
                    <a:pt x="96" y="435"/>
                  </a:lnTo>
                  <a:lnTo>
                    <a:pt x="104" y="435"/>
                  </a:lnTo>
                  <a:lnTo>
                    <a:pt x="104" y="435"/>
                  </a:lnTo>
                  <a:lnTo>
                    <a:pt x="111" y="435"/>
                  </a:lnTo>
                  <a:lnTo>
                    <a:pt x="111" y="435"/>
                  </a:lnTo>
                  <a:lnTo>
                    <a:pt x="118" y="435"/>
                  </a:lnTo>
                  <a:lnTo>
                    <a:pt x="118" y="428"/>
                  </a:lnTo>
                  <a:lnTo>
                    <a:pt x="118" y="428"/>
                  </a:lnTo>
                  <a:lnTo>
                    <a:pt x="118" y="428"/>
                  </a:lnTo>
                  <a:lnTo>
                    <a:pt x="126" y="428"/>
                  </a:lnTo>
                  <a:lnTo>
                    <a:pt x="126" y="428"/>
                  </a:lnTo>
                  <a:lnTo>
                    <a:pt x="133" y="428"/>
                  </a:lnTo>
                  <a:lnTo>
                    <a:pt x="133" y="420"/>
                  </a:lnTo>
                  <a:lnTo>
                    <a:pt x="141" y="420"/>
                  </a:lnTo>
                  <a:lnTo>
                    <a:pt x="141" y="420"/>
                  </a:lnTo>
                  <a:lnTo>
                    <a:pt x="141" y="420"/>
                  </a:lnTo>
                  <a:lnTo>
                    <a:pt x="141" y="420"/>
                  </a:lnTo>
                  <a:lnTo>
                    <a:pt x="148" y="420"/>
                  </a:lnTo>
                  <a:lnTo>
                    <a:pt x="148" y="420"/>
                  </a:lnTo>
                  <a:lnTo>
                    <a:pt x="155" y="420"/>
                  </a:lnTo>
                  <a:lnTo>
                    <a:pt x="155" y="420"/>
                  </a:lnTo>
                  <a:lnTo>
                    <a:pt x="163" y="420"/>
                  </a:lnTo>
                  <a:lnTo>
                    <a:pt x="163" y="413"/>
                  </a:lnTo>
                  <a:lnTo>
                    <a:pt x="163" y="413"/>
                  </a:lnTo>
                  <a:lnTo>
                    <a:pt x="163" y="405"/>
                  </a:lnTo>
                  <a:lnTo>
                    <a:pt x="170" y="405"/>
                  </a:lnTo>
                  <a:lnTo>
                    <a:pt x="170" y="405"/>
                  </a:lnTo>
                  <a:lnTo>
                    <a:pt x="177" y="405"/>
                  </a:lnTo>
                  <a:lnTo>
                    <a:pt x="177" y="405"/>
                  </a:lnTo>
                  <a:lnTo>
                    <a:pt x="185" y="405"/>
                  </a:lnTo>
                  <a:lnTo>
                    <a:pt x="185" y="405"/>
                  </a:lnTo>
                  <a:lnTo>
                    <a:pt x="192" y="405"/>
                  </a:lnTo>
                  <a:lnTo>
                    <a:pt x="192" y="398"/>
                  </a:lnTo>
                  <a:lnTo>
                    <a:pt x="192" y="398"/>
                  </a:lnTo>
                  <a:lnTo>
                    <a:pt x="192" y="383"/>
                  </a:lnTo>
                  <a:lnTo>
                    <a:pt x="200" y="383"/>
                  </a:lnTo>
                  <a:lnTo>
                    <a:pt x="200" y="383"/>
                  </a:lnTo>
                  <a:lnTo>
                    <a:pt x="207" y="383"/>
                  </a:lnTo>
                  <a:lnTo>
                    <a:pt x="207" y="383"/>
                  </a:lnTo>
                  <a:lnTo>
                    <a:pt x="214" y="383"/>
                  </a:lnTo>
                  <a:lnTo>
                    <a:pt x="214" y="376"/>
                  </a:lnTo>
                  <a:lnTo>
                    <a:pt x="214" y="376"/>
                  </a:lnTo>
                  <a:lnTo>
                    <a:pt x="214" y="376"/>
                  </a:lnTo>
                  <a:lnTo>
                    <a:pt x="222" y="376"/>
                  </a:lnTo>
                  <a:lnTo>
                    <a:pt x="222" y="376"/>
                  </a:lnTo>
                  <a:lnTo>
                    <a:pt x="229" y="376"/>
                  </a:lnTo>
                  <a:lnTo>
                    <a:pt x="229" y="376"/>
                  </a:lnTo>
                  <a:lnTo>
                    <a:pt x="236" y="376"/>
                  </a:lnTo>
                  <a:lnTo>
                    <a:pt x="236" y="361"/>
                  </a:lnTo>
                  <a:lnTo>
                    <a:pt x="236" y="361"/>
                  </a:lnTo>
                  <a:lnTo>
                    <a:pt x="236" y="361"/>
                  </a:lnTo>
                  <a:lnTo>
                    <a:pt x="244" y="361"/>
                  </a:lnTo>
                  <a:lnTo>
                    <a:pt x="244" y="361"/>
                  </a:lnTo>
                  <a:lnTo>
                    <a:pt x="251" y="361"/>
                  </a:lnTo>
                  <a:lnTo>
                    <a:pt x="251" y="361"/>
                  </a:lnTo>
                  <a:lnTo>
                    <a:pt x="259" y="361"/>
                  </a:lnTo>
                  <a:lnTo>
                    <a:pt x="259" y="354"/>
                  </a:lnTo>
                  <a:lnTo>
                    <a:pt x="266" y="354"/>
                  </a:lnTo>
                  <a:lnTo>
                    <a:pt x="266" y="354"/>
                  </a:lnTo>
                  <a:lnTo>
                    <a:pt x="266" y="354"/>
                  </a:lnTo>
                  <a:lnTo>
                    <a:pt x="266" y="346"/>
                  </a:lnTo>
                  <a:lnTo>
                    <a:pt x="273" y="346"/>
                  </a:lnTo>
                  <a:lnTo>
                    <a:pt x="273" y="346"/>
                  </a:lnTo>
                  <a:lnTo>
                    <a:pt x="281" y="346"/>
                  </a:lnTo>
                  <a:lnTo>
                    <a:pt x="281" y="346"/>
                  </a:lnTo>
                  <a:lnTo>
                    <a:pt x="288" y="346"/>
                  </a:lnTo>
                  <a:lnTo>
                    <a:pt x="288" y="346"/>
                  </a:lnTo>
                  <a:lnTo>
                    <a:pt x="288" y="346"/>
                  </a:lnTo>
                  <a:lnTo>
                    <a:pt x="288" y="346"/>
                  </a:lnTo>
                  <a:lnTo>
                    <a:pt x="295" y="346"/>
                  </a:lnTo>
                  <a:lnTo>
                    <a:pt x="295" y="346"/>
                  </a:lnTo>
                  <a:lnTo>
                    <a:pt x="303" y="346"/>
                  </a:lnTo>
                  <a:lnTo>
                    <a:pt x="303" y="346"/>
                  </a:lnTo>
                  <a:lnTo>
                    <a:pt x="310" y="346"/>
                  </a:lnTo>
                  <a:lnTo>
                    <a:pt x="310" y="346"/>
                  </a:lnTo>
                  <a:lnTo>
                    <a:pt x="310" y="346"/>
                  </a:lnTo>
                  <a:lnTo>
                    <a:pt x="310" y="339"/>
                  </a:lnTo>
                  <a:lnTo>
                    <a:pt x="318" y="339"/>
                  </a:lnTo>
                  <a:lnTo>
                    <a:pt x="318" y="332"/>
                  </a:lnTo>
                  <a:lnTo>
                    <a:pt x="325" y="332"/>
                  </a:lnTo>
                  <a:lnTo>
                    <a:pt x="325" y="332"/>
                  </a:lnTo>
                  <a:lnTo>
                    <a:pt x="332" y="332"/>
                  </a:lnTo>
                  <a:lnTo>
                    <a:pt x="332" y="332"/>
                  </a:lnTo>
                  <a:lnTo>
                    <a:pt x="332" y="332"/>
                  </a:lnTo>
                  <a:lnTo>
                    <a:pt x="332" y="332"/>
                  </a:lnTo>
                  <a:lnTo>
                    <a:pt x="340" y="332"/>
                  </a:lnTo>
                  <a:lnTo>
                    <a:pt x="340" y="332"/>
                  </a:lnTo>
                  <a:lnTo>
                    <a:pt x="347" y="332"/>
                  </a:lnTo>
                  <a:lnTo>
                    <a:pt x="347" y="332"/>
                  </a:lnTo>
                  <a:lnTo>
                    <a:pt x="354" y="332"/>
                  </a:lnTo>
                  <a:lnTo>
                    <a:pt x="354" y="332"/>
                  </a:lnTo>
                  <a:lnTo>
                    <a:pt x="362" y="332"/>
                  </a:lnTo>
                  <a:lnTo>
                    <a:pt x="362" y="332"/>
                  </a:lnTo>
                  <a:lnTo>
                    <a:pt x="362" y="332"/>
                  </a:lnTo>
                  <a:lnTo>
                    <a:pt x="362" y="332"/>
                  </a:lnTo>
                  <a:lnTo>
                    <a:pt x="369" y="332"/>
                  </a:lnTo>
                  <a:lnTo>
                    <a:pt x="369" y="332"/>
                  </a:lnTo>
                  <a:lnTo>
                    <a:pt x="377" y="332"/>
                  </a:lnTo>
                  <a:lnTo>
                    <a:pt x="377" y="332"/>
                  </a:lnTo>
                  <a:lnTo>
                    <a:pt x="384" y="332"/>
                  </a:lnTo>
                  <a:lnTo>
                    <a:pt x="384" y="324"/>
                  </a:lnTo>
                  <a:lnTo>
                    <a:pt x="384" y="324"/>
                  </a:lnTo>
                  <a:lnTo>
                    <a:pt x="384" y="324"/>
                  </a:lnTo>
                  <a:lnTo>
                    <a:pt x="391" y="324"/>
                  </a:lnTo>
                  <a:lnTo>
                    <a:pt x="391" y="310"/>
                  </a:lnTo>
                  <a:lnTo>
                    <a:pt x="399" y="310"/>
                  </a:lnTo>
                  <a:lnTo>
                    <a:pt x="399" y="310"/>
                  </a:lnTo>
                  <a:lnTo>
                    <a:pt x="406" y="310"/>
                  </a:lnTo>
                  <a:lnTo>
                    <a:pt x="406" y="310"/>
                  </a:lnTo>
                  <a:lnTo>
                    <a:pt x="406" y="310"/>
                  </a:lnTo>
                  <a:lnTo>
                    <a:pt x="406" y="310"/>
                  </a:lnTo>
                  <a:lnTo>
                    <a:pt x="413" y="310"/>
                  </a:lnTo>
                  <a:lnTo>
                    <a:pt x="413" y="310"/>
                  </a:lnTo>
                  <a:lnTo>
                    <a:pt x="421" y="310"/>
                  </a:lnTo>
                  <a:lnTo>
                    <a:pt x="421" y="302"/>
                  </a:lnTo>
                  <a:lnTo>
                    <a:pt x="428" y="302"/>
                  </a:lnTo>
                  <a:lnTo>
                    <a:pt x="428" y="302"/>
                  </a:lnTo>
                  <a:lnTo>
                    <a:pt x="436" y="302"/>
                  </a:lnTo>
                  <a:lnTo>
                    <a:pt x="436" y="302"/>
                  </a:lnTo>
                  <a:lnTo>
                    <a:pt x="436" y="302"/>
                  </a:lnTo>
                  <a:lnTo>
                    <a:pt x="436" y="295"/>
                  </a:lnTo>
                  <a:lnTo>
                    <a:pt x="443" y="295"/>
                  </a:lnTo>
                  <a:lnTo>
                    <a:pt x="443" y="295"/>
                  </a:lnTo>
                  <a:lnTo>
                    <a:pt x="450" y="295"/>
                  </a:lnTo>
                  <a:lnTo>
                    <a:pt x="450" y="295"/>
                  </a:lnTo>
                  <a:lnTo>
                    <a:pt x="458" y="295"/>
                  </a:lnTo>
                  <a:lnTo>
                    <a:pt x="458" y="295"/>
                  </a:lnTo>
                  <a:lnTo>
                    <a:pt x="458" y="295"/>
                  </a:lnTo>
                  <a:lnTo>
                    <a:pt x="458" y="295"/>
                  </a:lnTo>
                  <a:lnTo>
                    <a:pt x="465" y="295"/>
                  </a:lnTo>
                  <a:lnTo>
                    <a:pt x="465" y="295"/>
                  </a:lnTo>
                  <a:lnTo>
                    <a:pt x="472" y="295"/>
                  </a:lnTo>
                  <a:lnTo>
                    <a:pt x="472" y="295"/>
                  </a:lnTo>
                  <a:lnTo>
                    <a:pt x="480" y="295"/>
                  </a:lnTo>
                  <a:lnTo>
                    <a:pt x="480" y="295"/>
                  </a:lnTo>
                  <a:lnTo>
                    <a:pt x="480" y="295"/>
                  </a:lnTo>
                  <a:lnTo>
                    <a:pt x="480" y="295"/>
                  </a:lnTo>
                  <a:lnTo>
                    <a:pt x="487" y="295"/>
                  </a:lnTo>
                  <a:lnTo>
                    <a:pt x="487" y="295"/>
                  </a:lnTo>
                  <a:lnTo>
                    <a:pt x="495" y="295"/>
                  </a:lnTo>
                  <a:lnTo>
                    <a:pt x="495" y="295"/>
                  </a:lnTo>
                  <a:lnTo>
                    <a:pt x="502" y="295"/>
                  </a:lnTo>
                  <a:lnTo>
                    <a:pt x="502" y="295"/>
                  </a:lnTo>
                  <a:lnTo>
                    <a:pt x="502" y="295"/>
                  </a:lnTo>
                  <a:lnTo>
                    <a:pt x="502" y="287"/>
                  </a:lnTo>
                  <a:lnTo>
                    <a:pt x="509" y="287"/>
                  </a:lnTo>
                  <a:lnTo>
                    <a:pt x="509" y="287"/>
                  </a:lnTo>
                  <a:lnTo>
                    <a:pt x="517" y="287"/>
                  </a:lnTo>
                  <a:lnTo>
                    <a:pt x="517" y="287"/>
                  </a:lnTo>
                  <a:lnTo>
                    <a:pt x="524" y="287"/>
                  </a:lnTo>
                  <a:lnTo>
                    <a:pt x="524" y="287"/>
                  </a:lnTo>
                  <a:lnTo>
                    <a:pt x="531" y="287"/>
                  </a:lnTo>
                  <a:lnTo>
                    <a:pt x="531" y="287"/>
                  </a:lnTo>
                  <a:lnTo>
                    <a:pt x="531" y="287"/>
                  </a:lnTo>
                  <a:lnTo>
                    <a:pt x="531" y="287"/>
                  </a:lnTo>
                  <a:lnTo>
                    <a:pt x="539" y="287"/>
                  </a:lnTo>
                  <a:lnTo>
                    <a:pt x="539" y="287"/>
                  </a:lnTo>
                  <a:lnTo>
                    <a:pt x="546" y="287"/>
                  </a:lnTo>
                  <a:lnTo>
                    <a:pt x="546" y="287"/>
                  </a:lnTo>
                  <a:lnTo>
                    <a:pt x="554" y="287"/>
                  </a:lnTo>
                  <a:lnTo>
                    <a:pt x="554" y="280"/>
                  </a:lnTo>
                  <a:lnTo>
                    <a:pt x="554" y="280"/>
                  </a:lnTo>
                  <a:lnTo>
                    <a:pt x="554" y="273"/>
                  </a:lnTo>
                  <a:lnTo>
                    <a:pt x="561" y="273"/>
                  </a:lnTo>
                  <a:lnTo>
                    <a:pt x="561" y="273"/>
                  </a:lnTo>
                  <a:lnTo>
                    <a:pt x="568" y="273"/>
                  </a:lnTo>
                  <a:lnTo>
                    <a:pt x="568" y="273"/>
                  </a:lnTo>
                  <a:lnTo>
                    <a:pt x="576" y="273"/>
                  </a:lnTo>
                  <a:lnTo>
                    <a:pt x="576" y="273"/>
                  </a:lnTo>
                  <a:lnTo>
                    <a:pt x="576" y="273"/>
                  </a:lnTo>
                  <a:lnTo>
                    <a:pt x="576" y="273"/>
                  </a:lnTo>
                  <a:lnTo>
                    <a:pt x="583" y="273"/>
                  </a:lnTo>
                  <a:lnTo>
                    <a:pt x="583" y="273"/>
                  </a:lnTo>
                  <a:lnTo>
                    <a:pt x="590" y="273"/>
                  </a:lnTo>
                  <a:lnTo>
                    <a:pt x="590" y="273"/>
                  </a:lnTo>
                  <a:lnTo>
                    <a:pt x="598" y="273"/>
                  </a:lnTo>
                  <a:lnTo>
                    <a:pt x="598" y="273"/>
                  </a:lnTo>
                  <a:lnTo>
                    <a:pt x="605" y="273"/>
                  </a:lnTo>
                  <a:lnTo>
                    <a:pt x="605" y="273"/>
                  </a:lnTo>
                  <a:lnTo>
                    <a:pt x="605" y="273"/>
                  </a:lnTo>
                  <a:lnTo>
                    <a:pt x="605" y="273"/>
                  </a:lnTo>
                  <a:lnTo>
                    <a:pt x="613" y="273"/>
                  </a:lnTo>
                  <a:lnTo>
                    <a:pt x="613" y="273"/>
                  </a:lnTo>
                  <a:lnTo>
                    <a:pt x="620" y="273"/>
                  </a:lnTo>
                  <a:lnTo>
                    <a:pt x="620" y="273"/>
                  </a:lnTo>
                  <a:lnTo>
                    <a:pt x="627" y="273"/>
                  </a:lnTo>
                  <a:lnTo>
                    <a:pt x="627" y="273"/>
                  </a:lnTo>
                  <a:lnTo>
                    <a:pt x="627" y="273"/>
                  </a:lnTo>
                  <a:lnTo>
                    <a:pt x="627" y="265"/>
                  </a:lnTo>
                  <a:lnTo>
                    <a:pt x="635" y="265"/>
                  </a:lnTo>
                  <a:lnTo>
                    <a:pt x="635" y="265"/>
                  </a:lnTo>
                  <a:lnTo>
                    <a:pt x="642" y="265"/>
                  </a:lnTo>
                  <a:lnTo>
                    <a:pt x="642" y="265"/>
                  </a:lnTo>
                  <a:lnTo>
                    <a:pt x="649" y="265"/>
                  </a:lnTo>
                  <a:lnTo>
                    <a:pt x="649" y="265"/>
                  </a:lnTo>
                  <a:lnTo>
                    <a:pt x="657" y="265"/>
                  </a:lnTo>
                  <a:lnTo>
                    <a:pt x="657" y="258"/>
                  </a:lnTo>
                  <a:lnTo>
                    <a:pt x="664" y="258"/>
                  </a:lnTo>
                  <a:lnTo>
                    <a:pt x="664" y="258"/>
                  </a:lnTo>
                  <a:lnTo>
                    <a:pt x="672" y="258"/>
                  </a:lnTo>
                  <a:lnTo>
                    <a:pt x="672" y="258"/>
                  </a:lnTo>
                  <a:lnTo>
                    <a:pt x="672" y="258"/>
                  </a:lnTo>
                  <a:lnTo>
                    <a:pt x="672" y="258"/>
                  </a:lnTo>
                  <a:lnTo>
                    <a:pt x="679" y="258"/>
                  </a:lnTo>
                  <a:lnTo>
                    <a:pt x="679" y="258"/>
                  </a:lnTo>
                  <a:lnTo>
                    <a:pt x="686" y="258"/>
                  </a:lnTo>
                  <a:lnTo>
                    <a:pt x="686" y="258"/>
                  </a:lnTo>
                  <a:lnTo>
                    <a:pt x="694" y="258"/>
                  </a:lnTo>
                  <a:lnTo>
                    <a:pt x="694" y="258"/>
                  </a:lnTo>
                  <a:lnTo>
                    <a:pt x="701" y="258"/>
                  </a:lnTo>
                  <a:lnTo>
                    <a:pt x="701" y="258"/>
                  </a:lnTo>
                  <a:lnTo>
                    <a:pt x="701" y="258"/>
                  </a:lnTo>
                  <a:lnTo>
                    <a:pt x="701" y="258"/>
                  </a:lnTo>
                  <a:lnTo>
                    <a:pt x="708" y="258"/>
                  </a:lnTo>
                  <a:lnTo>
                    <a:pt x="708" y="251"/>
                  </a:lnTo>
                  <a:lnTo>
                    <a:pt x="716" y="251"/>
                  </a:lnTo>
                  <a:lnTo>
                    <a:pt x="716" y="251"/>
                  </a:lnTo>
                  <a:lnTo>
                    <a:pt x="723" y="251"/>
                  </a:lnTo>
                  <a:lnTo>
                    <a:pt x="723" y="251"/>
                  </a:lnTo>
                  <a:lnTo>
                    <a:pt x="723" y="251"/>
                  </a:lnTo>
                  <a:lnTo>
                    <a:pt x="723" y="251"/>
                  </a:lnTo>
                  <a:lnTo>
                    <a:pt x="731" y="251"/>
                  </a:lnTo>
                  <a:lnTo>
                    <a:pt x="731" y="251"/>
                  </a:lnTo>
                  <a:lnTo>
                    <a:pt x="738" y="251"/>
                  </a:lnTo>
                  <a:lnTo>
                    <a:pt x="738" y="251"/>
                  </a:lnTo>
                  <a:lnTo>
                    <a:pt x="745" y="251"/>
                  </a:lnTo>
                  <a:lnTo>
                    <a:pt x="745" y="251"/>
                  </a:lnTo>
                  <a:lnTo>
                    <a:pt x="745" y="251"/>
                  </a:lnTo>
                  <a:lnTo>
                    <a:pt x="745" y="236"/>
                  </a:lnTo>
                  <a:lnTo>
                    <a:pt x="753" y="236"/>
                  </a:lnTo>
                  <a:lnTo>
                    <a:pt x="753" y="236"/>
                  </a:lnTo>
                  <a:lnTo>
                    <a:pt x="760" y="236"/>
                  </a:lnTo>
                  <a:lnTo>
                    <a:pt x="760" y="236"/>
                  </a:lnTo>
                  <a:lnTo>
                    <a:pt x="767" y="236"/>
                  </a:lnTo>
                  <a:lnTo>
                    <a:pt x="767" y="236"/>
                  </a:lnTo>
                  <a:lnTo>
                    <a:pt x="775" y="236"/>
                  </a:lnTo>
                  <a:lnTo>
                    <a:pt x="775" y="236"/>
                  </a:lnTo>
                  <a:lnTo>
                    <a:pt x="775" y="236"/>
                  </a:lnTo>
                  <a:lnTo>
                    <a:pt x="775" y="236"/>
                  </a:lnTo>
                  <a:lnTo>
                    <a:pt x="782" y="236"/>
                  </a:lnTo>
                  <a:lnTo>
                    <a:pt x="782" y="236"/>
                  </a:lnTo>
                  <a:lnTo>
                    <a:pt x="790" y="236"/>
                  </a:lnTo>
                  <a:lnTo>
                    <a:pt x="790" y="236"/>
                  </a:lnTo>
                  <a:lnTo>
                    <a:pt x="797" y="236"/>
                  </a:lnTo>
                  <a:lnTo>
                    <a:pt x="797" y="236"/>
                  </a:lnTo>
                  <a:lnTo>
                    <a:pt x="797" y="236"/>
                  </a:lnTo>
                  <a:lnTo>
                    <a:pt x="797" y="236"/>
                  </a:lnTo>
                  <a:lnTo>
                    <a:pt x="804" y="236"/>
                  </a:lnTo>
                  <a:lnTo>
                    <a:pt x="804" y="236"/>
                  </a:lnTo>
                  <a:lnTo>
                    <a:pt x="812" y="236"/>
                  </a:lnTo>
                  <a:lnTo>
                    <a:pt x="812" y="229"/>
                  </a:lnTo>
                  <a:lnTo>
                    <a:pt x="819" y="229"/>
                  </a:lnTo>
                  <a:lnTo>
                    <a:pt x="819" y="229"/>
                  </a:lnTo>
                  <a:lnTo>
                    <a:pt x="819" y="229"/>
                  </a:lnTo>
                  <a:lnTo>
                    <a:pt x="819" y="229"/>
                  </a:lnTo>
                  <a:lnTo>
                    <a:pt x="826" y="229"/>
                  </a:lnTo>
                  <a:lnTo>
                    <a:pt x="826" y="229"/>
                  </a:lnTo>
                  <a:lnTo>
                    <a:pt x="834" y="229"/>
                  </a:lnTo>
                  <a:lnTo>
                    <a:pt x="834" y="229"/>
                  </a:lnTo>
                  <a:lnTo>
                    <a:pt x="841" y="229"/>
                  </a:lnTo>
                  <a:lnTo>
                    <a:pt x="841" y="229"/>
                  </a:lnTo>
                  <a:lnTo>
                    <a:pt x="841" y="229"/>
                  </a:lnTo>
                  <a:lnTo>
                    <a:pt x="841" y="229"/>
                  </a:lnTo>
                  <a:lnTo>
                    <a:pt x="849" y="229"/>
                  </a:lnTo>
                  <a:lnTo>
                    <a:pt x="849" y="229"/>
                  </a:lnTo>
                  <a:lnTo>
                    <a:pt x="856" y="229"/>
                  </a:lnTo>
                  <a:lnTo>
                    <a:pt x="856" y="221"/>
                  </a:lnTo>
                  <a:lnTo>
                    <a:pt x="863" y="221"/>
                  </a:lnTo>
                  <a:lnTo>
                    <a:pt x="863" y="221"/>
                  </a:lnTo>
                  <a:lnTo>
                    <a:pt x="871" y="221"/>
                  </a:lnTo>
                  <a:lnTo>
                    <a:pt x="871" y="206"/>
                  </a:lnTo>
                  <a:lnTo>
                    <a:pt x="871" y="206"/>
                  </a:lnTo>
                  <a:lnTo>
                    <a:pt x="871" y="206"/>
                  </a:lnTo>
                  <a:lnTo>
                    <a:pt x="878" y="206"/>
                  </a:lnTo>
                  <a:lnTo>
                    <a:pt x="878" y="206"/>
                  </a:lnTo>
                  <a:lnTo>
                    <a:pt x="885" y="206"/>
                  </a:lnTo>
                  <a:lnTo>
                    <a:pt x="885" y="206"/>
                  </a:lnTo>
                  <a:lnTo>
                    <a:pt x="893" y="206"/>
                  </a:lnTo>
                  <a:lnTo>
                    <a:pt x="893" y="206"/>
                  </a:lnTo>
                  <a:lnTo>
                    <a:pt x="893" y="206"/>
                  </a:lnTo>
                  <a:lnTo>
                    <a:pt x="893" y="199"/>
                  </a:lnTo>
                  <a:lnTo>
                    <a:pt x="900" y="199"/>
                  </a:lnTo>
                  <a:lnTo>
                    <a:pt x="900" y="199"/>
                  </a:lnTo>
                  <a:lnTo>
                    <a:pt x="908" y="199"/>
                  </a:lnTo>
                  <a:lnTo>
                    <a:pt x="908" y="192"/>
                  </a:lnTo>
                  <a:lnTo>
                    <a:pt x="915" y="192"/>
                  </a:lnTo>
                  <a:lnTo>
                    <a:pt x="915" y="192"/>
                  </a:lnTo>
                  <a:lnTo>
                    <a:pt x="915" y="192"/>
                  </a:lnTo>
                  <a:lnTo>
                    <a:pt x="915" y="192"/>
                  </a:lnTo>
                  <a:lnTo>
                    <a:pt x="922" y="192"/>
                  </a:lnTo>
                  <a:lnTo>
                    <a:pt x="922" y="192"/>
                  </a:lnTo>
                  <a:lnTo>
                    <a:pt x="930" y="192"/>
                  </a:lnTo>
                  <a:lnTo>
                    <a:pt x="930" y="192"/>
                  </a:lnTo>
                  <a:lnTo>
                    <a:pt x="937" y="192"/>
                  </a:lnTo>
                  <a:lnTo>
                    <a:pt x="937" y="192"/>
                  </a:lnTo>
                  <a:lnTo>
                    <a:pt x="937" y="192"/>
                  </a:lnTo>
                  <a:lnTo>
                    <a:pt x="937" y="192"/>
                  </a:lnTo>
                  <a:lnTo>
                    <a:pt x="944" y="192"/>
                  </a:lnTo>
                  <a:lnTo>
                    <a:pt x="944" y="177"/>
                  </a:lnTo>
                  <a:lnTo>
                    <a:pt x="952" y="177"/>
                  </a:lnTo>
                  <a:lnTo>
                    <a:pt x="952" y="177"/>
                  </a:lnTo>
                  <a:lnTo>
                    <a:pt x="959" y="177"/>
                  </a:lnTo>
                  <a:lnTo>
                    <a:pt x="959" y="177"/>
                  </a:lnTo>
                  <a:lnTo>
                    <a:pt x="967" y="177"/>
                  </a:lnTo>
                  <a:lnTo>
                    <a:pt x="967" y="170"/>
                  </a:lnTo>
                  <a:lnTo>
                    <a:pt x="967" y="170"/>
                  </a:lnTo>
                  <a:lnTo>
                    <a:pt x="967" y="170"/>
                  </a:lnTo>
                  <a:lnTo>
                    <a:pt x="974" y="170"/>
                  </a:lnTo>
                  <a:lnTo>
                    <a:pt x="974" y="170"/>
                  </a:lnTo>
                  <a:lnTo>
                    <a:pt x="981" y="170"/>
                  </a:lnTo>
                  <a:lnTo>
                    <a:pt x="981" y="170"/>
                  </a:lnTo>
                  <a:lnTo>
                    <a:pt x="989" y="170"/>
                  </a:lnTo>
                  <a:lnTo>
                    <a:pt x="989" y="162"/>
                  </a:lnTo>
                  <a:lnTo>
                    <a:pt x="989" y="162"/>
                  </a:lnTo>
                  <a:lnTo>
                    <a:pt x="989" y="155"/>
                  </a:lnTo>
                  <a:lnTo>
                    <a:pt x="996" y="155"/>
                  </a:lnTo>
                  <a:lnTo>
                    <a:pt x="996" y="155"/>
                  </a:lnTo>
                  <a:lnTo>
                    <a:pt x="1003" y="155"/>
                  </a:lnTo>
                  <a:lnTo>
                    <a:pt x="1003" y="155"/>
                  </a:lnTo>
                  <a:lnTo>
                    <a:pt x="1011" y="155"/>
                  </a:lnTo>
                  <a:lnTo>
                    <a:pt x="1011" y="155"/>
                  </a:lnTo>
                  <a:lnTo>
                    <a:pt x="1011" y="155"/>
                  </a:lnTo>
                  <a:lnTo>
                    <a:pt x="1011" y="155"/>
                  </a:lnTo>
                  <a:lnTo>
                    <a:pt x="1018" y="155"/>
                  </a:lnTo>
                  <a:lnTo>
                    <a:pt x="1018" y="147"/>
                  </a:lnTo>
                  <a:lnTo>
                    <a:pt x="1026" y="147"/>
                  </a:lnTo>
                  <a:lnTo>
                    <a:pt x="1026" y="147"/>
                  </a:lnTo>
                  <a:lnTo>
                    <a:pt x="1033" y="147"/>
                  </a:lnTo>
                  <a:lnTo>
                    <a:pt x="1033" y="140"/>
                  </a:lnTo>
                  <a:lnTo>
                    <a:pt x="1040" y="140"/>
                  </a:lnTo>
                  <a:lnTo>
                    <a:pt x="1040" y="140"/>
                  </a:lnTo>
                  <a:lnTo>
                    <a:pt x="1040" y="140"/>
                  </a:lnTo>
                  <a:lnTo>
                    <a:pt x="1040" y="140"/>
                  </a:lnTo>
                  <a:lnTo>
                    <a:pt x="1048" y="140"/>
                  </a:lnTo>
                  <a:lnTo>
                    <a:pt x="1048" y="133"/>
                  </a:lnTo>
                  <a:lnTo>
                    <a:pt x="1055" y="133"/>
                  </a:lnTo>
                  <a:lnTo>
                    <a:pt x="1055" y="133"/>
                  </a:lnTo>
                  <a:lnTo>
                    <a:pt x="1062" y="133"/>
                  </a:lnTo>
                  <a:lnTo>
                    <a:pt x="1062" y="125"/>
                  </a:lnTo>
                  <a:lnTo>
                    <a:pt x="1062" y="125"/>
                  </a:lnTo>
                  <a:lnTo>
                    <a:pt x="1062" y="125"/>
                  </a:lnTo>
                  <a:lnTo>
                    <a:pt x="1070" y="125"/>
                  </a:lnTo>
                  <a:lnTo>
                    <a:pt x="1070" y="125"/>
                  </a:lnTo>
                  <a:lnTo>
                    <a:pt x="1077" y="125"/>
                  </a:lnTo>
                  <a:lnTo>
                    <a:pt x="1077" y="118"/>
                  </a:lnTo>
                  <a:lnTo>
                    <a:pt x="1085" y="118"/>
                  </a:lnTo>
                  <a:lnTo>
                    <a:pt x="1085" y="118"/>
                  </a:lnTo>
                  <a:lnTo>
                    <a:pt x="1085" y="118"/>
                  </a:lnTo>
                  <a:lnTo>
                    <a:pt x="1085" y="118"/>
                  </a:lnTo>
                  <a:lnTo>
                    <a:pt x="1092" y="118"/>
                  </a:lnTo>
                  <a:lnTo>
                    <a:pt x="1092" y="111"/>
                  </a:lnTo>
                  <a:lnTo>
                    <a:pt x="1099" y="111"/>
                  </a:lnTo>
                  <a:lnTo>
                    <a:pt x="1099" y="96"/>
                  </a:lnTo>
                  <a:lnTo>
                    <a:pt x="1107" y="96"/>
                  </a:lnTo>
                  <a:lnTo>
                    <a:pt x="1107" y="74"/>
                  </a:lnTo>
                  <a:lnTo>
                    <a:pt x="1107" y="74"/>
                  </a:lnTo>
                  <a:lnTo>
                    <a:pt x="1107" y="74"/>
                  </a:lnTo>
                  <a:lnTo>
                    <a:pt x="1114" y="74"/>
                  </a:lnTo>
                  <a:lnTo>
                    <a:pt x="1114" y="74"/>
                  </a:lnTo>
                  <a:lnTo>
                    <a:pt x="1121" y="74"/>
                  </a:lnTo>
                  <a:lnTo>
                    <a:pt x="1121" y="74"/>
                  </a:lnTo>
                  <a:lnTo>
                    <a:pt x="1129" y="74"/>
                  </a:lnTo>
                  <a:lnTo>
                    <a:pt x="1129" y="66"/>
                  </a:lnTo>
                  <a:lnTo>
                    <a:pt x="1136" y="66"/>
                  </a:lnTo>
                  <a:lnTo>
                    <a:pt x="1136" y="66"/>
                  </a:lnTo>
                  <a:lnTo>
                    <a:pt x="1136" y="66"/>
                  </a:lnTo>
                  <a:lnTo>
                    <a:pt x="1136" y="66"/>
                  </a:lnTo>
                  <a:lnTo>
                    <a:pt x="1144" y="66"/>
                  </a:lnTo>
                  <a:lnTo>
                    <a:pt x="1144" y="66"/>
                  </a:lnTo>
                  <a:lnTo>
                    <a:pt x="1151" y="66"/>
                  </a:lnTo>
                  <a:lnTo>
                    <a:pt x="1151" y="59"/>
                  </a:lnTo>
                  <a:lnTo>
                    <a:pt x="1158" y="59"/>
                  </a:lnTo>
                  <a:lnTo>
                    <a:pt x="1158" y="59"/>
                  </a:lnTo>
                  <a:lnTo>
                    <a:pt x="1158" y="59"/>
                  </a:lnTo>
                  <a:lnTo>
                    <a:pt x="1158" y="52"/>
                  </a:lnTo>
                  <a:lnTo>
                    <a:pt x="1166" y="52"/>
                  </a:lnTo>
                  <a:lnTo>
                    <a:pt x="1166" y="52"/>
                  </a:lnTo>
                  <a:lnTo>
                    <a:pt x="1173" y="52"/>
                  </a:lnTo>
                  <a:lnTo>
                    <a:pt x="1173" y="52"/>
                  </a:lnTo>
                  <a:lnTo>
                    <a:pt x="1181" y="52"/>
                  </a:lnTo>
                  <a:lnTo>
                    <a:pt x="1181" y="52"/>
                  </a:lnTo>
                  <a:lnTo>
                    <a:pt x="1181" y="52"/>
                  </a:lnTo>
                  <a:lnTo>
                    <a:pt x="1181" y="37"/>
                  </a:lnTo>
                  <a:lnTo>
                    <a:pt x="1188" y="37"/>
                  </a:lnTo>
                  <a:lnTo>
                    <a:pt x="1188" y="29"/>
                  </a:lnTo>
                  <a:lnTo>
                    <a:pt x="1195" y="29"/>
                  </a:lnTo>
                  <a:lnTo>
                    <a:pt x="1195" y="29"/>
                  </a:lnTo>
                  <a:lnTo>
                    <a:pt x="1203" y="29"/>
                  </a:lnTo>
                  <a:lnTo>
                    <a:pt x="1203" y="22"/>
                  </a:lnTo>
                  <a:lnTo>
                    <a:pt x="1210" y="22"/>
                  </a:lnTo>
                  <a:lnTo>
                    <a:pt x="1210" y="22"/>
                  </a:lnTo>
                  <a:lnTo>
                    <a:pt x="1210" y="22"/>
                  </a:lnTo>
                  <a:lnTo>
                    <a:pt x="1210" y="22"/>
                  </a:lnTo>
                  <a:lnTo>
                    <a:pt x="1217" y="22"/>
                  </a:lnTo>
                  <a:lnTo>
                    <a:pt x="1217" y="15"/>
                  </a:lnTo>
                  <a:lnTo>
                    <a:pt x="1225" y="15"/>
                  </a:lnTo>
                  <a:lnTo>
                    <a:pt x="1225" y="7"/>
                  </a:lnTo>
                  <a:lnTo>
                    <a:pt x="1232" y="7"/>
                  </a:lnTo>
                  <a:lnTo>
                    <a:pt x="1232" y="7"/>
                  </a:lnTo>
                  <a:lnTo>
                    <a:pt x="1232" y="7"/>
                  </a:lnTo>
                  <a:lnTo>
                    <a:pt x="1232" y="0"/>
                  </a:lnTo>
                </a:path>
              </a:pathLst>
            </a:custGeom>
            <a:noFill/>
            <a:ln w="25400" cap="sq">
              <a:solidFill>
                <a:srgbClr val="0B0B4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40" name="Rectangle 39"/>
            <p:cNvSpPr>
              <a:spLocks noChangeArrowheads="1"/>
            </p:cNvSpPr>
            <p:nvPr/>
          </p:nvSpPr>
          <p:spPr bwMode="auto">
            <a:xfrm>
              <a:off x="9001126" y="3300413"/>
              <a:ext cx="12259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2538413" y="4471988"/>
              <a:ext cx="6227763" cy="666750"/>
            </a:xfrm>
            <a:custGeom>
              <a:avLst/>
              <a:gdLst>
                <a:gd name="T0" fmla="*/ 287 w 3923"/>
                <a:gd name="T1" fmla="*/ 420 h 420"/>
                <a:gd name="T2" fmla="*/ 376 w 3923"/>
                <a:gd name="T3" fmla="*/ 413 h 420"/>
                <a:gd name="T4" fmla="*/ 487 w 3923"/>
                <a:gd name="T5" fmla="*/ 413 h 420"/>
                <a:gd name="T6" fmla="*/ 627 w 3923"/>
                <a:gd name="T7" fmla="*/ 405 h 420"/>
                <a:gd name="T8" fmla="*/ 730 w 3923"/>
                <a:gd name="T9" fmla="*/ 405 h 420"/>
                <a:gd name="T10" fmla="*/ 841 w 3923"/>
                <a:gd name="T11" fmla="*/ 405 h 420"/>
                <a:gd name="T12" fmla="*/ 914 w 3923"/>
                <a:gd name="T13" fmla="*/ 398 h 420"/>
                <a:gd name="T14" fmla="*/ 988 w 3923"/>
                <a:gd name="T15" fmla="*/ 391 h 420"/>
                <a:gd name="T16" fmla="*/ 1062 w 3923"/>
                <a:gd name="T17" fmla="*/ 376 h 420"/>
                <a:gd name="T18" fmla="*/ 1121 w 3923"/>
                <a:gd name="T19" fmla="*/ 368 h 420"/>
                <a:gd name="T20" fmla="*/ 1209 w 3923"/>
                <a:gd name="T21" fmla="*/ 354 h 420"/>
                <a:gd name="T22" fmla="*/ 1357 w 3923"/>
                <a:gd name="T23" fmla="*/ 346 h 420"/>
                <a:gd name="T24" fmla="*/ 1460 w 3923"/>
                <a:gd name="T25" fmla="*/ 346 h 420"/>
                <a:gd name="T26" fmla="*/ 1534 w 3923"/>
                <a:gd name="T27" fmla="*/ 346 h 420"/>
                <a:gd name="T28" fmla="*/ 1622 w 3923"/>
                <a:gd name="T29" fmla="*/ 346 h 420"/>
                <a:gd name="T30" fmla="*/ 1755 w 3923"/>
                <a:gd name="T31" fmla="*/ 339 h 420"/>
                <a:gd name="T32" fmla="*/ 1829 w 3923"/>
                <a:gd name="T33" fmla="*/ 339 h 420"/>
                <a:gd name="T34" fmla="*/ 1888 w 3923"/>
                <a:gd name="T35" fmla="*/ 332 h 420"/>
                <a:gd name="T36" fmla="*/ 1932 w 3923"/>
                <a:gd name="T37" fmla="*/ 324 h 420"/>
                <a:gd name="T38" fmla="*/ 1984 w 3923"/>
                <a:gd name="T39" fmla="*/ 324 h 420"/>
                <a:gd name="T40" fmla="*/ 2028 w 3923"/>
                <a:gd name="T41" fmla="*/ 309 h 420"/>
                <a:gd name="T42" fmla="*/ 2080 w 3923"/>
                <a:gd name="T43" fmla="*/ 295 h 420"/>
                <a:gd name="T44" fmla="*/ 2124 w 3923"/>
                <a:gd name="T45" fmla="*/ 280 h 420"/>
                <a:gd name="T46" fmla="*/ 2168 w 3923"/>
                <a:gd name="T47" fmla="*/ 280 h 420"/>
                <a:gd name="T48" fmla="*/ 2212 w 3923"/>
                <a:gd name="T49" fmla="*/ 273 h 420"/>
                <a:gd name="T50" fmla="*/ 2257 w 3923"/>
                <a:gd name="T51" fmla="*/ 265 h 420"/>
                <a:gd name="T52" fmla="*/ 2316 w 3923"/>
                <a:gd name="T53" fmla="*/ 265 h 420"/>
                <a:gd name="T54" fmla="*/ 2360 w 3923"/>
                <a:gd name="T55" fmla="*/ 265 h 420"/>
                <a:gd name="T56" fmla="*/ 2404 w 3923"/>
                <a:gd name="T57" fmla="*/ 265 h 420"/>
                <a:gd name="T58" fmla="*/ 2448 w 3923"/>
                <a:gd name="T59" fmla="*/ 258 h 420"/>
                <a:gd name="T60" fmla="*/ 2493 w 3923"/>
                <a:gd name="T61" fmla="*/ 250 h 420"/>
                <a:gd name="T62" fmla="*/ 2537 w 3923"/>
                <a:gd name="T63" fmla="*/ 250 h 420"/>
                <a:gd name="T64" fmla="*/ 2589 w 3923"/>
                <a:gd name="T65" fmla="*/ 243 h 420"/>
                <a:gd name="T66" fmla="*/ 2633 w 3923"/>
                <a:gd name="T67" fmla="*/ 243 h 420"/>
                <a:gd name="T68" fmla="*/ 2677 w 3923"/>
                <a:gd name="T69" fmla="*/ 236 h 420"/>
                <a:gd name="T70" fmla="*/ 2721 w 3923"/>
                <a:gd name="T71" fmla="*/ 228 h 420"/>
                <a:gd name="T72" fmla="*/ 2766 w 3923"/>
                <a:gd name="T73" fmla="*/ 228 h 420"/>
                <a:gd name="T74" fmla="*/ 2810 w 3923"/>
                <a:gd name="T75" fmla="*/ 228 h 420"/>
                <a:gd name="T76" fmla="*/ 2854 w 3923"/>
                <a:gd name="T77" fmla="*/ 214 h 420"/>
                <a:gd name="T78" fmla="*/ 2906 w 3923"/>
                <a:gd name="T79" fmla="*/ 206 h 420"/>
                <a:gd name="T80" fmla="*/ 2950 w 3923"/>
                <a:gd name="T81" fmla="*/ 191 h 420"/>
                <a:gd name="T82" fmla="*/ 2994 w 3923"/>
                <a:gd name="T83" fmla="*/ 184 h 420"/>
                <a:gd name="T84" fmla="*/ 3038 w 3923"/>
                <a:gd name="T85" fmla="*/ 177 h 420"/>
                <a:gd name="T86" fmla="*/ 3083 w 3923"/>
                <a:gd name="T87" fmla="*/ 147 h 420"/>
                <a:gd name="T88" fmla="*/ 3127 w 3923"/>
                <a:gd name="T89" fmla="*/ 125 h 420"/>
                <a:gd name="T90" fmla="*/ 3171 w 3923"/>
                <a:gd name="T91" fmla="*/ 103 h 420"/>
                <a:gd name="T92" fmla="*/ 3215 w 3923"/>
                <a:gd name="T93" fmla="*/ 88 h 420"/>
                <a:gd name="T94" fmla="*/ 3267 w 3923"/>
                <a:gd name="T95" fmla="*/ 66 h 420"/>
                <a:gd name="T96" fmla="*/ 3311 w 3923"/>
                <a:gd name="T97" fmla="*/ 59 h 420"/>
                <a:gd name="T98" fmla="*/ 3356 w 3923"/>
                <a:gd name="T99" fmla="*/ 59 h 420"/>
                <a:gd name="T100" fmla="*/ 3400 w 3923"/>
                <a:gd name="T101" fmla="*/ 44 h 420"/>
                <a:gd name="T102" fmla="*/ 3444 w 3923"/>
                <a:gd name="T103" fmla="*/ 44 h 420"/>
                <a:gd name="T104" fmla="*/ 3488 w 3923"/>
                <a:gd name="T105" fmla="*/ 37 h 420"/>
                <a:gd name="T106" fmla="*/ 3533 w 3923"/>
                <a:gd name="T107" fmla="*/ 37 h 420"/>
                <a:gd name="T108" fmla="*/ 3584 w 3923"/>
                <a:gd name="T109" fmla="*/ 37 h 420"/>
                <a:gd name="T110" fmla="*/ 3628 w 3923"/>
                <a:gd name="T111" fmla="*/ 29 h 420"/>
                <a:gd name="T112" fmla="*/ 3673 w 3923"/>
                <a:gd name="T113" fmla="*/ 29 h 420"/>
                <a:gd name="T114" fmla="*/ 3717 w 3923"/>
                <a:gd name="T115" fmla="*/ 22 h 420"/>
                <a:gd name="T116" fmla="*/ 3761 w 3923"/>
                <a:gd name="T117" fmla="*/ 15 h 420"/>
                <a:gd name="T118" fmla="*/ 3805 w 3923"/>
                <a:gd name="T119" fmla="*/ 15 h 420"/>
                <a:gd name="T120" fmla="*/ 3850 w 3923"/>
                <a:gd name="T121" fmla="*/ 15 h 420"/>
                <a:gd name="T122" fmla="*/ 3901 w 3923"/>
                <a:gd name="T123" fmla="*/ 7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923" h="420">
                  <a:moveTo>
                    <a:pt x="0" y="420"/>
                  </a:moveTo>
                  <a:lnTo>
                    <a:pt x="103" y="420"/>
                  </a:lnTo>
                  <a:lnTo>
                    <a:pt x="103" y="420"/>
                  </a:lnTo>
                  <a:lnTo>
                    <a:pt x="169" y="420"/>
                  </a:lnTo>
                  <a:lnTo>
                    <a:pt x="169" y="420"/>
                  </a:lnTo>
                  <a:lnTo>
                    <a:pt x="214" y="420"/>
                  </a:lnTo>
                  <a:lnTo>
                    <a:pt x="214" y="420"/>
                  </a:lnTo>
                  <a:lnTo>
                    <a:pt x="221" y="420"/>
                  </a:lnTo>
                  <a:lnTo>
                    <a:pt x="221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43" y="420"/>
                  </a:lnTo>
                  <a:lnTo>
                    <a:pt x="243" y="420"/>
                  </a:lnTo>
                  <a:lnTo>
                    <a:pt x="258" y="420"/>
                  </a:lnTo>
                  <a:lnTo>
                    <a:pt x="258" y="420"/>
                  </a:lnTo>
                  <a:lnTo>
                    <a:pt x="287" y="420"/>
                  </a:lnTo>
                  <a:lnTo>
                    <a:pt x="287" y="420"/>
                  </a:lnTo>
                  <a:lnTo>
                    <a:pt x="310" y="420"/>
                  </a:lnTo>
                  <a:lnTo>
                    <a:pt x="310" y="420"/>
                  </a:lnTo>
                  <a:lnTo>
                    <a:pt x="317" y="420"/>
                  </a:lnTo>
                  <a:lnTo>
                    <a:pt x="317" y="420"/>
                  </a:lnTo>
                  <a:lnTo>
                    <a:pt x="339" y="420"/>
                  </a:lnTo>
                  <a:lnTo>
                    <a:pt x="339" y="420"/>
                  </a:lnTo>
                  <a:lnTo>
                    <a:pt x="354" y="420"/>
                  </a:lnTo>
                  <a:lnTo>
                    <a:pt x="354" y="420"/>
                  </a:lnTo>
                  <a:lnTo>
                    <a:pt x="361" y="420"/>
                  </a:lnTo>
                  <a:lnTo>
                    <a:pt x="361" y="413"/>
                  </a:lnTo>
                  <a:lnTo>
                    <a:pt x="361" y="413"/>
                  </a:lnTo>
                  <a:lnTo>
                    <a:pt x="361" y="413"/>
                  </a:lnTo>
                  <a:lnTo>
                    <a:pt x="369" y="413"/>
                  </a:lnTo>
                  <a:lnTo>
                    <a:pt x="369" y="413"/>
                  </a:lnTo>
                  <a:lnTo>
                    <a:pt x="376" y="413"/>
                  </a:lnTo>
                  <a:lnTo>
                    <a:pt x="376" y="413"/>
                  </a:lnTo>
                  <a:lnTo>
                    <a:pt x="383" y="413"/>
                  </a:lnTo>
                  <a:lnTo>
                    <a:pt x="383" y="413"/>
                  </a:lnTo>
                  <a:lnTo>
                    <a:pt x="383" y="413"/>
                  </a:lnTo>
                  <a:lnTo>
                    <a:pt x="383" y="413"/>
                  </a:lnTo>
                  <a:lnTo>
                    <a:pt x="413" y="413"/>
                  </a:lnTo>
                  <a:lnTo>
                    <a:pt x="413" y="413"/>
                  </a:lnTo>
                  <a:lnTo>
                    <a:pt x="420" y="413"/>
                  </a:lnTo>
                  <a:lnTo>
                    <a:pt x="420" y="413"/>
                  </a:lnTo>
                  <a:lnTo>
                    <a:pt x="428" y="413"/>
                  </a:lnTo>
                  <a:lnTo>
                    <a:pt x="428" y="413"/>
                  </a:lnTo>
                  <a:lnTo>
                    <a:pt x="464" y="413"/>
                  </a:lnTo>
                  <a:lnTo>
                    <a:pt x="464" y="413"/>
                  </a:lnTo>
                  <a:lnTo>
                    <a:pt x="487" y="413"/>
                  </a:lnTo>
                  <a:lnTo>
                    <a:pt x="487" y="413"/>
                  </a:lnTo>
                  <a:lnTo>
                    <a:pt x="487" y="413"/>
                  </a:lnTo>
                  <a:lnTo>
                    <a:pt x="487" y="413"/>
                  </a:lnTo>
                  <a:lnTo>
                    <a:pt x="553" y="413"/>
                  </a:lnTo>
                  <a:lnTo>
                    <a:pt x="553" y="413"/>
                  </a:lnTo>
                  <a:lnTo>
                    <a:pt x="560" y="413"/>
                  </a:lnTo>
                  <a:lnTo>
                    <a:pt x="560" y="413"/>
                  </a:lnTo>
                  <a:lnTo>
                    <a:pt x="575" y="413"/>
                  </a:lnTo>
                  <a:lnTo>
                    <a:pt x="575" y="405"/>
                  </a:lnTo>
                  <a:lnTo>
                    <a:pt x="597" y="405"/>
                  </a:lnTo>
                  <a:lnTo>
                    <a:pt x="597" y="405"/>
                  </a:lnTo>
                  <a:lnTo>
                    <a:pt x="605" y="405"/>
                  </a:lnTo>
                  <a:lnTo>
                    <a:pt x="605" y="405"/>
                  </a:lnTo>
                  <a:lnTo>
                    <a:pt x="619" y="405"/>
                  </a:lnTo>
                  <a:lnTo>
                    <a:pt x="619" y="405"/>
                  </a:lnTo>
                  <a:lnTo>
                    <a:pt x="627" y="405"/>
                  </a:lnTo>
                  <a:lnTo>
                    <a:pt x="627" y="405"/>
                  </a:lnTo>
                  <a:lnTo>
                    <a:pt x="627" y="405"/>
                  </a:lnTo>
                  <a:lnTo>
                    <a:pt x="627" y="405"/>
                  </a:lnTo>
                  <a:lnTo>
                    <a:pt x="649" y="405"/>
                  </a:lnTo>
                  <a:lnTo>
                    <a:pt x="649" y="405"/>
                  </a:lnTo>
                  <a:lnTo>
                    <a:pt x="678" y="405"/>
                  </a:lnTo>
                  <a:lnTo>
                    <a:pt x="678" y="405"/>
                  </a:lnTo>
                  <a:lnTo>
                    <a:pt x="686" y="405"/>
                  </a:lnTo>
                  <a:lnTo>
                    <a:pt x="686" y="405"/>
                  </a:lnTo>
                  <a:lnTo>
                    <a:pt x="693" y="405"/>
                  </a:lnTo>
                  <a:lnTo>
                    <a:pt x="693" y="405"/>
                  </a:lnTo>
                  <a:lnTo>
                    <a:pt x="715" y="405"/>
                  </a:lnTo>
                  <a:lnTo>
                    <a:pt x="715" y="405"/>
                  </a:lnTo>
                  <a:lnTo>
                    <a:pt x="723" y="405"/>
                  </a:lnTo>
                  <a:lnTo>
                    <a:pt x="723" y="405"/>
                  </a:lnTo>
                  <a:lnTo>
                    <a:pt x="723" y="405"/>
                  </a:lnTo>
                  <a:lnTo>
                    <a:pt x="723" y="405"/>
                  </a:lnTo>
                  <a:lnTo>
                    <a:pt x="730" y="405"/>
                  </a:lnTo>
                  <a:lnTo>
                    <a:pt x="730" y="405"/>
                  </a:lnTo>
                  <a:lnTo>
                    <a:pt x="745" y="405"/>
                  </a:lnTo>
                  <a:lnTo>
                    <a:pt x="745" y="405"/>
                  </a:lnTo>
                  <a:lnTo>
                    <a:pt x="752" y="405"/>
                  </a:lnTo>
                  <a:lnTo>
                    <a:pt x="752" y="405"/>
                  </a:lnTo>
                  <a:lnTo>
                    <a:pt x="752" y="405"/>
                  </a:lnTo>
                  <a:lnTo>
                    <a:pt x="752" y="405"/>
                  </a:lnTo>
                  <a:lnTo>
                    <a:pt x="782" y="405"/>
                  </a:lnTo>
                  <a:lnTo>
                    <a:pt x="782" y="405"/>
                  </a:lnTo>
                  <a:lnTo>
                    <a:pt x="796" y="405"/>
                  </a:lnTo>
                  <a:lnTo>
                    <a:pt x="796" y="405"/>
                  </a:lnTo>
                  <a:lnTo>
                    <a:pt x="818" y="405"/>
                  </a:lnTo>
                  <a:lnTo>
                    <a:pt x="818" y="405"/>
                  </a:lnTo>
                  <a:lnTo>
                    <a:pt x="826" y="405"/>
                  </a:lnTo>
                  <a:lnTo>
                    <a:pt x="826" y="405"/>
                  </a:lnTo>
                  <a:lnTo>
                    <a:pt x="841" y="405"/>
                  </a:lnTo>
                  <a:lnTo>
                    <a:pt x="841" y="405"/>
                  </a:lnTo>
                  <a:lnTo>
                    <a:pt x="848" y="405"/>
                  </a:lnTo>
                  <a:lnTo>
                    <a:pt x="848" y="398"/>
                  </a:lnTo>
                  <a:lnTo>
                    <a:pt x="855" y="398"/>
                  </a:lnTo>
                  <a:lnTo>
                    <a:pt x="855" y="398"/>
                  </a:lnTo>
                  <a:lnTo>
                    <a:pt x="870" y="398"/>
                  </a:lnTo>
                  <a:lnTo>
                    <a:pt x="870" y="398"/>
                  </a:lnTo>
                  <a:lnTo>
                    <a:pt x="870" y="398"/>
                  </a:lnTo>
                  <a:lnTo>
                    <a:pt x="870" y="398"/>
                  </a:lnTo>
                  <a:lnTo>
                    <a:pt x="877" y="398"/>
                  </a:lnTo>
                  <a:lnTo>
                    <a:pt x="877" y="398"/>
                  </a:lnTo>
                  <a:lnTo>
                    <a:pt x="885" y="398"/>
                  </a:lnTo>
                  <a:lnTo>
                    <a:pt x="885" y="398"/>
                  </a:lnTo>
                  <a:lnTo>
                    <a:pt x="892" y="398"/>
                  </a:lnTo>
                  <a:lnTo>
                    <a:pt x="892" y="398"/>
                  </a:lnTo>
                  <a:lnTo>
                    <a:pt x="914" y="398"/>
                  </a:lnTo>
                  <a:lnTo>
                    <a:pt x="914" y="391"/>
                  </a:lnTo>
                  <a:lnTo>
                    <a:pt x="922" y="391"/>
                  </a:lnTo>
                  <a:lnTo>
                    <a:pt x="922" y="391"/>
                  </a:lnTo>
                  <a:lnTo>
                    <a:pt x="936" y="391"/>
                  </a:lnTo>
                  <a:lnTo>
                    <a:pt x="936" y="391"/>
                  </a:lnTo>
                  <a:lnTo>
                    <a:pt x="944" y="391"/>
                  </a:lnTo>
                  <a:lnTo>
                    <a:pt x="944" y="391"/>
                  </a:lnTo>
                  <a:lnTo>
                    <a:pt x="944" y="391"/>
                  </a:lnTo>
                  <a:lnTo>
                    <a:pt x="944" y="391"/>
                  </a:lnTo>
                  <a:lnTo>
                    <a:pt x="951" y="391"/>
                  </a:lnTo>
                  <a:lnTo>
                    <a:pt x="951" y="391"/>
                  </a:lnTo>
                  <a:lnTo>
                    <a:pt x="966" y="391"/>
                  </a:lnTo>
                  <a:lnTo>
                    <a:pt x="966" y="391"/>
                  </a:lnTo>
                  <a:lnTo>
                    <a:pt x="981" y="391"/>
                  </a:lnTo>
                  <a:lnTo>
                    <a:pt x="981" y="391"/>
                  </a:lnTo>
                  <a:lnTo>
                    <a:pt x="988" y="391"/>
                  </a:lnTo>
                  <a:lnTo>
                    <a:pt x="988" y="391"/>
                  </a:lnTo>
                  <a:lnTo>
                    <a:pt x="988" y="391"/>
                  </a:lnTo>
                  <a:lnTo>
                    <a:pt x="988" y="383"/>
                  </a:lnTo>
                  <a:lnTo>
                    <a:pt x="995" y="383"/>
                  </a:lnTo>
                  <a:lnTo>
                    <a:pt x="995" y="383"/>
                  </a:lnTo>
                  <a:lnTo>
                    <a:pt x="1003" y="383"/>
                  </a:lnTo>
                  <a:lnTo>
                    <a:pt x="1003" y="383"/>
                  </a:lnTo>
                  <a:lnTo>
                    <a:pt x="1018" y="383"/>
                  </a:lnTo>
                  <a:lnTo>
                    <a:pt x="1018" y="383"/>
                  </a:lnTo>
                  <a:lnTo>
                    <a:pt x="1025" y="383"/>
                  </a:lnTo>
                  <a:lnTo>
                    <a:pt x="1025" y="376"/>
                  </a:lnTo>
                  <a:lnTo>
                    <a:pt x="1032" y="376"/>
                  </a:lnTo>
                  <a:lnTo>
                    <a:pt x="1032" y="376"/>
                  </a:lnTo>
                  <a:lnTo>
                    <a:pt x="1040" y="376"/>
                  </a:lnTo>
                  <a:lnTo>
                    <a:pt x="1040" y="376"/>
                  </a:lnTo>
                  <a:lnTo>
                    <a:pt x="1062" y="376"/>
                  </a:lnTo>
                  <a:lnTo>
                    <a:pt x="1062" y="376"/>
                  </a:lnTo>
                  <a:lnTo>
                    <a:pt x="1062" y="376"/>
                  </a:lnTo>
                  <a:lnTo>
                    <a:pt x="1062" y="376"/>
                  </a:lnTo>
                  <a:lnTo>
                    <a:pt x="1084" y="376"/>
                  </a:lnTo>
                  <a:lnTo>
                    <a:pt x="1084" y="376"/>
                  </a:lnTo>
                  <a:lnTo>
                    <a:pt x="1091" y="376"/>
                  </a:lnTo>
                  <a:lnTo>
                    <a:pt x="1091" y="368"/>
                  </a:lnTo>
                  <a:lnTo>
                    <a:pt x="1099" y="368"/>
                  </a:lnTo>
                  <a:lnTo>
                    <a:pt x="1099" y="368"/>
                  </a:lnTo>
                  <a:lnTo>
                    <a:pt x="1106" y="368"/>
                  </a:lnTo>
                  <a:lnTo>
                    <a:pt x="1106" y="368"/>
                  </a:lnTo>
                  <a:lnTo>
                    <a:pt x="1113" y="368"/>
                  </a:lnTo>
                  <a:lnTo>
                    <a:pt x="1113" y="368"/>
                  </a:lnTo>
                  <a:lnTo>
                    <a:pt x="1113" y="368"/>
                  </a:lnTo>
                  <a:lnTo>
                    <a:pt x="1113" y="368"/>
                  </a:lnTo>
                  <a:lnTo>
                    <a:pt x="1121" y="368"/>
                  </a:lnTo>
                  <a:lnTo>
                    <a:pt x="1121" y="368"/>
                  </a:lnTo>
                  <a:lnTo>
                    <a:pt x="1136" y="368"/>
                  </a:lnTo>
                  <a:lnTo>
                    <a:pt x="1136" y="361"/>
                  </a:lnTo>
                  <a:lnTo>
                    <a:pt x="1150" y="361"/>
                  </a:lnTo>
                  <a:lnTo>
                    <a:pt x="1150" y="361"/>
                  </a:lnTo>
                  <a:lnTo>
                    <a:pt x="1158" y="361"/>
                  </a:lnTo>
                  <a:lnTo>
                    <a:pt x="1158" y="361"/>
                  </a:lnTo>
                  <a:lnTo>
                    <a:pt x="1158" y="361"/>
                  </a:lnTo>
                  <a:lnTo>
                    <a:pt x="1158" y="354"/>
                  </a:lnTo>
                  <a:lnTo>
                    <a:pt x="1172" y="354"/>
                  </a:lnTo>
                  <a:lnTo>
                    <a:pt x="1172" y="354"/>
                  </a:lnTo>
                  <a:lnTo>
                    <a:pt x="1180" y="354"/>
                  </a:lnTo>
                  <a:lnTo>
                    <a:pt x="1180" y="354"/>
                  </a:lnTo>
                  <a:lnTo>
                    <a:pt x="1187" y="354"/>
                  </a:lnTo>
                  <a:lnTo>
                    <a:pt x="1187" y="354"/>
                  </a:lnTo>
                  <a:lnTo>
                    <a:pt x="1209" y="354"/>
                  </a:lnTo>
                  <a:lnTo>
                    <a:pt x="1209" y="354"/>
                  </a:lnTo>
                  <a:lnTo>
                    <a:pt x="1239" y="354"/>
                  </a:lnTo>
                  <a:lnTo>
                    <a:pt x="1239" y="354"/>
                  </a:lnTo>
                  <a:lnTo>
                    <a:pt x="1254" y="354"/>
                  </a:lnTo>
                  <a:lnTo>
                    <a:pt x="1254" y="354"/>
                  </a:lnTo>
                  <a:lnTo>
                    <a:pt x="1283" y="354"/>
                  </a:lnTo>
                  <a:lnTo>
                    <a:pt x="1283" y="354"/>
                  </a:lnTo>
                  <a:lnTo>
                    <a:pt x="1298" y="354"/>
                  </a:lnTo>
                  <a:lnTo>
                    <a:pt x="1298" y="346"/>
                  </a:lnTo>
                  <a:lnTo>
                    <a:pt x="1305" y="346"/>
                  </a:lnTo>
                  <a:lnTo>
                    <a:pt x="1305" y="346"/>
                  </a:lnTo>
                  <a:lnTo>
                    <a:pt x="1305" y="346"/>
                  </a:lnTo>
                  <a:lnTo>
                    <a:pt x="1305" y="346"/>
                  </a:lnTo>
                  <a:lnTo>
                    <a:pt x="1349" y="346"/>
                  </a:lnTo>
                  <a:lnTo>
                    <a:pt x="1349" y="346"/>
                  </a:lnTo>
                  <a:lnTo>
                    <a:pt x="1357" y="346"/>
                  </a:lnTo>
                  <a:lnTo>
                    <a:pt x="1357" y="346"/>
                  </a:lnTo>
                  <a:lnTo>
                    <a:pt x="1364" y="346"/>
                  </a:lnTo>
                  <a:lnTo>
                    <a:pt x="1364" y="346"/>
                  </a:lnTo>
                  <a:lnTo>
                    <a:pt x="1386" y="346"/>
                  </a:lnTo>
                  <a:lnTo>
                    <a:pt x="1386" y="346"/>
                  </a:lnTo>
                  <a:lnTo>
                    <a:pt x="1401" y="346"/>
                  </a:lnTo>
                  <a:lnTo>
                    <a:pt x="1401" y="346"/>
                  </a:lnTo>
                  <a:lnTo>
                    <a:pt x="1401" y="346"/>
                  </a:lnTo>
                  <a:lnTo>
                    <a:pt x="1401" y="346"/>
                  </a:lnTo>
                  <a:lnTo>
                    <a:pt x="1438" y="346"/>
                  </a:lnTo>
                  <a:lnTo>
                    <a:pt x="1438" y="346"/>
                  </a:lnTo>
                  <a:lnTo>
                    <a:pt x="1453" y="346"/>
                  </a:lnTo>
                  <a:lnTo>
                    <a:pt x="1453" y="346"/>
                  </a:lnTo>
                  <a:lnTo>
                    <a:pt x="1453" y="346"/>
                  </a:lnTo>
                  <a:lnTo>
                    <a:pt x="1453" y="346"/>
                  </a:lnTo>
                  <a:lnTo>
                    <a:pt x="1460" y="346"/>
                  </a:lnTo>
                  <a:lnTo>
                    <a:pt x="1460" y="346"/>
                  </a:lnTo>
                  <a:lnTo>
                    <a:pt x="1475" y="346"/>
                  </a:lnTo>
                  <a:lnTo>
                    <a:pt x="1475" y="346"/>
                  </a:lnTo>
                  <a:lnTo>
                    <a:pt x="1482" y="346"/>
                  </a:lnTo>
                  <a:lnTo>
                    <a:pt x="1482" y="346"/>
                  </a:lnTo>
                  <a:lnTo>
                    <a:pt x="1490" y="346"/>
                  </a:lnTo>
                  <a:lnTo>
                    <a:pt x="1490" y="346"/>
                  </a:lnTo>
                  <a:lnTo>
                    <a:pt x="1497" y="346"/>
                  </a:lnTo>
                  <a:lnTo>
                    <a:pt x="1497" y="346"/>
                  </a:lnTo>
                  <a:lnTo>
                    <a:pt x="1497" y="346"/>
                  </a:lnTo>
                  <a:lnTo>
                    <a:pt x="1497" y="346"/>
                  </a:lnTo>
                  <a:lnTo>
                    <a:pt x="1512" y="346"/>
                  </a:lnTo>
                  <a:lnTo>
                    <a:pt x="1512" y="346"/>
                  </a:lnTo>
                  <a:lnTo>
                    <a:pt x="1526" y="346"/>
                  </a:lnTo>
                  <a:lnTo>
                    <a:pt x="1526" y="346"/>
                  </a:lnTo>
                  <a:lnTo>
                    <a:pt x="1534" y="346"/>
                  </a:lnTo>
                  <a:lnTo>
                    <a:pt x="1534" y="346"/>
                  </a:lnTo>
                  <a:lnTo>
                    <a:pt x="1541" y="346"/>
                  </a:lnTo>
                  <a:lnTo>
                    <a:pt x="1541" y="346"/>
                  </a:lnTo>
                  <a:lnTo>
                    <a:pt x="1549" y="346"/>
                  </a:lnTo>
                  <a:lnTo>
                    <a:pt x="1549" y="346"/>
                  </a:lnTo>
                  <a:lnTo>
                    <a:pt x="1549" y="346"/>
                  </a:lnTo>
                  <a:lnTo>
                    <a:pt x="1549" y="346"/>
                  </a:lnTo>
                  <a:lnTo>
                    <a:pt x="1556" y="346"/>
                  </a:lnTo>
                  <a:lnTo>
                    <a:pt x="1556" y="346"/>
                  </a:lnTo>
                  <a:lnTo>
                    <a:pt x="1593" y="346"/>
                  </a:lnTo>
                  <a:lnTo>
                    <a:pt x="1593" y="346"/>
                  </a:lnTo>
                  <a:lnTo>
                    <a:pt x="1600" y="346"/>
                  </a:lnTo>
                  <a:lnTo>
                    <a:pt x="1600" y="346"/>
                  </a:lnTo>
                  <a:lnTo>
                    <a:pt x="1622" y="346"/>
                  </a:lnTo>
                  <a:lnTo>
                    <a:pt x="1622" y="346"/>
                  </a:lnTo>
                  <a:lnTo>
                    <a:pt x="1622" y="346"/>
                  </a:lnTo>
                  <a:lnTo>
                    <a:pt x="1622" y="346"/>
                  </a:lnTo>
                  <a:lnTo>
                    <a:pt x="1645" y="346"/>
                  </a:lnTo>
                  <a:lnTo>
                    <a:pt x="1645" y="339"/>
                  </a:lnTo>
                  <a:lnTo>
                    <a:pt x="1645" y="339"/>
                  </a:lnTo>
                  <a:lnTo>
                    <a:pt x="1645" y="339"/>
                  </a:lnTo>
                  <a:lnTo>
                    <a:pt x="1674" y="339"/>
                  </a:lnTo>
                  <a:lnTo>
                    <a:pt x="1674" y="339"/>
                  </a:lnTo>
                  <a:lnTo>
                    <a:pt x="1696" y="339"/>
                  </a:lnTo>
                  <a:lnTo>
                    <a:pt x="1696" y="339"/>
                  </a:lnTo>
                  <a:lnTo>
                    <a:pt x="1718" y="339"/>
                  </a:lnTo>
                  <a:lnTo>
                    <a:pt x="1718" y="339"/>
                  </a:lnTo>
                  <a:lnTo>
                    <a:pt x="1740" y="339"/>
                  </a:lnTo>
                  <a:lnTo>
                    <a:pt x="1740" y="339"/>
                  </a:lnTo>
                  <a:lnTo>
                    <a:pt x="1748" y="339"/>
                  </a:lnTo>
                  <a:lnTo>
                    <a:pt x="1748" y="339"/>
                  </a:lnTo>
                  <a:lnTo>
                    <a:pt x="1755" y="339"/>
                  </a:lnTo>
                  <a:lnTo>
                    <a:pt x="1755" y="339"/>
                  </a:lnTo>
                  <a:lnTo>
                    <a:pt x="1763" y="339"/>
                  </a:lnTo>
                  <a:lnTo>
                    <a:pt x="1763" y="339"/>
                  </a:lnTo>
                  <a:lnTo>
                    <a:pt x="1792" y="339"/>
                  </a:lnTo>
                  <a:lnTo>
                    <a:pt x="1792" y="339"/>
                  </a:lnTo>
                  <a:lnTo>
                    <a:pt x="1792" y="339"/>
                  </a:lnTo>
                  <a:lnTo>
                    <a:pt x="1792" y="339"/>
                  </a:lnTo>
                  <a:lnTo>
                    <a:pt x="1799" y="339"/>
                  </a:lnTo>
                  <a:lnTo>
                    <a:pt x="1799" y="339"/>
                  </a:lnTo>
                  <a:lnTo>
                    <a:pt x="1814" y="339"/>
                  </a:lnTo>
                  <a:lnTo>
                    <a:pt x="1814" y="339"/>
                  </a:lnTo>
                  <a:lnTo>
                    <a:pt x="1814" y="339"/>
                  </a:lnTo>
                  <a:lnTo>
                    <a:pt x="1814" y="339"/>
                  </a:lnTo>
                  <a:lnTo>
                    <a:pt x="1822" y="339"/>
                  </a:lnTo>
                  <a:lnTo>
                    <a:pt x="1822" y="339"/>
                  </a:lnTo>
                  <a:lnTo>
                    <a:pt x="1829" y="339"/>
                  </a:lnTo>
                  <a:lnTo>
                    <a:pt x="1829" y="339"/>
                  </a:lnTo>
                  <a:lnTo>
                    <a:pt x="1836" y="339"/>
                  </a:lnTo>
                  <a:lnTo>
                    <a:pt x="1836" y="339"/>
                  </a:lnTo>
                  <a:lnTo>
                    <a:pt x="1836" y="339"/>
                  </a:lnTo>
                  <a:lnTo>
                    <a:pt x="1836" y="332"/>
                  </a:lnTo>
                  <a:lnTo>
                    <a:pt x="1866" y="332"/>
                  </a:lnTo>
                  <a:lnTo>
                    <a:pt x="1866" y="332"/>
                  </a:lnTo>
                  <a:lnTo>
                    <a:pt x="1866" y="332"/>
                  </a:lnTo>
                  <a:lnTo>
                    <a:pt x="1866" y="332"/>
                  </a:lnTo>
                  <a:lnTo>
                    <a:pt x="1873" y="332"/>
                  </a:lnTo>
                  <a:lnTo>
                    <a:pt x="1873" y="332"/>
                  </a:lnTo>
                  <a:lnTo>
                    <a:pt x="1881" y="332"/>
                  </a:lnTo>
                  <a:lnTo>
                    <a:pt x="1881" y="332"/>
                  </a:lnTo>
                  <a:lnTo>
                    <a:pt x="1888" y="332"/>
                  </a:lnTo>
                  <a:lnTo>
                    <a:pt x="1888" y="332"/>
                  </a:lnTo>
                  <a:lnTo>
                    <a:pt x="1888" y="332"/>
                  </a:lnTo>
                  <a:lnTo>
                    <a:pt x="1888" y="332"/>
                  </a:lnTo>
                  <a:lnTo>
                    <a:pt x="1895" y="332"/>
                  </a:lnTo>
                  <a:lnTo>
                    <a:pt x="1895" y="324"/>
                  </a:lnTo>
                  <a:lnTo>
                    <a:pt x="1903" y="324"/>
                  </a:lnTo>
                  <a:lnTo>
                    <a:pt x="1903" y="324"/>
                  </a:lnTo>
                  <a:lnTo>
                    <a:pt x="1910" y="324"/>
                  </a:lnTo>
                  <a:lnTo>
                    <a:pt x="1910" y="324"/>
                  </a:lnTo>
                  <a:lnTo>
                    <a:pt x="1910" y="324"/>
                  </a:lnTo>
                  <a:lnTo>
                    <a:pt x="1910" y="324"/>
                  </a:lnTo>
                  <a:lnTo>
                    <a:pt x="1917" y="324"/>
                  </a:lnTo>
                  <a:lnTo>
                    <a:pt x="1917" y="324"/>
                  </a:lnTo>
                  <a:lnTo>
                    <a:pt x="1925" y="324"/>
                  </a:lnTo>
                  <a:lnTo>
                    <a:pt x="1925" y="324"/>
                  </a:lnTo>
                  <a:lnTo>
                    <a:pt x="1932" y="324"/>
                  </a:lnTo>
                  <a:lnTo>
                    <a:pt x="1932" y="324"/>
                  </a:lnTo>
                  <a:lnTo>
                    <a:pt x="1932" y="324"/>
                  </a:lnTo>
                  <a:lnTo>
                    <a:pt x="1932" y="324"/>
                  </a:lnTo>
                  <a:lnTo>
                    <a:pt x="1940" y="324"/>
                  </a:lnTo>
                  <a:lnTo>
                    <a:pt x="1940" y="324"/>
                  </a:lnTo>
                  <a:lnTo>
                    <a:pt x="1947" y="324"/>
                  </a:lnTo>
                  <a:lnTo>
                    <a:pt x="1947" y="324"/>
                  </a:lnTo>
                  <a:lnTo>
                    <a:pt x="1954" y="324"/>
                  </a:lnTo>
                  <a:lnTo>
                    <a:pt x="1954" y="324"/>
                  </a:lnTo>
                  <a:lnTo>
                    <a:pt x="1962" y="324"/>
                  </a:lnTo>
                  <a:lnTo>
                    <a:pt x="1962" y="324"/>
                  </a:lnTo>
                  <a:lnTo>
                    <a:pt x="1962" y="324"/>
                  </a:lnTo>
                  <a:lnTo>
                    <a:pt x="1962" y="324"/>
                  </a:lnTo>
                  <a:lnTo>
                    <a:pt x="1969" y="324"/>
                  </a:lnTo>
                  <a:lnTo>
                    <a:pt x="1969" y="324"/>
                  </a:lnTo>
                  <a:lnTo>
                    <a:pt x="1976" y="324"/>
                  </a:lnTo>
                  <a:lnTo>
                    <a:pt x="1976" y="324"/>
                  </a:lnTo>
                  <a:lnTo>
                    <a:pt x="1984" y="324"/>
                  </a:lnTo>
                  <a:lnTo>
                    <a:pt x="1984" y="317"/>
                  </a:lnTo>
                  <a:lnTo>
                    <a:pt x="1984" y="317"/>
                  </a:lnTo>
                  <a:lnTo>
                    <a:pt x="1984" y="317"/>
                  </a:lnTo>
                  <a:lnTo>
                    <a:pt x="1991" y="317"/>
                  </a:lnTo>
                  <a:lnTo>
                    <a:pt x="1991" y="317"/>
                  </a:lnTo>
                  <a:lnTo>
                    <a:pt x="1999" y="317"/>
                  </a:lnTo>
                  <a:lnTo>
                    <a:pt x="1999" y="317"/>
                  </a:lnTo>
                  <a:lnTo>
                    <a:pt x="2006" y="317"/>
                  </a:lnTo>
                  <a:lnTo>
                    <a:pt x="2006" y="317"/>
                  </a:lnTo>
                  <a:lnTo>
                    <a:pt x="2006" y="317"/>
                  </a:lnTo>
                  <a:lnTo>
                    <a:pt x="2006" y="317"/>
                  </a:lnTo>
                  <a:lnTo>
                    <a:pt x="2013" y="317"/>
                  </a:lnTo>
                  <a:lnTo>
                    <a:pt x="2013" y="309"/>
                  </a:lnTo>
                  <a:lnTo>
                    <a:pt x="2021" y="309"/>
                  </a:lnTo>
                  <a:lnTo>
                    <a:pt x="2021" y="309"/>
                  </a:lnTo>
                  <a:lnTo>
                    <a:pt x="2028" y="309"/>
                  </a:lnTo>
                  <a:lnTo>
                    <a:pt x="2028" y="309"/>
                  </a:lnTo>
                  <a:lnTo>
                    <a:pt x="2035" y="309"/>
                  </a:lnTo>
                  <a:lnTo>
                    <a:pt x="2035" y="309"/>
                  </a:lnTo>
                  <a:lnTo>
                    <a:pt x="2035" y="309"/>
                  </a:lnTo>
                  <a:lnTo>
                    <a:pt x="2035" y="302"/>
                  </a:lnTo>
                  <a:lnTo>
                    <a:pt x="2043" y="302"/>
                  </a:lnTo>
                  <a:lnTo>
                    <a:pt x="2043" y="302"/>
                  </a:lnTo>
                  <a:lnTo>
                    <a:pt x="2058" y="302"/>
                  </a:lnTo>
                  <a:lnTo>
                    <a:pt x="2058" y="302"/>
                  </a:lnTo>
                  <a:lnTo>
                    <a:pt x="2058" y="302"/>
                  </a:lnTo>
                  <a:lnTo>
                    <a:pt x="2058" y="295"/>
                  </a:lnTo>
                  <a:lnTo>
                    <a:pt x="2065" y="295"/>
                  </a:lnTo>
                  <a:lnTo>
                    <a:pt x="2065" y="295"/>
                  </a:lnTo>
                  <a:lnTo>
                    <a:pt x="2072" y="295"/>
                  </a:lnTo>
                  <a:lnTo>
                    <a:pt x="2072" y="295"/>
                  </a:lnTo>
                  <a:lnTo>
                    <a:pt x="2080" y="295"/>
                  </a:lnTo>
                  <a:lnTo>
                    <a:pt x="2080" y="295"/>
                  </a:lnTo>
                  <a:lnTo>
                    <a:pt x="2080" y="295"/>
                  </a:lnTo>
                  <a:lnTo>
                    <a:pt x="2080" y="295"/>
                  </a:lnTo>
                  <a:lnTo>
                    <a:pt x="2087" y="295"/>
                  </a:lnTo>
                  <a:lnTo>
                    <a:pt x="2087" y="287"/>
                  </a:lnTo>
                  <a:lnTo>
                    <a:pt x="2094" y="287"/>
                  </a:lnTo>
                  <a:lnTo>
                    <a:pt x="2094" y="287"/>
                  </a:lnTo>
                  <a:lnTo>
                    <a:pt x="2102" y="287"/>
                  </a:lnTo>
                  <a:lnTo>
                    <a:pt x="2102" y="287"/>
                  </a:lnTo>
                  <a:lnTo>
                    <a:pt x="2102" y="287"/>
                  </a:lnTo>
                  <a:lnTo>
                    <a:pt x="2102" y="280"/>
                  </a:lnTo>
                  <a:lnTo>
                    <a:pt x="2109" y="280"/>
                  </a:lnTo>
                  <a:lnTo>
                    <a:pt x="2109" y="280"/>
                  </a:lnTo>
                  <a:lnTo>
                    <a:pt x="2117" y="280"/>
                  </a:lnTo>
                  <a:lnTo>
                    <a:pt x="2117" y="280"/>
                  </a:lnTo>
                  <a:lnTo>
                    <a:pt x="2124" y="280"/>
                  </a:lnTo>
                  <a:lnTo>
                    <a:pt x="2124" y="280"/>
                  </a:lnTo>
                  <a:lnTo>
                    <a:pt x="2131" y="280"/>
                  </a:lnTo>
                  <a:lnTo>
                    <a:pt x="2131" y="280"/>
                  </a:lnTo>
                  <a:lnTo>
                    <a:pt x="2131" y="280"/>
                  </a:lnTo>
                  <a:lnTo>
                    <a:pt x="2131" y="280"/>
                  </a:lnTo>
                  <a:lnTo>
                    <a:pt x="2139" y="280"/>
                  </a:lnTo>
                  <a:lnTo>
                    <a:pt x="2139" y="280"/>
                  </a:lnTo>
                  <a:lnTo>
                    <a:pt x="2146" y="280"/>
                  </a:lnTo>
                  <a:lnTo>
                    <a:pt x="2146" y="280"/>
                  </a:lnTo>
                  <a:lnTo>
                    <a:pt x="2153" y="280"/>
                  </a:lnTo>
                  <a:lnTo>
                    <a:pt x="2153" y="280"/>
                  </a:lnTo>
                  <a:lnTo>
                    <a:pt x="2153" y="280"/>
                  </a:lnTo>
                  <a:lnTo>
                    <a:pt x="2153" y="280"/>
                  </a:lnTo>
                  <a:lnTo>
                    <a:pt x="2161" y="280"/>
                  </a:lnTo>
                  <a:lnTo>
                    <a:pt x="2161" y="280"/>
                  </a:lnTo>
                  <a:lnTo>
                    <a:pt x="2168" y="280"/>
                  </a:lnTo>
                  <a:lnTo>
                    <a:pt x="2168" y="280"/>
                  </a:lnTo>
                  <a:lnTo>
                    <a:pt x="2176" y="280"/>
                  </a:lnTo>
                  <a:lnTo>
                    <a:pt x="2176" y="273"/>
                  </a:lnTo>
                  <a:lnTo>
                    <a:pt x="2176" y="273"/>
                  </a:lnTo>
                  <a:lnTo>
                    <a:pt x="2176" y="273"/>
                  </a:lnTo>
                  <a:lnTo>
                    <a:pt x="2183" y="273"/>
                  </a:lnTo>
                  <a:lnTo>
                    <a:pt x="2183" y="273"/>
                  </a:lnTo>
                  <a:lnTo>
                    <a:pt x="2190" y="273"/>
                  </a:lnTo>
                  <a:lnTo>
                    <a:pt x="2190" y="273"/>
                  </a:lnTo>
                  <a:lnTo>
                    <a:pt x="2198" y="273"/>
                  </a:lnTo>
                  <a:lnTo>
                    <a:pt x="2198" y="273"/>
                  </a:lnTo>
                  <a:lnTo>
                    <a:pt x="2205" y="273"/>
                  </a:lnTo>
                  <a:lnTo>
                    <a:pt x="2205" y="273"/>
                  </a:lnTo>
                  <a:lnTo>
                    <a:pt x="2205" y="273"/>
                  </a:lnTo>
                  <a:lnTo>
                    <a:pt x="2205" y="273"/>
                  </a:lnTo>
                  <a:lnTo>
                    <a:pt x="2212" y="273"/>
                  </a:lnTo>
                  <a:lnTo>
                    <a:pt x="2212" y="273"/>
                  </a:lnTo>
                  <a:lnTo>
                    <a:pt x="2220" y="273"/>
                  </a:lnTo>
                  <a:lnTo>
                    <a:pt x="2220" y="265"/>
                  </a:lnTo>
                  <a:lnTo>
                    <a:pt x="2227" y="265"/>
                  </a:lnTo>
                  <a:lnTo>
                    <a:pt x="2227" y="265"/>
                  </a:lnTo>
                  <a:lnTo>
                    <a:pt x="2227" y="265"/>
                  </a:lnTo>
                  <a:lnTo>
                    <a:pt x="2227" y="265"/>
                  </a:lnTo>
                  <a:lnTo>
                    <a:pt x="2235" y="265"/>
                  </a:lnTo>
                  <a:lnTo>
                    <a:pt x="2235" y="265"/>
                  </a:lnTo>
                  <a:lnTo>
                    <a:pt x="2242" y="265"/>
                  </a:lnTo>
                  <a:lnTo>
                    <a:pt x="2242" y="265"/>
                  </a:lnTo>
                  <a:lnTo>
                    <a:pt x="2249" y="265"/>
                  </a:lnTo>
                  <a:lnTo>
                    <a:pt x="2249" y="265"/>
                  </a:lnTo>
                  <a:lnTo>
                    <a:pt x="2249" y="265"/>
                  </a:lnTo>
                  <a:lnTo>
                    <a:pt x="2249" y="265"/>
                  </a:lnTo>
                  <a:lnTo>
                    <a:pt x="2257" y="265"/>
                  </a:lnTo>
                  <a:lnTo>
                    <a:pt x="2257" y="265"/>
                  </a:lnTo>
                  <a:lnTo>
                    <a:pt x="2264" y="265"/>
                  </a:lnTo>
                  <a:lnTo>
                    <a:pt x="2264" y="265"/>
                  </a:lnTo>
                  <a:lnTo>
                    <a:pt x="2271" y="265"/>
                  </a:lnTo>
                  <a:lnTo>
                    <a:pt x="2271" y="265"/>
                  </a:lnTo>
                  <a:lnTo>
                    <a:pt x="2286" y="265"/>
                  </a:lnTo>
                  <a:lnTo>
                    <a:pt x="2286" y="265"/>
                  </a:lnTo>
                  <a:lnTo>
                    <a:pt x="2294" y="265"/>
                  </a:lnTo>
                  <a:lnTo>
                    <a:pt x="2294" y="265"/>
                  </a:lnTo>
                  <a:lnTo>
                    <a:pt x="2301" y="265"/>
                  </a:lnTo>
                  <a:lnTo>
                    <a:pt x="2301" y="265"/>
                  </a:lnTo>
                  <a:lnTo>
                    <a:pt x="2301" y="265"/>
                  </a:lnTo>
                  <a:lnTo>
                    <a:pt x="2301" y="265"/>
                  </a:lnTo>
                  <a:lnTo>
                    <a:pt x="2308" y="265"/>
                  </a:lnTo>
                  <a:lnTo>
                    <a:pt x="2308" y="265"/>
                  </a:lnTo>
                  <a:lnTo>
                    <a:pt x="2316" y="265"/>
                  </a:lnTo>
                  <a:lnTo>
                    <a:pt x="2316" y="265"/>
                  </a:lnTo>
                  <a:lnTo>
                    <a:pt x="2323" y="265"/>
                  </a:lnTo>
                  <a:lnTo>
                    <a:pt x="2323" y="265"/>
                  </a:lnTo>
                  <a:lnTo>
                    <a:pt x="2323" y="265"/>
                  </a:lnTo>
                  <a:lnTo>
                    <a:pt x="2323" y="265"/>
                  </a:lnTo>
                  <a:lnTo>
                    <a:pt x="2330" y="265"/>
                  </a:lnTo>
                  <a:lnTo>
                    <a:pt x="2330" y="265"/>
                  </a:lnTo>
                  <a:lnTo>
                    <a:pt x="2338" y="265"/>
                  </a:lnTo>
                  <a:lnTo>
                    <a:pt x="2338" y="265"/>
                  </a:lnTo>
                  <a:lnTo>
                    <a:pt x="2345" y="265"/>
                  </a:lnTo>
                  <a:lnTo>
                    <a:pt x="2345" y="265"/>
                  </a:lnTo>
                  <a:lnTo>
                    <a:pt x="2345" y="265"/>
                  </a:lnTo>
                  <a:lnTo>
                    <a:pt x="2345" y="265"/>
                  </a:lnTo>
                  <a:lnTo>
                    <a:pt x="2353" y="265"/>
                  </a:lnTo>
                  <a:lnTo>
                    <a:pt x="2353" y="265"/>
                  </a:lnTo>
                  <a:lnTo>
                    <a:pt x="2360" y="265"/>
                  </a:lnTo>
                  <a:lnTo>
                    <a:pt x="2360" y="265"/>
                  </a:lnTo>
                  <a:lnTo>
                    <a:pt x="2367" y="265"/>
                  </a:lnTo>
                  <a:lnTo>
                    <a:pt x="2367" y="265"/>
                  </a:lnTo>
                  <a:lnTo>
                    <a:pt x="2375" y="265"/>
                  </a:lnTo>
                  <a:lnTo>
                    <a:pt x="2375" y="265"/>
                  </a:lnTo>
                  <a:lnTo>
                    <a:pt x="2375" y="265"/>
                  </a:lnTo>
                  <a:lnTo>
                    <a:pt x="2375" y="265"/>
                  </a:lnTo>
                  <a:lnTo>
                    <a:pt x="2382" y="265"/>
                  </a:lnTo>
                  <a:lnTo>
                    <a:pt x="2382" y="265"/>
                  </a:lnTo>
                  <a:lnTo>
                    <a:pt x="2389" y="265"/>
                  </a:lnTo>
                  <a:lnTo>
                    <a:pt x="2389" y="265"/>
                  </a:lnTo>
                  <a:lnTo>
                    <a:pt x="2397" y="265"/>
                  </a:lnTo>
                  <a:lnTo>
                    <a:pt x="2397" y="265"/>
                  </a:lnTo>
                  <a:lnTo>
                    <a:pt x="2397" y="265"/>
                  </a:lnTo>
                  <a:lnTo>
                    <a:pt x="2397" y="265"/>
                  </a:lnTo>
                  <a:lnTo>
                    <a:pt x="2404" y="265"/>
                  </a:lnTo>
                  <a:lnTo>
                    <a:pt x="2404" y="258"/>
                  </a:lnTo>
                  <a:lnTo>
                    <a:pt x="2412" y="258"/>
                  </a:lnTo>
                  <a:lnTo>
                    <a:pt x="2412" y="258"/>
                  </a:lnTo>
                  <a:lnTo>
                    <a:pt x="2419" y="258"/>
                  </a:lnTo>
                  <a:lnTo>
                    <a:pt x="2419" y="258"/>
                  </a:lnTo>
                  <a:lnTo>
                    <a:pt x="2419" y="258"/>
                  </a:lnTo>
                  <a:lnTo>
                    <a:pt x="2419" y="258"/>
                  </a:lnTo>
                  <a:lnTo>
                    <a:pt x="2426" y="258"/>
                  </a:lnTo>
                  <a:lnTo>
                    <a:pt x="2426" y="258"/>
                  </a:lnTo>
                  <a:lnTo>
                    <a:pt x="2434" y="258"/>
                  </a:lnTo>
                  <a:lnTo>
                    <a:pt x="2434" y="258"/>
                  </a:lnTo>
                  <a:lnTo>
                    <a:pt x="2441" y="258"/>
                  </a:lnTo>
                  <a:lnTo>
                    <a:pt x="2441" y="258"/>
                  </a:lnTo>
                  <a:lnTo>
                    <a:pt x="2441" y="258"/>
                  </a:lnTo>
                  <a:lnTo>
                    <a:pt x="2441" y="258"/>
                  </a:lnTo>
                  <a:lnTo>
                    <a:pt x="2448" y="258"/>
                  </a:lnTo>
                  <a:lnTo>
                    <a:pt x="2448" y="258"/>
                  </a:lnTo>
                  <a:lnTo>
                    <a:pt x="2456" y="258"/>
                  </a:lnTo>
                  <a:lnTo>
                    <a:pt x="2456" y="258"/>
                  </a:lnTo>
                  <a:lnTo>
                    <a:pt x="2463" y="258"/>
                  </a:lnTo>
                  <a:lnTo>
                    <a:pt x="2463" y="258"/>
                  </a:lnTo>
                  <a:lnTo>
                    <a:pt x="2471" y="258"/>
                  </a:lnTo>
                  <a:lnTo>
                    <a:pt x="2471" y="258"/>
                  </a:lnTo>
                  <a:lnTo>
                    <a:pt x="2471" y="258"/>
                  </a:lnTo>
                  <a:lnTo>
                    <a:pt x="2471" y="258"/>
                  </a:lnTo>
                  <a:lnTo>
                    <a:pt x="2478" y="258"/>
                  </a:lnTo>
                  <a:lnTo>
                    <a:pt x="2478" y="258"/>
                  </a:lnTo>
                  <a:lnTo>
                    <a:pt x="2485" y="258"/>
                  </a:lnTo>
                  <a:lnTo>
                    <a:pt x="2485" y="250"/>
                  </a:lnTo>
                  <a:lnTo>
                    <a:pt x="2493" y="250"/>
                  </a:lnTo>
                  <a:lnTo>
                    <a:pt x="2493" y="250"/>
                  </a:lnTo>
                  <a:lnTo>
                    <a:pt x="2493" y="250"/>
                  </a:lnTo>
                  <a:lnTo>
                    <a:pt x="2493" y="250"/>
                  </a:lnTo>
                  <a:lnTo>
                    <a:pt x="2500" y="250"/>
                  </a:lnTo>
                  <a:lnTo>
                    <a:pt x="2500" y="250"/>
                  </a:lnTo>
                  <a:lnTo>
                    <a:pt x="2507" y="250"/>
                  </a:lnTo>
                  <a:lnTo>
                    <a:pt x="2507" y="250"/>
                  </a:lnTo>
                  <a:lnTo>
                    <a:pt x="2515" y="250"/>
                  </a:lnTo>
                  <a:lnTo>
                    <a:pt x="2515" y="250"/>
                  </a:lnTo>
                  <a:lnTo>
                    <a:pt x="2515" y="250"/>
                  </a:lnTo>
                  <a:lnTo>
                    <a:pt x="2515" y="250"/>
                  </a:lnTo>
                  <a:lnTo>
                    <a:pt x="2522" y="250"/>
                  </a:lnTo>
                  <a:lnTo>
                    <a:pt x="2522" y="250"/>
                  </a:lnTo>
                  <a:lnTo>
                    <a:pt x="2530" y="250"/>
                  </a:lnTo>
                  <a:lnTo>
                    <a:pt x="2530" y="250"/>
                  </a:lnTo>
                  <a:lnTo>
                    <a:pt x="2537" y="250"/>
                  </a:lnTo>
                  <a:lnTo>
                    <a:pt x="2537" y="250"/>
                  </a:lnTo>
                  <a:lnTo>
                    <a:pt x="2537" y="250"/>
                  </a:lnTo>
                  <a:lnTo>
                    <a:pt x="2537" y="250"/>
                  </a:lnTo>
                  <a:lnTo>
                    <a:pt x="2544" y="250"/>
                  </a:lnTo>
                  <a:lnTo>
                    <a:pt x="2544" y="250"/>
                  </a:lnTo>
                  <a:lnTo>
                    <a:pt x="2552" y="250"/>
                  </a:lnTo>
                  <a:lnTo>
                    <a:pt x="2552" y="250"/>
                  </a:lnTo>
                  <a:lnTo>
                    <a:pt x="2559" y="250"/>
                  </a:lnTo>
                  <a:lnTo>
                    <a:pt x="2559" y="250"/>
                  </a:lnTo>
                  <a:lnTo>
                    <a:pt x="2566" y="250"/>
                  </a:lnTo>
                  <a:lnTo>
                    <a:pt x="2566" y="250"/>
                  </a:lnTo>
                  <a:lnTo>
                    <a:pt x="2566" y="250"/>
                  </a:lnTo>
                  <a:lnTo>
                    <a:pt x="2566" y="250"/>
                  </a:lnTo>
                  <a:lnTo>
                    <a:pt x="2574" y="250"/>
                  </a:lnTo>
                  <a:lnTo>
                    <a:pt x="2574" y="243"/>
                  </a:lnTo>
                  <a:lnTo>
                    <a:pt x="2581" y="243"/>
                  </a:lnTo>
                  <a:lnTo>
                    <a:pt x="2581" y="243"/>
                  </a:lnTo>
                  <a:lnTo>
                    <a:pt x="2589" y="243"/>
                  </a:lnTo>
                  <a:lnTo>
                    <a:pt x="2589" y="243"/>
                  </a:lnTo>
                  <a:lnTo>
                    <a:pt x="2589" y="243"/>
                  </a:lnTo>
                  <a:lnTo>
                    <a:pt x="2589" y="243"/>
                  </a:lnTo>
                  <a:lnTo>
                    <a:pt x="2596" y="243"/>
                  </a:lnTo>
                  <a:lnTo>
                    <a:pt x="2596" y="243"/>
                  </a:lnTo>
                  <a:lnTo>
                    <a:pt x="2603" y="243"/>
                  </a:lnTo>
                  <a:lnTo>
                    <a:pt x="2603" y="243"/>
                  </a:lnTo>
                  <a:lnTo>
                    <a:pt x="2611" y="243"/>
                  </a:lnTo>
                  <a:lnTo>
                    <a:pt x="2611" y="243"/>
                  </a:lnTo>
                  <a:lnTo>
                    <a:pt x="2611" y="243"/>
                  </a:lnTo>
                  <a:lnTo>
                    <a:pt x="2611" y="243"/>
                  </a:lnTo>
                  <a:lnTo>
                    <a:pt x="2618" y="243"/>
                  </a:lnTo>
                  <a:lnTo>
                    <a:pt x="2618" y="243"/>
                  </a:lnTo>
                  <a:lnTo>
                    <a:pt x="2625" y="243"/>
                  </a:lnTo>
                  <a:lnTo>
                    <a:pt x="2625" y="243"/>
                  </a:lnTo>
                  <a:lnTo>
                    <a:pt x="2633" y="243"/>
                  </a:lnTo>
                  <a:lnTo>
                    <a:pt x="2633" y="243"/>
                  </a:lnTo>
                  <a:lnTo>
                    <a:pt x="2640" y="243"/>
                  </a:lnTo>
                  <a:lnTo>
                    <a:pt x="2640" y="243"/>
                  </a:lnTo>
                  <a:lnTo>
                    <a:pt x="2640" y="243"/>
                  </a:lnTo>
                  <a:lnTo>
                    <a:pt x="2640" y="243"/>
                  </a:lnTo>
                  <a:lnTo>
                    <a:pt x="2648" y="243"/>
                  </a:lnTo>
                  <a:lnTo>
                    <a:pt x="2648" y="243"/>
                  </a:lnTo>
                  <a:lnTo>
                    <a:pt x="2655" y="243"/>
                  </a:lnTo>
                  <a:lnTo>
                    <a:pt x="2655" y="243"/>
                  </a:lnTo>
                  <a:lnTo>
                    <a:pt x="2662" y="243"/>
                  </a:lnTo>
                  <a:lnTo>
                    <a:pt x="2662" y="243"/>
                  </a:lnTo>
                  <a:lnTo>
                    <a:pt x="2662" y="243"/>
                  </a:lnTo>
                  <a:lnTo>
                    <a:pt x="2662" y="236"/>
                  </a:lnTo>
                  <a:lnTo>
                    <a:pt x="2670" y="236"/>
                  </a:lnTo>
                  <a:lnTo>
                    <a:pt x="2670" y="236"/>
                  </a:lnTo>
                  <a:lnTo>
                    <a:pt x="2677" y="236"/>
                  </a:lnTo>
                  <a:lnTo>
                    <a:pt x="2677" y="236"/>
                  </a:lnTo>
                  <a:lnTo>
                    <a:pt x="2684" y="236"/>
                  </a:lnTo>
                  <a:lnTo>
                    <a:pt x="2684" y="236"/>
                  </a:lnTo>
                  <a:lnTo>
                    <a:pt x="2684" y="236"/>
                  </a:lnTo>
                  <a:lnTo>
                    <a:pt x="2684" y="236"/>
                  </a:lnTo>
                  <a:lnTo>
                    <a:pt x="2692" y="236"/>
                  </a:lnTo>
                  <a:lnTo>
                    <a:pt x="2692" y="236"/>
                  </a:lnTo>
                  <a:lnTo>
                    <a:pt x="2699" y="236"/>
                  </a:lnTo>
                  <a:lnTo>
                    <a:pt x="2699" y="236"/>
                  </a:lnTo>
                  <a:lnTo>
                    <a:pt x="2707" y="236"/>
                  </a:lnTo>
                  <a:lnTo>
                    <a:pt x="2707" y="228"/>
                  </a:lnTo>
                  <a:lnTo>
                    <a:pt x="2707" y="228"/>
                  </a:lnTo>
                  <a:lnTo>
                    <a:pt x="2707" y="228"/>
                  </a:lnTo>
                  <a:lnTo>
                    <a:pt x="2714" y="228"/>
                  </a:lnTo>
                  <a:lnTo>
                    <a:pt x="2714" y="228"/>
                  </a:lnTo>
                  <a:lnTo>
                    <a:pt x="2721" y="228"/>
                  </a:lnTo>
                  <a:lnTo>
                    <a:pt x="2721" y="228"/>
                  </a:lnTo>
                  <a:lnTo>
                    <a:pt x="2729" y="228"/>
                  </a:lnTo>
                  <a:lnTo>
                    <a:pt x="2729" y="228"/>
                  </a:lnTo>
                  <a:lnTo>
                    <a:pt x="2736" y="228"/>
                  </a:lnTo>
                  <a:lnTo>
                    <a:pt x="2736" y="228"/>
                  </a:lnTo>
                  <a:lnTo>
                    <a:pt x="2736" y="228"/>
                  </a:lnTo>
                  <a:lnTo>
                    <a:pt x="2736" y="228"/>
                  </a:lnTo>
                  <a:lnTo>
                    <a:pt x="2743" y="228"/>
                  </a:lnTo>
                  <a:lnTo>
                    <a:pt x="2743" y="228"/>
                  </a:lnTo>
                  <a:lnTo>
                    <a:pt x="2751" y="228"/>
                  </a:lnTo>
                  <a:lnTo>
                    <a:pt x="2751" y="228"/>
                  </a:lnTo>
                  <a:lnTo>
                    <a:pt x="2758" y="228"/>
                  </a:lnTo>
                  <a:lnTo>
                    <a:pt x="2758" y="228"/>
                  </a:lnTo>
                  <a:lnTo>
                    <a:pt x="2758" y="228"/>
                  </a:lnTo>
                  <a:lnTo>
                    <a:pt x="2758" y="228"/>
                  </a:lnTo>
                  <a:lnTo>
                    <a:pt x="2766" y="228"/>
                  </a:lnTo>
                  <a:lnTo>
                    <a:pt x="2766" y="228"/>
                  </a:lnTo>
                  <a:lnTo>
                    <a:pt x="2773" y="228"/>
                  </a:lnTo>
                  <a:lnTo>
                    <a:pt x="2773" y="228"/>
                  </a:lnTo>
                  <a:lnTo>
                    <a:pt x="2780" y="228"/>
                  </a:lnTo>
                  <a:lnTo>
                    <a:pt x="2780" y="228"/>
                  </a:lnTo>
                  <a:lnTo>
                    <a:pt x="2780" y="228"/>
                  </a:lnTo>
                  <a:lnTo>
                    <a:pt x="2780" y="228"/>
                  </a:lnTo>
                  <a:lnTo>
                    <a:pt x="2788" y="228"/>
                  </a:lnTo>
                  <a:lnTo>
                    <a:pt x="2788" y="228"/>
                  </a:lnTo>
                  <a:lnTo>
                    <a:pt x="2795" y="228"/>
                  </a:lnTo>
                  <a:lnTo>
                    <a:pt x="2795" y="228"/>
                  </a:lnTo>
                  <a:lnTo>
                    <a:pt x="2802" y="228"/>
                  </a:lnTo>
                  <a:lnTo>
                    <a:pt x="2802" y="228"/>
                  </a:lnTo>
                  <a:lnTo>
                    <a:pt x="2810" y="228"/>
                  </a:lnTo>
                  <a:lnTo>
                    <a:pt x="2810" y="228"/>
                  </a:lnTo>
                  <a:lnTo>
                    <a:pt x="2810" y="228"/>
                  </a:lnTo>
                  <a:lnTo>
                    <a:pt x="2810" y="221"/>
                  </a:lnTo>
                  <a:lnTo>
                    <a:pt x="2817" y="221"/>
                  </a:lnTo>
                  <a:lnTo>
                    <a:pt x="2817" y="221"/>
                  </a:lnTo>
                  <a:lnTo>
                    <a:pt x="2825" y="221"/>
                  </a:lnTo>
                  <a:lnTo>
                    <a:pt x="2825" y="221"/>
                  </a:lnTo>
                  <a:lnTo>
                    <a:pt x="2832" y="221"/>
                  </a:lnTo>
                  <a:lnTo>
                    <a:pt x="2832" y="221"/>
                  </a:lnTo>
                  <a:lnTo>
                    <a:pt x="2832" y="221"/>
                  </a:lnTo>
                  <a:lnTo>
                    <a:pt x="2832" y="214"/>
                  </a:lnTo>
                  <a:lnTo>
                    <a:pt x="2839" y="214"/>
                  </a:lnTo>
                  <a:lnTo>
                    <a:pt x="2839" y="214"/>
                  </a:lnTo>
                  <a:lnTo>
                    <a:pt x="2847" y="214"/>
                  </a:lnTo>
                  <a:lnTo>
                    <a:pt x="2847" y="214"/>
                  </a:lnTo>
                  <a:lnTo>
                    <a:pt x="2854" y="214"/>
                  </a:lnTo>
                  <a:lnTo>
                    <a:pt x="2854" y="214"/>
                  </a:lnTo>
                  <a:lnTo>
                    <a:pt x="2854" y="214"/>
                  </a:lnTo>
                  <a:lnTo>
                    <a:pt x="2854" y="214"/>
                  </a:lnTo>
                  <a:lnTo>
                    <a:pt x="2861" y="214"/>
                  </a:lnTo>
                  <a:lnTo>
                    <a:pt x="2861" y="214"/>
                  </a:lnTo>
                  <a:lnTo>
                    <a:pt x="2869" y="214"/>
                  </a:lnTo>
                  <a:lnTo>
                    <a:pt x="2869" y="214"/>
                  </a:lnTo>
                  <a:lnTo>
                    <a:pt x="2876" y="214"/>
                  </a:lnTo>
                  <a:lnTo>
                    <a:pt x="2876" y="214"/>
                  </a:lnTo>
                  <a:lnTo>
                    <a:pt x="2876" y="214"/>
                  </a:lnTo>
                  <a:lnTo>
                    <a:pt x="2876" y="206"/>
                  </a:lnTo>
                  <a:lnTo>
                    <a:pt x="2884" y="206"/>
                  </a:lnTo>
                  <a:lnTo>
                    <a:pt x="2884" y="206"/>
                  </a:lnTo>
                  <a:lnTo>
                    <a:pt x="2891" y="206"/>
                  </a:lnTo>
                  <a:lnTo>
                    <a:pt x="2891" y="206"/>
                  </a:lnTo>
                  <a:lnTo>
                    <a:pt x="2898" y="206"/>
                  </a:lnTo>
                  <a:lnTo>
                    <a:pt x="2898" y="206"/>
                  </a:lnTo>
                  <a:lnTo>
                    <a:pt x="2906" y="206"/>
                  </a:lnTo>
                  <a:lnTo>
                    <a:pt x="2906" y="206"/>
                  </a:lnTo>
                  <a:lnTo>
                    <a:pt x="2906" y="206"/>
                  </a:lnTo>
                  <a:lnTo>
                    <a:pt x="2906" y="206"/>
                  </a:lnTo>
                  <a:lnTo>
                    <a:pt x="2913" y="206"/>
                  </a:lnTo>
                  <a:lnTo>
                    <a:pt x="2913" y="199"/>
                  </a:lnTo>
                  <a:lnTo>
                    <a:pt x="2920" y="199"/>
                  </a:lnTo>
                  <a:lnTo>
                    <a:pt x="2920" y="199"/>
                  </a:lnTo>
                  <a:lnTo>
                    <a:pt x="2928" y="199"/>
                  </a:lnTo>
                  <a:lnTo>
                    <a:pt x="2928" y="199"/>
                  </a:lnTo>
                  <a:lnTo>
                    <a:pt x="2928" y="199"/>
                  </a:lnTo>
                  <a:lnTo>
                    <a:pt x="2928" y="191"/>
                  </a:lnTo>
                  <a:lnTo>
                    <a:pt x="2935" y="191"/>
                  </a:lnTo>
                  <a:lnTo>
                    <a:pt x="2935" y="191"/>
                  </a:lnTo>
                  <a:lnTo>
                    <a:pt x="2943" y="191"/>
                  </a:lnTo>
                  <a:lnTo>
                    <a:pt x="2943" y="191"/>
                  </a:lnTo>
                  <a:lnTo>
                    <a:pt x="2950" y="191"/>
                  </a:lnTo>
                  <a:lnTo>
                    <a:pt x="2950" y="191"/>
                  </a:lnTo>
                  <a:lnTo>
                    <a:pt x="2950" y="191"/>
                  </a:lnTo>
                  <a:lnTo>
                    <a:pt x="2950" y="191"/>
                  </a:lnTo>
                  <a:lnTo>
                    <a:pt x="2957" y="191"/>
                  </a:lnTo>
                  <a:lnTo>
                    <a:pt x="2957" y="191"/>
                  </a:lnTo>
                  <a:lnTo>
                    <a:pt x="2965" y="191"/>
                  </a:lnTo>
                  <a:lnTo>
                    <a:pt x="2965" y="191"/>
                  </a:lnTo>
                  <a:lnTo>
                    <a:pt x="2972" y="191"/>
                  </a:lnTo>
                  <a:lnTo>
                    <a:pt x="2972" y="184"/>
                  </a:lnTo>
                  <a:lnTo>
                    <a:pt x="2979" y="184"/>
                  </a:lnTo>
                  <a:lnTo>
                    <a:pt x="2979" y="184"/>
                  </a:lnTo>
                  <a:lnTo>
                    <a:pt x="2979" y="184"/>
                  </a:lnTo>
                  <a:lnTo>
                    <a:pt x="2979" y="184"/>
                  </a:lnTo>
                  <a:lnTo>
                    <a:pt x="2987" y="184"/>
                  </a:lnTo>
                  <a:lnTo>
                    <a:pt x="2987" y="184"/>
                  </a:lnTo>
                  <a:lnTo>
                    <a:pt x="2994" y="184"/>
                  </a:lnTo>
                  <a:lnTo>
                    <a:pt x="2994" y="184"/>
                  </a:lnTo>
                  <a:lnTo>
                    <a:pt x="3002" y="184"/>
                  </a:lnTo>
                  <a:lnTo>
                    <a:pt x="3002" y="184"/>
                  </a:lnTo>
                  <a:lnTo>
                    <a:pt x="3002" y="184"/>
                  </a:lnTo>
                  <a:lnTo>
                    <a:pt x="3002" y="184"/>
                  </a:lnTo>
                  <a:lnTo>
                    <a:pt x="3009" y="184"/>
                  </a:lnTo>
                  <a:lnTo>
                    <a:pt x="3009" y="184"/>
                  </a:lnTo>
                  <a:lnTo>
                    <a:pt x="3016" y="184"/>
                  </a:lnTo>
                  <a:lnTo>
                    <a:pt x="3016" y="177"/>
                  </a:lnTo>
                  <a:lnTo>
                    <a:pt x="3024" y="177"/>
                  </a:lnTo>
                  <a:lnTo>
                    <a:pt x="3024" y="177"/>
                  </a:lnTo>
                  <a:lnTo>
                    <a:pt x="3024" y="177"/>
                  </a:lnTo>
                  <a:lnTo>
                    <a:pt x="3024" y="177"/>
                  </a:lnTo>
                  <a:lnTo>
                    <a:pt x="3031" y="177"/>
                  </a:lnTo>
                  <a:lnTo>
                    <a:pt x="3031" y="177"/>
                  </a:lnTo>
                  <a:lnTo>
                    <a:pt x="3038" y="177"/>
                  </a:lnTo>
                  <a:lnTo>
                    <a:pt x="3038" y="169"/>
                  </a:lnTo>
                  <a:lnTo>
                    <a:pt x="3046" y="169"/>
                  </a:lnTo>
                  <a:lnTo>
                    <a:pt x="3046" y="162"/>
                  </a:lnTo>
                  <a:lnTo>
                    <a:pt x="3046" y="162"/>
                  </a:lnTo>
                  <a:lnTo>
                    <a:pt x="3046" y="162"/>
                  </a:lnTo>
                  <a:lnTo>
                    <a:pt x="3053" y="162"/>
                  </a:lnTo>
                  <a:lnTo>
                    <a:pt x="3053" y="155"/>
                  </a:lnTo>
                  <a:lnTo>
                    <a:pt x="3061" y="155"/>
                  </a:lnTo>
                  <a:lnTo>
                    <a:pt x="3061" y="155"/>
                  </a:lnTo>
                  <a:lnTo>
                    <a:pt x="3068" y="155"/>
                  </a:lnTo>
                  <a:lnTo>
                    <a:pt x="3068" y="147"/>
                  </a:lnTo>
                  <a:lnTo>
                    <a:pt x="3075" y="147"/>
                  </a:lnTo>
                  <a:lnTo>
                    <a:pt x="3075" y="147"/>
                  </a:lnTo>
                  <a:lnTo>
                    <a:pt x="3075" y="147"/>
                  </a:lnTo>
                  <a:lnTo>
                    <a:pt x="3075" y="147"/>
                  </a:lnTo>
                  <a:lnTo>
                    <a:pt x="3083" y="147"/>
                  </a:lnTo>
                  <a:lnTo>
                    <a:pt x="3083" y="147"/>
                  </a:lnTo>
                  <a:lnTo>
                    <a:pt x="3090" y="147"/>
                  </a:lnTo>
                  <a:lnTo>
                    <a:pt x="3090" y="140"/>
                  </a:lnTo>
                  <a:lnTo>
                    <a:pt x="3097" y="140"/>
                  </a:lnTo>
                  <a:lnTo>
                    <a:pt x="3097" y="140"/>
                  </a:lnTo>
                  <a:lnTo>
                    <a:pt x="3097" y="140"/>
                  </a:lnTo>
                  <a:lnTo>
                    <a:pt x="3097" y="132"/>
                  </a:lnTo>
                  <a:lnTo>
                    <a:pt x="3105" y="132"/>
                  </a:lnTo>
                  <a:lnTo>
                    <a:pt x="3105" y="125"/>
                  </a:lnTo>
                  <a:lnTo>
                    <a:pt x="3112" y="125"/>
                  </a:lnTo>
                  <a:lnTo>
                    <a:pt x="3112" y="125"/>
                  </a:lnTo>
                  <a:lnTo>
                    <a:pt x="3120" y="125"/>
                  </a:lnTo>
                  <a:lnTo>
                    <a:pt x="3120" y="125"/>
                  </a:lnTo>
                  <a:lnTo>
                    <a:pt x="3120" y="125"/>
                  </a:lnTo>
                  <a:lnTo>
                    <a:pt x="3120" y="125"/>
                  </a:lnTo>
                  <a:lnTo>
                    <a:pt x="3127" y="125"/>
                  </a:lnTo>
                  <a:lnTo>
                    <a:pt x="3127" y="118"/>
                  </a:lnTo>
                  <a:lnTo>
                    <a:pt x="3134" y="118"/>
                  </a:lnTo>
                  <a:lnTo>
                    <a:pt x="3134" y="118"/>
                  </a:lnTo>
                  <a:lnTo>
                    <a:pt x="3142" y="118"/>
                  </a:lnTo>
                  <a:lnTo>
                    <a:pt x="3142" y="118"/>
                  </a:lnTo>
                  <a:lnTo>
                    <a:pt x="3149" y="118"/>
                  </a:lnTo>
                  <a:lnTo>
                    <a:pt x="3149" y="118"/>
                  </a:lnTo>
                  <a:lnTo>
                    <a:pt x="3149" y="118"/>
                  </a:lnTo>
                  <a:lnTo>
                    <a:pt x="3149" y="110"/>
                  </a:lnTo>
                  <a:lnTo>
                    <a:pt x="3156" y="110"/>
                  </a:lnTo>
                  <a:lnTo>
                    <a:pt x="3156" y="110"/>
                  </a:lnTo>
                  <a:lnTo>
                    <a:pt x="3164" y="110"/>
                  </a:lnTo>
                  <a:lnTo>
                    <a:pt x="3164" y="110"/>
                  </a:lnTo>
                  <a:lnTo>
                    <a:pt x="3171" y="110"/>
                  </a:lnTo>
                  <a:lnTo>
                    <a:pt x="3171" y="103"/>
                  </a:lnTo>
                  <a:lnTo>
                    <a:pt x="3171" y="103"/>
                  </a:lnTo>
                  <a:lnTo>
                    <a:pt x="3171" y="103"/>
                  </a:lnTo>
                  <a:lnTo>
                    <a:pt x="3179" y="103"/>
                  </a:lnTo>
                  <a:lnTo>
                    <a:pt x="3179" y="103"/>
                  </a:lnTo>
                  <a:lnTo>
                    <a:pt x="3186" y="103"/>
                  </a:lnTo>
                  <a:lnTo>
                    <a:pt x="3186" y="103"/>
                  </a:lnTo>
                  <a:lnTo>
                    <a:pt x="3193" y="103"/>
                  </a:lnTo>
                  <a:lnTo>
                    <a:pt x="3193" y="103"/>
                  </a:lnTo>
                  <a:lnTo>
                    <a:pt x="3193" y="103"/>
                  </a:lnTo>
                  <a:lnTo>
                    <a:pt x="3193" y="96"/>
                  </a:lnTo>
                  <a:lnTo>
                    <a:pt x="3201" y="96"/>
                  </a:lnTo>
                  <a:lnTo>
                    <a:pt x="3201" y="96"/>
                  </a:lnTo>
                  <a:lnTo>
                    <a:pt x="3208" y="96"/>
                  </a:lnTo>
                  <a:lnTo>
                    <a:pt x="3208" y="88"/>
                  </a:lnTo>
                  <a:lnTo>
                    <a:pt x="3215" y="88"/>
                  </a:lnTo>
                  <a:lnTo>
                    <a:pt x="3215" y="88"/>
                  </a:lnTo>
                  <a:lnTo>
                    <a:pt x="3215" y="88"/>
                  </a:lnTo>
                  <a:lnTo>
                    <a:pt x="3215" y="81"/>
                  </a:lnTo>
                  <a:lnTo>
                    <a:pt x="3223" y="81"/>
                  </a:lnTo>
                  <a:lnTo>
                    <a:pt x="3223" y="81"/>
                  </a:lnTo>
                  <a:lnTo>
                    <a:pt x="3230" y="81"/>
                  </a:lnTo>
                  <a:lnTo>
                    <a:pt x="3230" y="81"/>
                  </a:lnTo>
                  <a:lnTo>
                    <a:pt x="3238" y="81"/>
                  </a:lnTo>
                  <a:lnTo>
                    <a:pt x="3238" y="81"/>
                  </a:lnTo>
                  <a:lnTo>
                    <a:pt x="3245" y="81"/>
                  </a:lnTo>
                  <a:lnTo>
                    <a:pt x="3245" y="81"/>
                  </a:lnTo>
                  <a:lnTo>
                    <a:pt x="3245" y="81"/>
                  </a:lnTo>
                  <a:lnTo>
                    <a:pt x="3245" y="73"/>
                  </a:lnTo>
                  <a:lnTo>
                    <a:pt x="3252" y="73"/>
                  </a:lnTo>
                  <a:lnTo>
                    <a:pt x="3252" y="73"/>
                  </a:lnTo>
                  <a:lnTo>
                    <a:pt x="3260" y="73"/>
                  </a:lnTo>
                  <a:lnTo>
                    <a:pt x="3260" y="66"/>
                  </a:lnTo>
                  <a:lnTo>
                    <a:pt x="3267" y="66"/>
                  </a:lnTo>
                  <a:lnTo>
                    <a:pt x="3267" y="66"/>
                  </a:lnTo>
                  <a:lnTo>
                    <a:pt x="3267" y="66"/>
                  </a:lnTo>
                  <a:lnTo>
                    <a:pt x="3267" y="66"/>
                  </a:lnTo>
                  <a:lnTo>
                    <a:pt x="3274" y="66"/>
                  </a:lnTo>
                  <a:lnTo>
                    <a:pt x="3274" y="66"/>
                  </a:lnTo>
                  <a:lnTo>
                    <a:pt x="3282" y="66"/>
                  </a:lnTo>
                  <a:lnTo>
                    <a:pt x="3282" y="66"/>
                  </a:lnTo>
                  <a:lnTo>
                    <a:pt x="3289" y="66"/>
                  </a:lnTo>
                  <a:lnTo>
                    <a:pt x="3289" y="59"/>
                  </a:lnTo>
                  <a:lnTo>
                    <a:pt x="3289" y="59"/>
                  </a:lnTo>
                  <a:lnTo>
                    <a:pt x="3289" y="59"/>
                  </a:lnTo>
                  <a:lnTo>
                    <a:pt x="3297" y="59"/>
                  </a:lnTo>
                  <a:lnTo>
                    <a:pt x="3297" y="59"/>
                  </a:lnTo>
                  <a:lnTo>
                    <a:pt x="3304" y="59"/>
                  </a:lnTo>
                  <a:lnTo>
                    <a:pt x="3304" y="59"/>
                  </a:lnTo>
                  <a:lnTo>
                    <a:pt x="3311" y="59"/>
                  </a:lnTo>
                  <a:lnTo>
                    <a:pt x="3311" y="59"/>
                  </a:lnTo>
                  <a:lnTo>
                    <a:pt x="3311" y="59"/>
                  </a:lnTo>
                  <a:lnTo>
                    <a:pt x="3311" y="59"/>
                  </a:lnTo>
                  <a:lnTo>
                    <a:pt x="3319" y="59"/>
                  </a:lnTo>
                  <a:lnTo>
                    <a:pt x="3319" y="59"/>
                  </a:lnTo>
                  <a:lnTo>
                    <a:pt x="3326" y="59"/>
                  </a:lnTo>
                  <a:lnTo>
                    <a:pt x="3326" y="59"/>
                  </a:lnTo>
                  <a:lnTo>
                    <a:pt x="3333" y="59"/>
                  </a:lnTo>
                  <a:lnTo>
                    <a:pt x="3333" y="59"/>
                  </a:lnTo>
                  <a:lnTo>
                    <a:pt x="3341" y="59"/>
                  </a:lnTo>
                  <a:lnTo>
                    <a:pt x="3341" y="59"/>
                  </a:lnTo>
                  <a:lnTo>
                    <a:pt x="3341" y="59"/>
                  </a:lnTo>
                  <a:lnTo>
                    <a:pt x="3341" y="59"/>
                  </a:lnTo>
                  <a:lnTo>
                    <a:pt x="3348" y="59"/>
                  </a:lnTo>
                  <a:lnTo>
                    <a:pt x="3348" y="59"/>
                  </a:lnTo>
                  <a:lnTo>
                    <a:pt x="3356" y="59"/>
                  </a:lnTo>
                  <a:lnTo>
                    <a:pt x="3356" y="59"/>
                  </a:lnTo>
                  <a:lnTo>
                    <a:pt x="3363" y="59"/>
                  </a:lnTo>
                  <a:lnTo>
                    <a:pt x="3363" y="51"/>
                  </a:lnTo>
                  <a:lnTo>
                    <a:pt x="3363" y="51"/>
                  </a:lnTo>
                  <a:lnTo>
                    <a:pt x="3363" y="51"/>
                  </a:lnTo>
                  <a:lnTo>
                    <a:pt x="3370" y="51"/>
                  </a:lnTo>
                  <a:lnTo>
                    <a:pt x="3370" y="51"/>
                  </a:lnTo>
                  <a:lnTo>
                    <a:pt x="3378" y="51"/>
                  </a:lnTo>
                  <a:lnTo>
                    <a:pt x="3378" y="51"/>
                  </a:lnTo>
                  <a:lnTo>
                    <a:pt x="3385" y="51"/>
                  </a:lnTo>
                  <a:lnTo>
                    <a:pt x="3385" y="51"/>
                  </a:lnTo>
                  <a:lnTo>
                    <a:pt x="3385" y="51"/>
                  </a:lnTo>
                  <a:lnTo>
                    <a:pt x="3385" y="44"/>
                  </a:lnTo>
                  <a:lnTo>
                    <a:pt x="3392" y="44"/>
                  </a:lnTo>
                  <a:lnTo>
                    <a:pt x="3392" y="44"/>
                  </a:lnTo>
                  <a:lnTo>
                    <a:pt x="3400" y="44"/>
                  </a:lnTo>
                  <a:lnTo>
                    <a:pt x="3400" y="44"/>
                  </a:lnTo>
                  <a:lnTo>
                    <a:pt x="3407" y="44"/>
                  </a:lnTo>
                  <a:lnTo>
                    <a:pt x="3407" y="44"/>
                  </a:lnTo>
                  <a:lnTo>
                    <a:pt x="3415" y="44"/>
                  </a:lnTo>
                  <a:lnTo>
                    <a:pt x="3415" y="44"/>
                  </a:lnTo>
                  <a:lnTo>
                    <a:pt x="3415" y="44"/>
                  </a:lnTo>
                  <a:lnTo>
                    <a:pt x="3415" y="44"/>
                  </a:lnTo>
                  <a:lnTo>
                    <a:pt x="3422" y="44"/>
                  </a:lnTo>
                  <a:lnTo>
                    <a:pt x="3422" y="44"/>
                  </a:lnTo>
                  <a:lnTo>
                    <a:pt x="3429" y="44"/>
                  </a:lnTo>
                  <a:lnTo>
                    <a:pt x="3429" y="44"/>
                  </a:lnTo>
                  <a:lnTo>
                    <a:pt x="3437" y="44"/>
                  </a:lnTo>
                  <a:lnTo>
                    <a:pt x="3437" y="44"/>
                  </a:lnTo>
                  <a:lnTo>
                    <a:pt x="3437" y="44"/>
                  </a:lnTo>
                  <a:lnTo>
                    <a:pt x="3437" y="44"/>
                  </a:lnTo>
                  <a:lnTo>
                    <a:pt x="3444" y="44"/>
                  </a:lnTo>
                  <a:lnTo>
                    <a:pt x="3444" y="44"/>
                  </a:lnTo>
                  <a:lnTo>
                    <a:pt x="3451" y="44"/>
                  </a:lnTo>
                  <a:lnTo>
                    <a:pt x="3451" y="44"/>
                  </a:lnTo>
                  <a:lnTo>
                    <a:pt x="3459" y="44"/>
                  </a:lnTo>
                  <a:lnTo>
                    <a:pt x="3459" y="44"/>
                  </a:lnTo>
                  <a:lnTo>
                    <a:pt x="3459" y="44"/>
                  </a:lnTo>
                  <a:lnTo>
                    <a:pt x="3459" y="37"/>
                  </a:lnTo>
                  <a:lnTo>
                    <a:pt x="3466" y="37"/>
                  </a:lnTo>
                  <a:lnTo>
                    <a:pt x="3466" y="37"/>
                  </a:lnTo>
                  <a:lnTo>
                    <a:pt x="3474" y="37"/>
                  </a:lnTo>
                  <a:lnTo>
                    <a:pt x="3474" y="37"/>
                  </a:lnTo>
                  <a:lnTo>
                    <a:pt x="3481" y="37"/>
                  </a:lnTo>
                  <a:lnTo>
                    <a:pt x="3481" y="37"/>
                  </a:lnTo>
                  <a:lnTo>
                    <a:pt x="3481" y="37"/>
                  </a:lnTo>
                  <a:lnTo>
                    <a:pt x="3481" y="37"/>
                  </a:lnTo>
                  <a:lnTo>
                    <a:pt x="3488" y="37"/>
                  </a:lnTo>
                  <a:lnTo>
                    <a:pt x="3488" y="37"/>
                  </a:lnTo>
                  <a:lnTo>
                    <a:pt x="3496" y="37"/>
                  </a:lnTo>
                  <a:lnTo>
                    <a:pt x="3496" y="37"/>
                  </a:lnTo>
                  <a:lnTo>
                    <a:pt x="3503" y="37"/>
                  </a:lnTo>
                  <a:lnTo>
                    <a:pt x="3503" y="37"/>
                  </a:lnTo>
                  <a:lnTo>
                    <a:pt x="3510" y="37"/>
                  </a:lnTo>
                  <a:lnTo>
                    <a:pt x="3510" y="37"/>
                  </a:lnTo>
                  <a:lnTo>
                    <a:pt x="3510" y="37"/>
                  </a:lnTo>
                  <a:lnTo>
                    <a:pt x="3510" y="37"/>
                  </a:lnTo>
                  <a:lnTo>
                    <a:pt x="3518" y="37"/>
                  </a:lnTo>
                  <a:lnTo>
                    <a:pt x="3518" y="37"/>
                  </a:lnTo>
                  <a:lnTo>
                    <a:pt x="3525" y="37"/>
                  </a:lnTo>
                  <a:lnTo>
                    <a:pt x="3525" y="37"/>
                  </a:lnTo>
                  <a:lnTo>
                    <a:pt x="3533" y="37"/>
                  </a:lnTo>
                  <a:lnTo>
                    <a:pt x="3533" y="37"/>
                  </a:lnTo>
                  <a:lnTo>
                    <a:pt x="3533" y="37"/>
                  </a:lnTo>
                  <a:lnTo>
                    <a:pt x="3533" y="37"/>
                  </a:lnTo>
                  <a:lnTo>
                    <a:pt x="3540" y="37"/>
                  </a:lnTo>
                  <a:lnTo>
                    <a:pt x="3540" y="37"/>
                  </a:lnTo>
                  <a:lnTo>
                    <a:pt x="3547" y="37"/>
                  </a:lnTo>
                  <a:lnTo>
                    <a:pt x="3547" y="37"/>
                  </a:lnTo>
                  <a:lnTo>
                    <a:pt x="3555" y="37"/>
                  </a:lnTo>
                  <a:lnTo>
                    <a:pt x="3555" y="37"/>
                  </a:lnTo>
                  <a:lnTo>
                    <a:pt x="3555" y="37"/>
                  </a:lnTo>
                  <a:lnTo>
                    <a:pt x="3555" y="37"/>
                  </a:lnTo>
                  <a:lnTo>
                    <a:pt x="3562" y="37"/>
                  </a:lnTo>
                  <a:lnTo>
                    <a:pt x="3562" y="37"/>
                  </a:lnTo>
                  <a:lnTo>
                    <a:pt x="3569" y="37"/>
                  </a:lnTo>
                  <a:lnTo>
                    <a:pt x="3569" y="37"/>
                  </a:lnTo>
                  <a:lnTo>
                    <a:pt x="3577" y="37"/>
                  </a:lnTo>
                  <a:lnTo>
                    <a:pt x="3577" y="37"/>
                  </a:lnTo>
                  <a:lnTo>
                    <a:pt x="3584" y="37"/>
                  </a:lnTo>
                  <a:lnTo>
                    <a:pt x="3584" y="29"/>
                  </a:lnTo>
                  <a:lnTo>
                    <a:pt x="3584" y="29"/>
                  </a:lnTo>
                  <a:lnTo>
                    <a:pt x="3584" y="29"/>
                  </a:lnTo>
                  <a:lnTo>
                    <a:pt x="3592" y="29"/>
                  </a:lnTo>
                  <a:lnTo>
                    <a:pt x="3592" y="29"/>
                  </a:lnTo>
                  <a:lnTo>
                    <a:pt x="3599" y="29"/>
                  </a:lnTo>
                  <a:lnTo>
                    <a:pt x="3599" y="29"/>
                  </a:lnTo>
                  <a:lnTo>
                    <a:pt x="3606" y="29"/>
                  </a:lnTo>
                  <a:lnTo>
                    <a:pt x="3606" y="29"/>
                  </a:lnTo>
                  <a:lnTo>
                    <a:pt x="3606" y="29"/>
                  </a:lnTo>
                  <a:lnTo>
                    <a:pt x="3606" y="29"/>
                  </a:lnTo>
                  <a:lnTo>
                    <a:pt x="3614" y="29"/>
                  </a:lnTo>
                  <a:lnTo>
                    <a:pt x="3614" y="29"/>
                  </a:lnTo>
                  <a:lnTo>
                    <a:pt x="3621" y="29"/>
                  </a:lnTo>
                  <a:lnTo>
                    <a:pt x="3621" y="29"/>
                  </a:lnTo>
                  <a:lnTo>
                    <a:pt x="3628" y="29"/>
                  </a:lnTo>
                  <a:lnTo>
                    <a:pt x="3628" y="29"/>
                  </a:lnTo>
                  <a:lnTo>
                    <a:pt x="3628" y="29"/>
                  </a:lnTo>
                  <a:lnTo>
                    <a:pt x="3628" y="29"/>
                  </a:lnTo>
                  <a:lnTo>
                    <a:pt x="3636" y="29"/>
                  </a:lnTo>
                  <a:lnTo>
                    <a:pt x="3636" y="29"/>
                  </a:lnTo>
                  <a:lnTo>
                    <a:pt x="3643" y="29"/>
                  </a:lnTo>
                  <a:lnTo>
                    <a:pt x="3643" y="29"/>
                  </a:lnTo>
                  <a:lnTo>
                    <a:pt x="3651" y="29"/>
                  </a:lnTo>
                  <a:lnTo>
                    <a:pt x="3651" y="29"/>
                  </a:lnTo>
                  <a:lnTo>
                    <a:pt x="3651" y="29"/>
                  </a:lnTo>
                  <a:lnTo>
                    <a:pt x="3651" y="29"/>
                  </a:lnTo>
                  <a:lnTo>
                    <a:pt x="3658" y="29"/>
                  </a:lnTo>
                  <a:lnTo>
                    <a:pt x="3658" y="29"/>
                  </a:lnTo>
                  <a:lnTo>
                    <a:pt x="3665" y="29"/>
                  </a:lnTo>
                  <a:lnTo>
                    <a:pt x="3665" y="29"/>
                  </a:lnTo>
                  <a:lnTo>
                    <a:pt x="3673" y="29"/>
                  </a:lnTo>
                  <a:lnTo>
                    <a:pt x="3673" y="29"/>
                  </a:lnTo>
                  <a:lnTo>
                    <a:pt x="3680" y="29"/>
                  </a:lnTo>
                  <a:lnTo>
                    <a:pt x="3680" y="22"/>
                  </a:lnTo>
                  <a:lnTo>
                    <a:pt x="3680" y="22"/>
                  </a:lnTo>
                  <a:lnTo>
                    <a:pt x="3680" y="22"/>
                  </a:lnTo>
                  <a:lnTo>
                    <a:pt x="3687" y="22"/>
                  </a:lnTo>
                  <a:lnTo>
                    <a:pt x="3687" y="22"/>
                  </a:lnTo>
                  <a:lnTo>
                    <a:pt x="3695" y="22"/>
                  </a:lnTo>
                  <a:lnTo>
                    <a:pt x="3695" y="22"/>
                  </a:lnTo>
                  <a:lnTo>
                    <a:pt x="3702" y="22"/>
                  </a:lnTo>
                  <a:lnTo>
                    <a:pt x="3702" y="22"/>
                  </a:lnTo>
                  <a:lnTo>
                    <a:pt x="3702" y="22"/>
                  </a:lnTo>
                  <a:lnTo>
                    <a:pt x="3702" y="22"/>
                  </a:lnTo>
                  <a:lnTo>
                    <a:pt x="3710" y="22"/>
                  </a:lnTo>
                  <a:lnTo>
                    <a:pt x="3710" y="22"/>
                  </a:lnTo>
                  <a:lnTo>
                    <a:pt x="3717" y="22"/>
                  </a:lnTo>
                  <a:lnTo>
                    <a:pt x="3717" y="22"/>
                  </a:lnTo>
                  <a:lnTo>
                    <a:pt x="3724" y="22"/>
                  </a:lnTo>
                  <a:lnTo>
                    <a:pt x="3724" y="22"/>
                  </a:lnTo>
                  <a:lnTo>
                    <a:pt x="3724" y="22"/>
                  </a:lnTo>
                  <a:lnTo>
                    <a:pt x="3724" y="15"/>
                  </a:lnTo>
                  <a:lnTo>
                    <a:pt x="3732" y="15"/>
                  </a:lnTo>
                  <a:lnTo>
                    <a:pt x="3732" y="15"/>
                  </a:lnTo>
                  <a:lnTo>
                    <a:pt x="3739" y="15"/>
                  </a:lnTo>
                  <a:lnTo>
                    <a:pt x="3739" y="15"/>
                  </a:lnTo>
                  <a:lnTo>
                    <a:pt x="3746" y="15"/>
                  </a:lnTo>
                  <a:lnTo>
                    <a:pt x="3746" y="15"/>
                  </a:lnTo>
                  <a:lnTo>
                    <a:pt x="3754" y="15"/>
                  </a:lnTo>
                  <a:lnTo>
                    <a:pt x="3754" y="15"/>
                  </a:lnTo>
                  <a:lnTo>
                    <a:pt x="3754" y="15"/>
                  </a:lnTo>
                  <a:lnTo>
                    <a:pt x="3754" y="15"/>
                  </a:lnTo>
                  <a:lnTo>
                    <a:pt x="3761" y="15"/>
                  </a:lnTo>
                  <a:lnTo>
                    <a:pt x="3761" y="15"/>
                  </a:lnTo>
                  <a:lnTo>
                    <a:pt x="3769" y="15"/>
                  </a:lnTo>
                  <a:lnTo>
                    <a:pt x="3769" y="15"/>
                  </a:lnTo>
                  <a:lnTo>
                    <a:pt x="3776" y="15"/>
                  </a:lnTo>
                  <a:lnTo>
                    <a:pt x="3776" y="15"/>
                  </a:lnTo>
                  <a:lnTo>
                    <a:pt x="3776" y="15"/>
                  </a:lnTo>
                  <a:lnTo>
                    <a:pt x="3776" y="15"/>
                  </a:lnTo>
                  <a:lnTo>
                    <a:pt x="3783" y="15"/>
                  </a:lnTo>
                  <a:lnTo>
                    <a:pt x="3783" y="15"/>
                  </a:lnTo>
                  <a:lnTo>
                    <a:pt x="3791" y="15"/>
                  </a:lnTo>
                  <a:lnTo>
                    <a:pt x="3791" y="15"/>
                  </a:lnTo>
                  <a:lnTo>
                    <a:pt x="3798" y="15"/>
                  </a:lnTo>
                  <a:lnTo>
                    <a:pt x="3798" y="15"/>
                  </a:lnTo>
                  <a:lnTo>
                    <a:pt x="3798" y="15"/>
                  </a:lnTo>
                  <a:lnTo>
                    <a:pt x="3798" y="15"/>
                  </a:lnTo>
                  <a:lnTo>
                    <a:pt x="3805" y="15"/>
                  </a:lnTo>
                  <a:lnTo>
                    <a:pt x="3805" y="15"/>
                  </a:lnTo>
                  <a:lnTo>
                    <a:pt x="3813" y="15"/>
                  </a:lnTo>
                  <a:lnTo>
                    <a:pt x="3813" y="15"/>
                  </a:lnTo>
                  <a:lnTo>
                    <a:pt x="3820" y="15"/>
                  </a:lnTo>
                  <a:lnTo>
                    <a:pt x="3820" y="15"/>
                  </a:lnTo>
                  <a:lnTo>
                    <a:pt x="3820" y="15"/>
                  </a:lnTo>
                  <a:lnTo>
                    <a:pt x="3820" y="15"/>
                  </a:lnTo>
                  <a:lnTo>
                    <a:pt x="3828" y="15"/>
                  </a:lnTo>
                  <a:lnTo>
                    <a:pt x="3828" y="15"/>
                  </a:lnTo>
                  <a:lnTo>
                    <a:pt x="3835" y="15"/>
                  </a:lnTo>
                  <a:lnTo>
                    <a:pt x="3835" y="15"/>
                  </a:lnTo>
                  <a:lnTo>
                    <a:pt x="3842" y="15"/>
                  </a:lnTo>
                  <a:lnTo>
                    <a:pt x="3842" y="15"/>
                  </a:lnTo>
                  <a:lnTo>
                    <a:pt x="3850" y="15"/>
                  </a:lnTo>
                  <a:lnTo>
                    <a:pt x="3850" y="15"/>
                  </a:lnTo>
                  <a:lnTo>
                    <a:pt x="3850" y="15"/>
                  </a:lnTo>
                  <a:lnTo>
                    <a:pt x="3850" y="15"/>
                  </a:lnTo>
                  <a:lnTo>
                    <a:pt x="3857" y="15"/>
                  </a:lnTo>
                  <a:lnTo>
                    <a:pt x="3857" y="15"/>
                  </a:lnTo>
                  <a:lnTo>
                    <a:pt x="3864" y="15"/>
                  </a:lnTo>
                  <a:lnTo>
                    <a:pt x="3864" y="15"/>
                  </a:lnTo>
                  <a:lnTo>
                    <a:pt x="3872" y="15"/>
                  </a:lnTo>
                  <a:lnTo>
                    <a:pt x="3872" y="15"/>
                  </a:lnTo>
                  <a:lnTo>
                    <a:pt x="3879" y="15"/>
                  </a:lnTo>
                  <a:lnTo>
                    <a:pt x="3879" y="7"/>
                  </a:lnTo>
                  <a:lnTo>
                    <a:pt x="3887" y="7"/>
                  </a:lnTo>
                  <a:lnTo>
                    <a:pt x="3887" y="7"/>
                  </a:lnTo>
                  <a:lnTo>
                    <a:pt x="3894" y="7"/>
                  </a:lnTo>
                  <a:lnTo>
                    <a:pt x="3894" y="7"/>
                  </a:lnTo>
                  <a:lnTo>
                    <a:pt x="3894" y="7"/>
                  </a:lnTo>
                  <a:lnTo>
                    <a:pt x="3894" y="7"/>
                  </a:lnTo>
                  <a:lnTo>
                    <a:pt x="3901" y="7"/>
                  </a:lnTo>
                  <a:lnTo>
                    <a:pt x="3901" y="7"/>
                  </a:lnTo>
                  <a:lnTo>
                    <a:pt x="3909" y="7"/>
                  </a:lnTo>
                  <a:lnTo>
                    <a:pt x="3909" y="7"/>
                  </a:lnTo>
                  <a:lnTo>
                    <a:pt x="3916" y="7"/>
                  </a:lnTo>
                  <a:lnTo>
                    <a:pt x="3916" y="7"/>
                  </a:lnTo>
                  <a:lnTo>
                    <a:pt x="3923" y="7"/>
                  </a:lnTo>
                  <a:lnTo>
                    <a:pt x="3923" y="0"/>
                  </a:lnTo>
                  <a:lnTo>
                    <a:pt x="3923" y="0"/>
                  </a:lnTo>
                  <a:lnTo>
                    <a:pt x="3923" y="0"/>
                  </a:lnTo>
                </a:path>
              </a:pathLst>
            </a:custGeom>
            <a:noFill/>
            <a:ln w="25400" cap="sq">
              <a:solidFill>
                <a:srgbClr val="CC33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8766175" y="3886201"/>
              <a:ext cx="1955800" cy="585788"/>
            </a:xfrm>
            <a:custGeom>
              <a:avLst/>
              <a:gdLst>
                <a:gd name="T0" fmla="*/ 23 w 1232"/>
                <a:gd name="T1" fmla="*/ 369 h 369"/>
                <a:gd name="T2" fmla="*/ 45 w 1232"/>
                <a:gd name="T3" fmla="*/ 354 h 369"/>
                <a:gd name="T4" fmla="*/ 59 w 1232"/>
                <a:gd name="T5" fmla="*/ 354 h 369"/>
                <a:gd name="T6" fmla="*/ 82 w 1232"/>
                <a:gd name="T7" fmla="*/ 347 h 369"/>
                <a:gd name="T8" fmla="*/ 96 w 1232"/>
                <a:gd name="T9" fmla="*/ 339 h 369"/>
                <a:gd name="T10" fmla="*/ 118 w 1232"/>
                <a:gd name="T11" fmla="*/ 332 h 369"/>
                <a:gd name="T12" fmla="*/ 141 w 1232"/>
                <a:gd name="T13" fmla="*/ 332 h 369"/>
                <a:gd name="T14" fmla="*/ 163 w 1232"/>
                <a:gd name="T15" fmla="*/ 325 h 369"/>
                <a:gd name="T16" fmla="*/ 177 w 1232"/>
                <a:gd name="T17" fmla="*/ 325 h 369"/>
                <a:gd name="T18" fmla="*/ 200 w 1232"/>
                <a:gd name="T19" fmla="*/ 310 h 369"/>
                <a:gd name="T20" fmla="*/ 214 w 1232"/>
                <a:gd name="T21" fmla="*/ 302 h 369"/>
                <a:gd name="T22" fmla="*/ 236 w 1232"/>
                <a:gd name="T23" fmla="*/ 288 h 369"/>
                <a:gd name="T24" fmla="*/ 259 w 1232"/>
                <a:gd name="T25" fmla="*/ 280 h 369"/>
                <a:gd name="T26" fmla="*/ 281 w 1232"/>
                <a:gd name="T27" fmla="*/ 273 h 369"/>
                <a:gd name="T28" fmla="*/ 295 w 1232"/>
                <a:gd name="T29" fmla="*/ 266 h 369"/>
                <a:gd name="T30" fmla="*/ 318 w 1232"/>
                <a:gd name="T31" fmla="*/ 266 h 369"/>
                <a:gd name="T32" fmla="*/ 332 w 1232"/>
                <a:gd name="T33" fmla="*/ 258 h 369"/>
                <a:gd name="T34" fmla="*/ 362 w 1232"/>
                <a:gd name="T35" fmla="*/ 258 h 369"/>
                <a:gd name="T36" fmla="*/ 377 w 1232"/>
                <a:gd name="T37" fmla="*/ 251 h 369"/>
                <a:gd name="T38" fmla="*/ 399 w 1232"/>
                <a:gd name="T39" fmla="*/ 243 h 369"/>
                <a:gd name="T40" fmla="*/ 413 w 1232"/>
                <a:gd name="T41" fmla="*/ 243 h 369"/>
                <a:gd name="T42" fmla="*/ 436 w 1232"/>
                <a:gd name="T43" fmla="*/ 243 h 369"/>
                <a:gd name="T44" fmla="*/ 458 w 1232"/>
                <a:gd name="T45" fmla="*/ 236 h 369"/>
                <a:gd name="T46" fmla="*/ 480 w 1232"/>
                <a:gd name="T47" fmla="*/ 236 h 369"/>
                <a:gd name="T48" fmla="*/ 495 w 1232"/>
                <a:gd name="T49" fmla="*/ 236 h 369"/>
                <a:gd name="T50" fmla="*/ 517 w 1232"/>
                <a:gd name="T51" fmla="*/ 229 h 369"/>
                <a:gd name="T52" fmla="*/ 531 w 1232"/>
                <a:gd name="T53" fmla="*/ 229 h 369"/>
                <a:gd name="T54" fmla="*/ 554 w 1232"/>
                <a:gd name="T55" fmla="*/ 229 h 369"/>
                <a:gd name="T56" fmla="*/ 576 w 1232"/>
                <a:gd name="T57" fmla="*/ 221 h 369"/>
                <a:gd name="T58" fmla="*/ 598 w 1232"/>
                <a:gd name="T59" fmla="*/ 221 h 369"/>
                <a:gd name="T60" fmla="*/ 613 w 1232"/>
                <a:gd name="T61" fmla="*/ 214 h 369"/>
                <a:gd name="T62" fmla="*/ 635 w 1232"/>
                <a:gd name="T63" fmla="*/ 199 h 369"/>
                <a:gd name="T64" fmla="*/ 657 w 1232"/>
                <a:gd name="T65" fmla="*/ 199 h 369"/>
                <a:gd name="T66" fmla="*/ 679 w 1232"/>
                <a:gd name="T67" fmla="*/ 184 h 369"/>
                <a:gd name="T68" fmla="*/ 701 w 1232"/>
                <a:gd name="T69" fmla="*/ 184 h 369"/>
                <a:gd name="T70" fmla="*/ 723 w 1232"/>
                <a:gd name="T71" fmla="*/ 184 h 369"/>
                <a:gd name="T72" fmla="*/ 738 w 1232"/>
                <a:gd name="T73" fmla="*/ 184 h 369"/>
                <a:gd name="T74" fmla="*/ 760 w 1232"/>
                <a:gd name="T75" fmla="*/ 184 h 369"/>
                <a:gd name="T76" fmla="*/ 775 w 1232"/>
                <a:gd name="T77" fmla="*/ 184 h 369"/>
                <a:gd name="T78" fmla="*/ 797 w 1232"/>
                <a:gd name="T79" fmla="*/ 184 h 369"/>
                <a:gd name="T80" fmla="*/ 819 w 1232"/>
                <a:gd name="T81" fmla="*/ 177 h 369"/>
                <a:gd name="T82" fmla="*/ 841 w 1232"/>
                <a:gd name="T83" fmla="*/ 170 h 369"/>
                <a:gd name="T84" fmla="*/ 856 w 1232"/>
                <a:gd name="T85" fmla="*/ 155 h 369"/>
                <a:gd name="T86" fmla="*/ 878 w 1232"/>
                <a:gd name="T87" fmla="*/ 148 h 369"/>
                <a:gd name="T88" fmla="*/ 893 w 1232"/>
                <a:gd name="T89" fmla="*/ 140 h 369"/>
                <a:gd name="T90" fmla="*/ 915 w 1232"/>
                <a:gd name="T91" fmla="*/ 140 h 369"/>
                <a:gd name="T92" fmla="*/ 937 w 1232"/>
                <a:gd name="T93" fmla="*/ 125 h 369"/>
                <a:gd name="T94" fmla="*/ 959 w 1232"/>
                <a:gd name="T95" fmla="*/ 125 h 369"/>
                <a:gd name="T96" fmla="*/ 974 w 1232"/>
                <a:gd name="T97" fmla="*/ 118 h 369"/>
                <a:gd name="T98" fmla="*/ 996 w 1232"/>
                <a:gd name="T99" fmla="*/ 118 h 369"/>
                <a:gd name="T100" fmla="*/ 1011 w 1232"/>
                <a:gd name="T101" fmla="*/ 111 h 369"/>
                <a:gd name="T102" fmla="*/ 1040 w 1232"/>
                <a:gd name="T103" fmla="*/ 96 h 369"/>
                <a:gd name="T104" fmla="*/ 1055 w 1232"/>
                <a:gd name="T105" fmla="*/ 89 h 369"/>
                <a:gd name="T106" fmla="*/ 1077 w 1232"/>
                <a:gd name="T107" fmla="*/ 89 h 369"/>
                <a:gd name="T108" fmla="*/ 1092 w 1232"/>
                <a:gd name="T109" fmla="*/ 89 h 369"/>
                <a:gd name="T110" fmla="*/ 1114 w 1232"/>
                <a:gd name="T111" fmla="*/ 81 h 369"/>
                <a:gd name="T112" fmla="*/ 1136 w 1232"/>
                <a:gd name="T113" fmla="*/ 81 h 369"/>
                <a:gd name="T114" fmla="*/ 1158 w 1232"/>
                <a:gd name="T115" fmla="*/ 74 h 369"/>
                <a:gd name="T116" fmla="*/ 1173 w 1232"/>
                <a:gd name="T117" fmla="*/ 59 h 369"/>
                <a:gd name="T118" fmla="*/ 1195 w 1232"/>
                <a:gd name="T119" fmla="*/ 52 h 369"/>
                <a:gd name="T120" fmla="*/ 1210 w 1232"/>
                <a:gd name="T121" fmla="*/ 30 h 369"/>
                <a:gd name="T122" fmla="*/ 1232 w 1232"/>
                <a:gd name="T123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32" h="369">
                  <a:moveTo>
                    <a:pt x="0" y="369"/>
                  </a:moveTo>
                  <a:lnTo>
                    <a:pt x="8" y="369"/>
                  </a:lnTo>
                  <a:lnTo>
                    <a:pt x="8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23" y="369"/>
                  </a:lnTo>
                  <a:lnTo>
                    <a:pt x="23" y="369"/>
                  </a:lnTo>
                  <a:lnTo>
                    <a:pt x="23" y="369"/>
                  </a:lnTo>
                  <a:lnTo>
                    <a:pt x="23" y="361"/>
                  </a:lnTo>
                  <a:lnTo>
                    <a:pt x="30" y="361"/>
                  </a:lnTo>
                  <a:lnTo>
                    <a:pt x="30" y="354"/>
                  </a:lnTo>
                  <a:lnTo>
                    <a:pt x="37" y="354"/>
                  </a:lnTo>
                  <a:lnTo>
                    <a:pt x="37" y="354"/>
                  </a:lnTo>
                  <a:lnTo>
                    <a:pt x="45" y="354"/>
                  </a:lnTo>
                  <a:lnTo>
                    <a:pt x="45" y="354"/>
                  </a:lnTo>
                  <a:lnTo>
                    <a:pt x="45" y="354"/>
                  </a:lnTo>
                  <a:lnTo>
                    <a:pt x="45" y="354"/>
                  </a:lnTo>
                  <a:lnTo>
                    <a:pt x="52" y="354"/>
                  </a:lnTo>
                  <a:lnTo>
                    <a:pt x="52" y="354"/>
                  </a:lnTo>
                  <a:lnTo>
                    <a:pt x="59" y="354"/>
                  </a:lnTo>
                  <a:lnTo>
                    <a:pt x="59" y="354"/>
                  </a:lnTo>
                  <a:lnTo>
                    <a:pt x="67" y="354"/>
                  </a:lnTo>
                  <a:lnTo>
                    <a:pt x="67" y="354"/>
                  </a:lnTo>
                  <a:lnTo>
                    <a:pt x="67" y="354"/>
                  </a:lnTo>
                  <a:lnTo>
                    <a:pt x="67" y="347"/>
                  </a:lnTo>
                  <a:lnTo>
                    <a:pt x="74" y="347"/>
                  </a:lnTo>
                  <a:lnTo>
                    <a:pt x="74" y="347"/>
                  </a:lnTo>
                  <a:lnTo>
                    <a:pt x="82" y="347"/>
                  </a:lnTo>
                  <a:lnTo>
                    <a:pt x="82" y="347"/>
                  </a:lnTo>
                  <a:lnTo>
                    <a:pt x="89" y="347"/>
                  </a:lnTo>
                  <a:lnTo>
                    <a:pt x="89" y="339"/>
                  </a:lnTo>
                  <a:lnTo>
                    <a:pt x="96" y="339"/>
                  </a:lnTo>
                  <a:lnTo>
                    <a:pt x="96" y="339"/>
                  </a:lnTo>
                  <a:lnTo>
                    <a:pt x="96" y="339"/>
                  </a:lnTo>
                  <a:lnTo>
                    <a:pt x="96" y="339"/>
                  </a:lnTo>
                  <a:lnTo>
                    <a:pt x="104" y="339"/>
                  </a:lnTo>
                  <a:lnTo>
                    <a:pt x="104" y="339"/>
                  </a:lnTo>
                  <a:lnTo>
                    <a:pt x="111" y="339"/>
                  </a:lnTo>
                  <a:lnTo>
                    <a:pt x="111" y="339"/>
                  </a:lnTo>
                  <a:lnTo>
                    <a:pt x="118" y="339"/>
                  </a:lnTo>
                  <a:lnTo>
                    <a:pt x="118" y="332"/>
                  </a:lnTo>
                  <a:lnTo>
                    <a:pt x="118" y="332"/>
                  </a:lnTo>
                  <a:lnTo>
                    <a:pt x="118" y="332"/>
                  </a:lnTo>
                  <a:lnTo>
                    <a:pt x="126" y="332"/>
                  </a:lnTo>
                  <a:lnTo>
                    <a:pt x="126" y="332"/>
                  </a:lnTo>
                  <a:lnTo>
                    <a:pt x="133" y="332"/>
                  </a:lnTo>
                  <a:lnTo>
                    <a:pt x="133" y="332"/>
                  </a:lnTo>
                  <a:lnTo>
                    <a:pt x="141" y="332"/>
                  </a:lnTo>
                  <a:lnTo>
                    <a:pt x="141" y="332"/>
                  </a:lnTo>
                  <a:lnTo>
                    <a:pt x="141" y="332"/>
                  </a:lnTo>
                  <a:lnTo>
                    <a:pt x="141" y="332"/>
                  </a:lnTo>
                  <a:lnTo>
                    <a:pt x="148" y="332"/>
                  </a:lnTo>
                  <a:lnTo>
                    <a:pt x="148" y="325"/>
                  </a:lnTo>
                  <a:lnTo>
                    <a:pt x="155" y="325"/>
                  </a:lnTo>
                  <a:lnTo>
                    <a:pt x="155" y="325"/>
                  </a:lnTo>
                  <a:lnTo>
                    <a:pt x="163" y="325"/>
                  </a:lnTo>
                  <a:lnTo>
                    <a:pt x="163" y="325"/>
                  </a:lnTo>
                  <a:lnTo>
                    <a:pt x="163" y="325"/>
                  </a:lnTo>
                  <a:lnTo>
                    <a:pt x="163" y="325"/>
                  </a:lnTo>
                  <a:lnTo>
                    <a:pt x="170" y="325"/>
                  </a:lnTo>
                  <a:lnTo>
                    <a:pt x="170" y="325"/>
                  </a:lnTo>
                  <a:lnTo>
                    <a:pt x="177" y="325"/>
                  </a:lnTo>
                  <a:lnTo>
                    <a:pt x="177" y="325"/>
                  </a:lnTo>
                  <a:lnTo>
                    <a:pt x="185" y="325"/>
                  </a:lnTo>
                  <a:lnTo>
                    <a:pt x="185" y="317"/>
                  </a:lnTo>
                  <a:lnTo>
                    <a:pt x="192" y="317"/>
                  </a:lnTo>
                  <a:lnTo>
                    <a:pt x="192" y="317"/>
                  </a:lnTo>
                  <a:lnTo>
                    <a:pt x="192" y="317"/>
                  </a:lnTo>
                  <a:lnTo>
                    <a:pt x="192" y="310"/>
                  </a:lnTo>
                  <a:lnTo>
                    <a:pt x="200" y="310"/>
                  </a:lnTo>
                  <a:lnTo>
                    <a:pt x="200" y="310"/>
                  </a:lnTo>
                  <a:lnTo>
                    <a:pt x="207" y="310"/>
                  </a:lnTo>
                  <a:lnTo>
                    <a:pt x="207" y="302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22" y="302"/>
                  </a:lnTo>
                  <a:lnTo>
                    <a:pt x="222" y="295"/>
                  </a:lnTo>
                  <a:lnTo>
                    <a:pt x="229" y="295"/>
                  </a:lnTo>
                  <a:lnTo>
                    <a:pt x="229" y="295"/>
                  </a:lnTo>
                  <a:lnTo>
                    <a:pt x="236" y="295"/>
                  </a:lnTo>
                  <a:lnTo>
                    <a:pt x="236" y="288"/>
                  </a:lnTo>
                  <a:lnTo>
                    <a:pt x="236" y="288"/>
                  </a:lnTo>
                  <a:lnTo>
                    <a:pt x="236" y="288"/>
                  </a:lnTo>
                  <a:lnTo>
                    <a:pt x="244" y="288"/>
                  </a:lnTo>
                  <a:lnTo>
                    <a:pt x="244" y="288"/>
                  </a:lnTo>
                  <a:lnTo>
                    <a:pt x="251" y="288"/>
                  </a:lnTo>
                  <a:lnTo>
                    <a:pt x="251" y="280"/>
                  </a:lnTo>
                  <a:lnTo>
                    <a:pt x="259" y="280"/>
                  </a:lnTo>
                  <a:lnTo>
                    <a:pt x="259" y="280"/>
                  </a:lnTo>
                  <a:lnTo>
                    <a:pt x="266" y="280"/>
                  </a:lnTo>
                  <a:lnTo>
                    <a:pt x="266" y="273"/>
                  </a:lnTo>
                  <a:lnTo>
                    <a:pt x="266" y="273"/>
                  </a:lnTo>
                  <a:lnTo>
                    <a:pt x="266" y="273"/>
                  </a:lnTo>
                  <a:lnTo>
                    <a:pt x="273" y="273"/>
                  </a:lnTo>
                  <a:lnTo>
                    <a:pt x="273" y="273"/>
                  </a:lnTo>
                  <a:lnTo>
                    <a:pt x="281" y="273"/>
                  </a:lnTo>
                  <a:lnTo>
                    <a:pt x="281" y="266"/>
                  </a:lnTo>
                  <a:lnTo>
                    <a:pt x="288" y="266"/>
                  </a:lnTo>
                  <a:lnTo>
                    <a:pt x="288" y="266"/>
                  </a:lnTo>
                  <a:lnTo>
                    <a:pt x="288" y="266"/>
                  </a:lnTo>
                  <a:lnTo>
                    <a:pt x="288" y="266"/>
                  </a:lnTo>
                  <a:lnTo>
                    <a:pt x="295" y="266"/>
                  </a:lnTo>
                  <a:lnTo>
                    <a:pt x="295" y="266"/>
                  </a:lnTo>
                  <a:lnTo>
                    <a:pt x="303" y="266"/>
                  </a:lnTo>
                  <a:lnTo>
                    <a:pt x="303" y="266"/>
                  </a:lnTo>
                  <a:lnTo>
                    <a:pt x="310" y="266"/>
                  </a:lnTo>
                  <a:lnTo>
                    <a:pt x="310" y="266"/>
                  </a:lnTo>
                  <a:lnTo>
                    <a:pt x="310" y="266"/>
                  </a:lnTo>
                  <a:lnTo>
                    <a:pt x="310" y="266"/>
                  </a:lnTo>
                  <a:lnTo>
                    <a:pt x="318" y="266"/>
                  </a:lnTo>
                  <a:lnTo>
                    <a:pt x="318" y="266"/>
                  </a:lnTo>
                  <a:lnTo>
                    <a:pt x="325" y="266"/>
                  </a:lnTo>
                  <a:lnTo>
                    <a:pt x="325" y="266"/>
                  </a:lnTo>
                  <a:lnTo>
                    <a:pt x="332" y="266"/>
                  </a:lnTo>
                  <a:lnTo>
                    <a:pt x="332" y="266"/>
                  </a:lnTo>
                  <a:lnTo>
                    <a:pt x="332" y="266"/>
                  </a:lnTo>
                  <a:lnTo>
                    <a:pt x="332" y="258"/>
                  </a:lnTo>
                  <a:lnTo>
                    <a:pt x="340" y="258"/>
                  </a:lnTo>
                  <a:lnTo>
                    <a:pt x="340" y="258"/>
                  </a:lnTo>
                  <a:lnTo>
                    <a:pt x="347" y="258"/>
                  </a:lnTo>
                  <a:lnTo>
                    <a:pt x="347" y="258"/>
                  </a:lnTo>
                  <a:lnTo>
                    <a:pt x="354" y="258"/>
                  </a:lnTo>
                  <a:lnTo>
                    <a:pt x="354" y="258"/>
                  </a:lnTo>
                  <a:lnTo>
                    <a:pt x="362" y="258"/>
                  </a:lnTo>
                  <a:lnTo>
                    <a:pt x="362" y="251"/>
                  </a:lnTo>
                  <a:lnTo>
                    <a:pt x="362" y="251"/>
                  </a:lnTo>
                  <a:lnTo>
                    <a:pt x="362" y="251"/>
                  </a:lnTo>
                  <a:lnTo>
                    <a:pt x="369" y="251"/>
                  </a:lnTo>
                  <a:lnTo>
                    <a:pt x="369" y="251"/>
                  </a:lnTo>
                  <a:lnTo>
                    <a:pt x="377" y="251"/>
                  </a:lnTo>
                  <a:lnTo>
                    <a:pt x="377" y="251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91" y="251"/>
                  </a:lnTo>
                  <a:lnTo>
                    <a:pt x="391" y="243"/>
                  </a:lnTo>
                  <a:lnTo>
                    <a:pt x="399" y="243"/>
                  </a:lnTo>
                  <a:lnTo>
                    <a:pt x="399" y="243"/>
                  </a:lnTo>
                  <a:lnTo>
                    <a:pt x="406" y="243"/>
                  </a:lnTo>
                  <a:lnTo>
                    <a:pt x="406" y="243"/>
                  </a:lnTo>
                  <a:lnTo>
                    <a:pt x="406" y="243"/>
                  </a:lnTo>
                  <a:lnTo>
                    <a:pt x="406" y="243"/>
                  </a:lnTo>
                  <a:lnTo>
                    <a:pt x="413" y="243"/>
                  </a:lnTo>
                  <a:lnTo>
                    <a:pt x="413" y="243"/>
                  </a:lnTo>
                  <a:lnTo>
                    <a:pt x="421" y="243"/>
                  </a:lnTo>
                  <a:lnTo>
                    <a:pt x="421" y="243"/>
                  </a:lnTo>
                  <a:lnTo>
                    <a:pt x="428" y="243"/>
                  </a:lnTo>
                  <a:lnTo>
                    <a:pt x="428" y="243"/>
                  </a:lnTo>
                  <a:lnTo>
                    <a:pt x="436" y="243"/>
                  </a:lnTo>
                  <a:lnTo>
                    <a:pt x="436" y="243"/>
                  </a:lnTo>
                  <a:lnTo>
                    <a:pt x="436" y="243"/>
                  </a:lnTo>
                  <a:lnTo>
                    <a:pt x="436" y="243"/>
                  </a:lnTo>
                  <a:lnTo>
                    <a:pt x="443" y="243"/>
                  </a:lnTo>
                  <a:lnTo>
                    <a:pt x="443" y="243"/>
                  </a:lnTo>
                  <a:lnTo>
                    <a:pt x="450" y="243"/>
                  </a:lnTo>
                  <a:lnTo>
                    <a:pt x="450" y="236"/>
                  </a:lnTo>
                  <a:lnTo>
                    <a:pt x="458" y="236"/>
                  </a:lnTo>
                  <a:lnTo>
                    <a:pt x="458" y="236"/>
                  </a:lnTo>
                  <a:lnTo>
                    <a:pt x="458" y="236"/>
                  </a:lnTo>
                  <a:lnTo>
                    <a:pt x="458" y="236"/>
                  </a:lnTo>
                  <a:lnTo>
                    <a:pt x="465" y="236"/>
                  </a:lnTo>
                  <a:lnTo>
                    <a:pt x="465" y="236"/>
                  </a:lnTo>
                  <a:lnTo>
                    <a:pt x="472" y="236"/>
                  </a:lnTo>
                  <a:lnTo>
                    <a:pt x="472" y="236"/>
                  </a:lnTo>
                  <a:lnTo>
                    <a:pt x="480" y="236"/>
                  </a:lnTo>
                  <a:lnTo>
                    <a:pt x="480" y="236"/>
                  </a:lnTo>
                  <a:lnTo>
                    <a:pt x="480" y="236"/>
                  </a:lnTo>
                  <a:lnTo>
                    <a:pt x="480" y="236"/>
                  </a:lnTo>
                  <a:lnTo>
                    <a:pt x="487" y="236"/>
                  </a:lnTo>
                  <a:lnTo>
                    <a:pt x="487" y="236"/>
                  </a:lnTo>
                  <a:lnTo>
                    <a:pt x="495" y="236"/>
                  </a:lnTo>
                  <a:lnTo>
                    <a:pt x="495" y="236"/>
                  </a:lnTo>
                  <a:lnTo>
                    <a:pt x="502" y="236"/>
                  </a:lnTo>
                  <a:lnTo>
                    <a:pt x="502" y="236"/>
                  </a:lnTo>
                  <a:lnTo>
                    <a:pt x="502" y="236"/>
                  </a:lnTo>
                  <a:lnTo>
                    <a:pt x="502" y="236"/>
                  </a:lnTo>
                  <a:lnTo>
                    <a:pt x="509" y="236"/>
                  </a:lnTo>
                  <a:lnTo>
                    <a:pt x="509" y="229"/>
                  </a:lnTo>
                  <a:lnTo>
                    <a:pt x="517" y="229"/>
                  </a:lnTo>
                  <a:lnTo>
                    <a:pt x="517" y="229"/>
                  </a:lnTo>
                  <a:lnTo>
                    <a:pt x="524" y="229"/>
                  </a:lnTo>
                  <a:lnTo>
                    <a:pt x="524" y="229"/>
                  </a:lnTo>
                  <a:lnTo>
                    <a:pt x="531" y="229"/>
                  </a:lnTo>
                  <a:lnTo>
                    <a:pt x="531" y="229"/>
                  </a:lnTo>
                  <a:lnTo>
                    <a:pt x="531" y="229"/>
                  </a:lnTo>
                  <a:lnTo>
                    <a:pt x="531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46" y="229"/>
                  </a:lnTo>
                  <a:lnTo>
                    <a:pt x="546" y="229"/>
                  </a:lnTo>
                  <a:lnTo>
                    <a:pt x="554" y="229"/>
                  </a:lnTo>
                  <a:lnTo>
                    <a:pt x="554" y="229"/>
                  </a:lnTo>
                  <a:lnTo>
                    <a:pt x="554" y="229"/>
                  </a:lnTo>
                  <a:lnTo>
                    <a:pt x="554" y="221"/>
                  </a:lnTo>
                  <a:lnTo>
                    <a:pt x="561" y="221"/>
                  </a:lnTo>
                  <a:lnTo>
                    <a:pt x="561" y="221"/>
                  </a:lnTo>
                  <a:lnTo>
                    <a:pt x="568" y="221"/>
                  </a:lnTo>
                  <a:lnTo>
                    <a:pt x="568" y="221"/>
                  </a:lnTo>
                  <a:lnTo>
                    <a:pt x="576" y="221"/>
                  </a:lnTo>
                  <a:lnTo>
                    <a:pt x="576" y="221"/>
                  </a:lnTo>
                  <a:lnTo>
                    <a:pt x="576" y="221"/>
                  </a:lnTo>
                  <a:lnTo>
                    <a:pt x="576" y="221"/>
                  </a:lnTo>
                  <a:lnTo>
                    <a:pt x="583" y="221"/>
                  </a:lnTo>
                  <a:lnTo>
                    <a:pt x="583" y="221"/>
                  </a:lnTo>
                  <a:lnTo>
                    <a:pt x="590" y="221"/>
                  </a:lnTo>
                  <a:lnTo>
                    <a:pt x="590" y="221"/>
                  </a:lnTo>
                  <a:lnTo>
                    <a:pt x="598" y="221"/>
                  </a:lnTo>
                  <a:lnTo>
                    <a:pt x="598" y="214"/>
                  </a:lnTo>
                  <a:lnTo>
                    <a:pt x="605" y="214"/>
                  </a:lnTo>
                  <a:lnTo>
                    <a:pt x="605" y="214"/>
                  </a:lnTo>
                  <a:lnTo>
                    <a:pt x="605" y="214"/>
                  </a:lnTo>
                  <a:lnTo>
                    <a:pt x="605" y="214"/>
                  </a:lnTo>
                  <a:lnTo>
                    <a:pt x="613" y="214"/>
                  </a:lnTo>
                  <a:lnTo>
                    <a:pt x="613" y="214"/>
                  </a:lnTo>
                  <a:lnTo>
                    <a:pt x="620" y="214"/>
                  </a:lnTo>
                  <a:lnTo>
                    <a:pt x="620" y="214"/>
                  </a:lnTo>
                  <a:lnTo>
                    <a:pt x="627" y="214"/>
                  </a:lnTo>
                  <a:lnTo>
                    <a:pt x="627" y="214"/>
                  </a:lnTo>
                  <a:lnTo>
                    <a:pt x="627" y="214"/>
                  </a:lnTo>
                  <a:lnTo>
                    <a:pt x="627" y="199"/>
                  </a:lnTo>
                  <a:lnTo>
                    <a:pt x="635" y="199"/>
                  </a:lnTo>
                  <a:lnTo>
                    <a:pt x="635" y="199"/>
                  </a:lnTo>
                  <a:lnTo>
                    <a:pt x="642" y="199"/>
                  </a:lnTo>
                  <a:lnTo>
                    <a:pt x="642" y="199"/>
                  </a:lnTo>
                  <a:lnTo>
                    <a:pt x="649" y="199"/>
                  </a:lnTo>
                  <a:lnTo>
                    <a:pt x="649" y="199"/>
                  </a:lnTo>
                  <a:lnTo>
                    <a:pt x="657" y="199"/>
                  </a:lnTo>
                  <a:lnTo>
                    <a:pt x="657" y="199"/>
                  </a:lnTo>
                  <a:lnTo>
                    <a:pt x="664" y="199"/>
                  </a:lnTo>
                  <a:lnTo>
                    <a:pt x="664" y="192"/>
                  </a:lnTo>
                  <a:lnTo>
                    <a:pt x="672" y="192"/>
                  </a:lnTo>
                  <a:lnTo>
                    <a:pt x="672" y="192"/>
                  </a:lnTo>
                  <a:lnTo>
                    <a:pt x="672" y="192"/>
                  </a:lnTo>
                  <a:lnTo>
                    <a:pt x="672" y="184"/>
                  </a:lnTo>
                  <a:lnTo>
                    <a:pt x="679" y="184"/>
                  </a:lnTo>
                  <a:lnTo>
                    <a:pt x="679" y="184"/>
                  </a:lnTo>
                  <a:lnTo>
                    <a:pt x="686" y="184"/>
                  </a:lnTo>
                  <a:lnTo>
                    <a:pt x="686" y="184"/>
                  </a:lnTo>
                  <a:lnTo>
                    <a:pt x="694" y="184"/>
                  </a:lnTo>
                  <a:lnTo>
                    <a:pt x="694" y="184"/>
                  </a:lnTo>
                  <a:lnTo>
                    <a:pt x="701" y="184"/>
                  </a:lnTo>
                  <a:lnTo>
                    <a:pt x="701" y="184"/>
                  </a:lnTo>
                  <a:lnTo>
                    <a:pt x="701" y="184"/>
                  </a:lnTo>
                  <a:lnTo>
                    <a:pt x="701" y="184"/>
                  </a:lnTo>
                  <a:lnTo>
                    <a:pt x="708" y="184"/>
                  </a:lnTo>
                  <a:lnTo>
                    <a:pt x="708" y="184"/>
                  </a:lnTo>
                  <a:lnTo>
                    <a:pt x="716" y="184"/>
                  </a:lnTo>
                  <a:lnTo>
                    <a:pt x="716" y="184"/>
                  </a:lnTo>
                  <a:lnTo>
                    <a:pt x="723" y="184"/>
                  </a:lnTo>
                  <a:lnTo>
                    <a:pt x="723" y="184"/>
                  </a:lnTo>
                  <a:lnTo>
                    <a:pt x="723" y="184"/>
                  </a:lnTo>
                  <a:lnTo>
                    <a:pt x="723" y="184"/>
                  </a:lnTo>
                  <a:lnTo>
                    <a:pt x="731" y="184"/>
                  </a:lnTo>
                  <a:lnTo>
                    <a:pt x="731" y="184"/>
                  </a:lnTo>
                  <a:lnTo>
                    <a:pt x="738" y="184"/>
                  </a:lnTo>
                  <a:lnTo>
                    <a:pt x="738" y="184"/>
                  </a:lnTo>
                  <a:lnTo>
                    <a:pt x="745" y="184"/>
                  </a:lnTo>
                  <a:lnTo>
                    <a:pt x="745" y="184"/>
                  </a:lnTo>
                  <a:lnTo>
                    <a:pt x="745" y="184"/>
                  </a:lnTo>
                  <a:lnTo>
                    <a:pt x="745" y="184"/>
                  </a:lnTo>
                  <a:lnTo>
                    <a:pt x="753" y="184"/>
                  </a:lnTo>
                  <a:lnTo>
                    <a:pt x="753" y="184"/>
                  </a:lnTo>
                  <a:lnTo>
                    <a:pt x="760" y="184"/>
                  </a:lnTo>
                  <a:lnTo>
                    <a:pt x="760" y="184"/>
                  </a:lnTo>
                  <a:lnTo>
                    <a:pt x="767" y="184"/>
                  </a:lnTo>
                  <a:lnTo>
                    <a:pt x="767" y="184"/>
                  </a:lnTo>
                  <a:lnTo>
                    <a:pt x="775" y="184"/>
                  </a:lnTo>
                  <a:lnTo>
                    <a:pt x="775" y="184"/>
                  </a:lnTo>
                  <a:lnTo>
                    <a:pt x="775" y="184"/>
                  </a:lnTo>
                  <a:lnTo>
                    <a:pt x="775" y="184"/>
                  </a:lnTo>
                  <a:lnTo>
                    <a:pt x="782" y="184"/>
                  </a:lnTo>
                  <a:lnTo>
                    <a:pt x="782" y="184"/>
                  </a:lnTo>
                  <a:lnTo>
                    <a:pt x="790" y="184"/>
                  </a:lnTo>
                  <a:lnTo>
                    <a:pt x="790" y="184"/>
                  </a:lnTo>
                  <a:lnTo>
                    <a:pt x="797" y="184"/>
                  </a:lnTo>
                  <a:lnTo>
                    <a:pt x="797" y="184"/>
                  </a:lnTo>
                  <a:lnTo>
                    <a:pt x="797" y="184"/>
                  </a:lnTo>
                  <a:lnTo>
                    <a:pt x="797" y="177"/>
                  </a:lnTo>
                  <a:lnTo>
                    <a:pt x="804" y="177"/>
                  </a:lnTo>
                  <a:lnTo>
                    <a:pt x="804" y="177"/>
                  </a:lnTo>
                  <a:lnTo>
                    <a:pt x="812" y="177"/>
                  </a:lnTo>
                  <a:lnTo>
                    <a:pt x="812" y="177"/>
                  </a:lnTo>
                  <a:lnTo>
                    <a:pt x="819" y="177"/>
                  </a:lnTo>
                  <a:lnTo>
                    <a:pt x="819" y="177"/>
                  </a:lnTo>
                  <a:lnTo>
                    <a:pt x="819" y="177"/>
                  </a:lnTo>
                  <a:lnTo>
                    <a:pt x="819" y="170"/>
                  </a:lnTo>
                  <a:lnTo>
                    <a:pt x="826" y="170"/>
                  </a:lnTo>
                  <a:lnTo>
                    <a:pt x="826" y="170"/>
                  </a:lnTo>
                  <a:lnTo>
                    <a:pt x="834" y="170"/>
                  </a:lnTo>
                  <a:lnTo>
                    <a:pt x="834" y="170"/>
                  </a:lnTo>
                  <a:lnTo>
                    <a:pt x="841" y="170"/>
                  </a:lnTo>
                  <a:lnTo>
                    <a:pt x="841" y="170"/>
                  </a:lnTo>
                  <a:lnTo>
                    <a:pt x="841" y="170"/>
                  </a:lnTo>
                  <a:lnTo>
                    <a:pt x="841" y="162"/>
                  </a:lnTo>
                  <a:lnTo>
                    <a:pt x="849" y="162"/>
                  </a:lnTo>
                  <a:lnTo>
                    <a:pt x="849" y="155"/>
                  </a:lnTo>
                  <a:lnTo>
                    <a:pt x="856" y="155"/>
                  </a:lnTo>
                  <a:lnTo>
                    <a:pt x="856" y="155"/>
                  </a:lnTo>
                  <a:lnTo>
                    <a:pt x="863" y="155"/>
                  </a:lnTo>
                  <a:lnTo>
                    <a:pt x="863" y="155"/>
                  </a:lnTo>
                  <a:lnTo>
                    <a:pt x="871" y="155"/>
                  </a:lnTo>
                  <a:lnTo>
                    <a:pt x="871" y="148"/>
                  </a:lnTo>
                  <a:lnTo>
                    <a:pt x="871" y="148"/>
                  </a:lnTo>
                  <a:lnTo>
                    <a:pt x="871" y="148"/>
                  </a:lnTo>
                  <a:lnTo>
                    <a:pt x="878" y="148"/>
                  </a:lnTo>
                  <a:lnTo>
                    <a:pt x="878" y="148"/>
                  </a:lnTo>
                  <a:lnTo>
                    <a:pt x="885" y="148"/>
                  </a:lnTo>
                  <a:lnTo>
                    <a:pt x="885" y="148"/>
                  </a:lnTo>
                  <a:lnTo>
                    <a:pt x="893" y="148"/>
                  </a:lnTo>
                  <a:lnTo>
                    <a:pt x="893" y="148"/>
                  </a:lnTo>
                  <a:lnTo>
                    <a:pt x="893" y="148"/>
                  </a:lnTo>
                  <a:lnTo>
                    <a:pt x="893" y="140"/>
                  </a:lnTo>
                  <a:lnTo>
                    <a:pt x="900" y="140"/>
                  </a:lnTo>
                  <a:lnTo>
                    <a:pt x="900" y="140"/>
                  </a:lnTo>
                  <a:lnTo>
                    <a:pt x="908" y="140"/>
                  </a:lnTo>
                  <a:lnTo>
                    <a:pt x="908" y="140"/>
                  </a:lnTo>
                  <a:lnTo>
                    <a:pt x="915" y="140"/>
                  </a:lnTo>
                  <a:lnTo>
                    <a:pt x="915" y="140"/>
                  </a:lnTo>
                  <a:lnTo>
                    <a:pt x="915" y="140"/>
                  </a:lnTo>
                  <a:lnTo>
                    <a:pt x="915" y="140"/>
                  </a:lnTo>
                  <a:lnTo>
                    <a:pt x="922" y="140"/>
                  </a:lnTo>
                  <a:lnTo>
                    <a:pt x="922" y="140"/>
                  </a:lnTo>
                  <a:lnTo>
                    <a:pt x="930" y="140"/>
                  </a:lnTo>
                  <a:lnTo>
                    <a:pt x="930" y="125"/>
                  </a:lnTo>
                  <a:lnTo>
                    <a:pt x="937" y="125"/>
                  </a:lnTo>
                  <a:lnTo>
                    <a:pt x="937" y="125"/>
                  </a:lnTo>
                  <a:lnTo>
                    <a:pt x="937" y="125"/>
                  </a:lnTo>
                  <a:lnTo>
                    <a:pt x="937" y="125"/>
                  </a:lnTo>
                  <a:lnTo>
                    <a:pt x="944" y="125"/>
                  </a:lnTo>
                  <a:lnTo>
                    <a:pt x="944" y="125"/>
                  </a:lnTo>
                  <a:lnTo>
                    <a:pt x="952" y="125"/>
                  </a:lnTo>
                  <a:lnTo>
                    <a:pt x="952" y="125"/>
                  </a:lnTo>
                  <a:lnTo>
                    <a:pt x="959" y="125"/>
                  </a:lnTo>
                  <a:lnTo>
                    <a:pt x="959" y="118"/>
                  </a:lnTo>
                  <a:lnTo>
                    <a:pt x="967" y="118"/>
                  </a:lnTo>
                  <a:lnTo>
                    <a:pt x="967" y="118"/>
                  </a:lnTo>
                  <a:lnTo>
                    <a:pt x="967" y="118"/>
                  </a:lnTo>
                  <a:lnTo>
                    <a:pt x="967" y="118"/>
                  </a:lnTo>
                  <a:lnTo>
                    <a:pt x="974" y="118"/>
                  </a:lnTo>
                  <a:lnTo>
                    <a:pt x="974" y="118"/>
                  </a:lnTo>
                  <a:lnTo>
                    <a:pt x="981" y="118"/>
                  </a:lnTo>
                  <a:lnTo>
                    <a:pt x="981" y="118"/>
                  </a:lnTo>
                  <a:lnTo>
                    <a:pt x="989" y="118"/>
                  </a:lnTo>
                  <a:lnTo>
                    <a:pt x="989" y="118"/>
                  </a:lnTo>
                  <a:lnTo>
                    <a:pt x="989" y="118"/>
                  </a:lnTo>
                  <a:lnTo>
                    <a:pt x="989" y="118"/>
                  </a:lnTo>
                  <a:lnTo>
                    <a:pt x="996" y="118"/>
                  </a:lnTo>
                  <a:lnTo>
                    <a:pt x="996" y="118"/>
                  </a:lnTo>
                  <a:lnTo>
                    <a:pt x="1003" y="118"/>
                  </a:lnTo>
                  <a:lnTo>
                    <a:pt x="1003" y="118"/>
                  </a:lnTo>
                  <a:lnTo>
                    <a:pt x="1011" y="118"/>
                  </a:lnTo>
                  <a:lnTo>
                    <a:pt x="1011" y="118"/>
                  </a:lnTo>
                  <a:lnTo>
                    <a:pt x="1011" y="118"/>
                  </a:lnTo>
                  <a:lnTo>
                    <a:pt x="1011" y="111"/>
                  </a:lnTo>
                  <a:lnTo>
                    <a:pt x="1018" y="111"/>
                  </a:lnTo>
                  <a:lnTo>
                    <a:pt x="1018" y="111"/>
                  </a:lnTo>
                  <a:lnTo>
                    <a:pt x="1026" y="111"/>
                  </a:lnTo>
                  <a:lnTo>
                    <a:pt x="1026" y="96"/>
                  </a:lnTo>
                  <a:lnTo>
                    <a:pt x="1033" y="96"/>
                  </a:lnTo>
                  <a:lnTo>
                    <a:pt x="1033" y="96"/>
                  </a:lnTo>
                  <a:lnTo>
                    <a:pt x="1040" y="96"/>
                  </a:lnTo>
                  <a:lnTo>
                    <a:pt x="1040" y="96"/>
                  </a:lnTo>
                  <a:lnTo>
                    <a:pt x="1040" y="96"/>
                  </a:lnTo>
                  <a:lnTo>
                    <a:pt x="1040" y="96"/>
                  </a:lnTo>
                  <a:lnTo>
                    <a:pt x="1048" y="96"/>
                  </a:lnTo>
                  <a:lnTo>
                    <a:pt x="1048" y="89"/>
                  </a:lnTo>
                  <a:lnTo>
                    <a:pt x="1055" y="89"/>
                  </a:lnTo>
                  <a:lnTo>
                    <a:pt x="1055" y="89"/>
                  </a:lnTo>
                  <a:lnTo>
                    <a:pt x="1062" y="89"/>
                  </a:lnTo>
                  <a:lnTo>
                    <a:pt x="1062" y="89"/>
                  </a:lnTo>
                  <a:lnTo>
                    <a:pt x="1062" y="89"/>
                  </a:lnTo>
                  <a:lnTo>
                    <a:pt x="1062" y="89"/>
                  </a:lnTo>
                  <a:lnTo>
                    <a:pt x="1070" y="89"/>
                  </a:lnTo>
                  <a:lnTo>
                    <a:pt x="1070" y="89"/>
                  </a:lnTo>
                  <a:lnTo>
                    <a:pt x="1077" y="89"/>
                  </a:lnTo>
                  <a:lnTo>
                    <a:pt x="1077" y="89"/>
                  </a:lnTo>
                  <a:lnTo>
                    <a:pt x="1085" y="89"/>
                  </a:lnTo>
                  <a:lnTo>
                    <a:pt x="1085" y="89"/>
                  </a:lnTo>
                  <a:lnTo>
                    <a:pt x="1085" y="89"/>
                  </a:lnTo>
                  <a:lnTo>
                    <a:pt x="1085" y="89"/>
                  </a:lnTo>
                  <a:lnTo>
                    <a:pt x="1092" y="89"/>
                  </a:lnTo>
                  <a:lnTo>
                    <a:pt x="1092" y="89"/>
                  </a:lnTo>
                  <a:lnTo>
                    <a:pt x="1099" y="89"/>
                  </a:lnTo>
                  <a:lnTo>
                    <a:pt x="1099" y="89"/>
                  </a:lnTo>
                  <a:lnTo>
                    <a:pt x="1107" y="89"/>
                  </a:lnTo>
                  <a:lnTo>
                    <a:pt x="1107" y="81"/>
                  </a:lnTo>
                  <a:lnTo>
                    <a:pt x="1107" y="81"/>
                  </a:lnTo>
                  <a:lnTo>
                    <a:pt x="1107" y="81"/>
                  </a:lnTo>
                  <a:lnTo>
                    <a:pt x="1114" y="81"/>
                  </a:lnTo>
                  <a:lnTo>
                    <a:pt x="1114" y="81"/>
                  </a:lnTo>
                  <a:lnTo>
                    <a:pt x="1121" y="81"/>
                  </a:lnTo>
                  <a:lnTo>
                    <a:pt x="1121" y="81"/>
                  </a:lnTo>
                  <a:lnTo>
                    <a:pt x="1129" y="81"/>
                  </a:lnTo>
                  <a:lnTo>
                    <a:pt x="1129" y="81"/>
                  </a:lnTo>
                  <a:lnTo>
                    <a:pt x="1136" y="81"/>
                  </a:lnTo>
                  <a:lnTo>
                    <a:pt x="1136" y="81"/>
                  </a:lnTo>
                  <a:lnTo>
                    <a:pt x="1136" y="81"/>
                  </a:lnTo>
                  <a:lnTo>
                    <a:pt x="1136" y="81"/>
                  </a:lnTo>
                  <a:lnTo>
                    <a:pt x="1144" y="81"/>
                  </a:lnTo>
                  <a:lnTo>
                    <a:pt x="1144" y="74"/>
                  </a:lnTo>
                  <a:lnTo>
                    <a:pt x="1151" y="74"/>
                  </a:lnTo>
                  <a:lnTo>
                    <a:pt x="1151" y="74"/>
                  </a:lnTo>
                  <a:lnTo>
                    <a:pt x="1158" y="74"/>
                  </a:lnTo>
                  <a:lnTo>
                    <a:pt x="1158" y="74"/>
                  </a:lnTo>
                  <a:lnTo>
                    <a:pt x="1158" y="74"/>
                  </a:lnTo>
                  <a:lnTo>
                    <a:pt x="1158" y="74"/>
                  </a:lnTo>
                  <a:lnTo>
                    <a:pt x="1166" y="74"/>
                  </a:lnTo>
                  <a:lnTo>
                    <a:pt x="1166" y="66"/>
                  </a:lnTo>
                  <a:lnTo>
                    <a:pt x="1173" y="66"/>
                  </a:lnTo>
                  <a:lnTo>
                    <a:pt x="1173" y="59"/>
                  </a:lnTo>
                  <a:lnTo>
                    <a:pt x="1181" y="59"/>
                  </a:lnTo>
                  <a:lnTo>
                    <a:pt x="1181" y="52"/>
                  </a:lnTo>
                  <a:lnTo>
                    <a:pt x="1181" y="52"/>
                  </a:lnTo>
                  <a:lnTo>
                    <a:pt x="1181" y="52"/>
                  </a:lnTo>
                  <a:lnTo>
                    <a:pt x="1188" y="52"/>
                  </a:lnTo>
                  <a:lnTo>
                    <a:pt x="1188" y="52"/>
                  </a:lnTo>
                  <a:lnTo>
                    <a:pt x="1195" y="52"/>
                  </a:lnTo>
                  <a:lnTo>
                    <a:pt x="1195" y="37"/>
                  </a:lnTo>
                  <a:lnTo>
                    <a:pt x="1203" y="37"/>
                  </a:lnTo>
                  <a:lnTo>
                    <a:pt x="1203" y="37"/>
                  </a:lnTo>
                  <a:lnTo>
                    <a:pt x="1210" y="37"/>
                  </a:lnTo>
                  <a:lnTo>
                    <a:pt x="1210" y="30"/>
                  </a:lnTo>
                  <a:lnTo>
                    <a:pt x="1210" y="30"/>
                  </a:lnTo>
                  <a:lnTo>
                    <a:pt x="1210" y="30"/>
                  </a:lnTo>
                  <a:lnTo>
                    <a:pt x="1217" y="30"/>
                  </a:lnTo>
                  <a:lnTo>
                    <a:pt x="1217" y="30"/>
                  </a:lnTo>
                  <a:lnTo>
                    <a:pt x="1225" y="30"/>
                  </a:lnTo>
                  <a:lnTo>
                    <a:pt x="1225" y="0"/>
                  </a:lnTo>
                  <a:lnTo>
                    <a:pt x="1232" y="0"/>
                  </a:lnTo>
                  <a:lnTo>
                    <a:pt x="1232" y="0"/>
                  </a:lnTo>
                  <a:lnTo>
                    <a:pt x="1232" y="0"/>
                  </a:lnTo>
                  <a:lnTo>
                    <a:pt x="1232" y="0"/>
                  </a:lnTo>
                </a:path>
              </a:pathLst>
            </a:custGeom>
            <a:noFill/>
            <a:ln w="25400" cap="sq">
              <a:solidFill>
                <a:srgbClr val="CC33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auto">
            <a:xfrm>
              <a:off x="9083675" y="4729163"/>
              <a:ext cx="12259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DF536B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99" name="Rechteck 14">
            <a:extLst>
              <a:ext uri="{FF2B5EF4-FFF2-40B4-BE49-F238E27FC236}">
                <a16:creationId xmlns:a16="http://schemas.microsoft.com/office/drawing/2014/main" id="{DAD1E1BD-0D8A-2348-8B7B-09F7641C4568}"/>
              </a:ext>
            </a:extLst>
          </p:cNvPr>
          <p:cNvSpPr/>
          <p:nvPr/>
        </p:nvSpPr>
        <p:spPr>
          <a:xfrm>
            <a:off x="1777783" y="1678858"/>
            <a:ext cx="3137303" cy="63709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90000" tIns="108000" bIns="108000" rtlCol="0" anchor="ctr">
            <a:noAutofit/>
          </a:bodyPr>
          <a:lstStyle/>
          <a:p>
            <a:pPr marL="0" marR="0" lvl="2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Kidney disease progress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1296826" y="2580630"/>
            <a:ext cx="446201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In those allocated to </a:t>
            </a:r>
            <a:r>
              <a:rPr lang="en-US" altLang="en-US" b="1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PLACEBO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: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   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504 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out of 3305 people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(15.2%)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  <a:p>
            <a:pPr lvl="0"/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In those allocated to </a:t>
            </a:r>
            <a:r>
              <a:rPr lang="en-US" altLang="en-US" b="1" dirty="0">
                <a:solidFill>
                  <a:srgbClr val="CE08A8"/>
                </a:solidFill>
                <a:latin typeface="Mulish" pitchFamily="2" charset="0"/>
              </a:rPr>
              <a:t>EMPAGLIFLOZIN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:</a:t>
            </a:r>
          </a:p>
          <a:p>
            <a:pPr lvl="0"/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   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384 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out of 3304 people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(11.6%)</a:t>
            </a:r>
            <a:endParaRPr lang="en-US" altLang="en-US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779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Both components examined separately</a:t>
            </a:r>
            <a:endParaRPr dirty="0"/>
          </a:p>
        </p:txBody>
      </p:sp>
      <p:grpSp>
        <p:nvGrpSpPr>
          <p:cNvPr id="4" name="Group 3"/>
          <p:cNvGrpSpPr/>
          <p:nvPr/>
        </p:nvGrpSpPr>
        <p:grpSpPr>
          <a:xfrm>
            <a:off x="160360" y="2289865"/>
            <a:ext cx="5315388" cy="3939361"/>
            <a:chOff x="643098" y="1838326"/>
            <a:chExt cx="10423141" cy="3939361"/>
          </a:xfrm>
        </p:grpSpPr>
        <p:sp>
          <p:nvSpPr>
            <p:cNvPr id="6" name="Line 5"/>
            <p:cNvSpPr>
              <a:spLocks noChangeShapeType="1"/>
            </p:cNvSpPr>
            <p:nvPr/>
          </p:nvSpPr>
          <p:spPr bwMode="auto">
            <a:xfrm>
              <a:off x="2538413" y="5138738"/>
              <a:ext cx="8183563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7" name="Line 6"/>
            <p:cNvSpPr>
              <a:spLocks noChangeShapeType="1"/>
            </p:cNvSpPr>
            <p:nvPr/>
          </p:nvSpPr>
          <p:spPr bwMode="auto">
            <a:xfrm flipV="1">
              <a:off x="2538413" y="2036763"/>
              <a:ext cx="0" cy="3101975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2538413" y="5138738"/>
              <a:ext cx="8183563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2538413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4176713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1" name="Line 10"/>
            <p:cNvSpPr>
              <a:spLocks noChangeShapeType="1"/>
            </p:cNvSpPr>
            <p:nvPr/>
          </p:nvSpPr>
          <p:spPr bwMode="auto">
            <a:xfrm>
              <a:off x="4176713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2" name="Line 11"/>
            <p:cNvSpPr>
              <a:spLocks noChangeShapeType="1"/>
            </p:cNvSpPr>
            <p:nvPr/>
          </p:nvSpPr>
          <p:spPr bwMode="auto">
            <a:xfrm>
              <a:off x="5816600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3" name="Line 12"/>
            <p:cNvSpPr>
              <a:spLocks noChangeShapeType="1"/>
            </p:cNvSpPr>
            <p:nvPr/>
          </p:nvSpPr>
          <p:spPr bwMode="auto">
            <a:xfrm>
              <a:off x="5816600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4" name="Line 13"/>
            <p:cNvSpPr>
              <a:spLocks noChangeShapeType="1"/>
            </p:cNvSpPr>
            <p:nvPr/>
          </p:nvSpPr>
          <p:spPr bwMode="auto">
            <a:xfrm>
              <a:off x="7454900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5" name="Line 14"/>
            <p:cNvSpPr>
              <a:spLocks noChangeShapeType="1"/>
            </p:cNvSpPr>
            <p:nvPr/>
          </p:nvSpPr>
          <p:spPr bwMode="auto">
            <a:xfrm>
              <a:off x="7454900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6" name="Line 15"/>
            <p:cNvSpPr>
              <a:spLocks noChangeShapeType="1"/>
            </p:cNvSpPr>
            <p:nvPr/>
          </p:nvSpPr>
          <p:spPr bwMode="auto">
            <a:xfrm>
              <a:off x="9083675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7" name="Line 16"/>
            <p:cNvSpPr>
              <a:spLocks noChangeShapeType="1"/>
            </p:cNvSpPr>
            <p:nvPr/>
          </p:nvSpPr>
          <p:spPr bwMode="auto">
            <a:xfrm>
              <a:off x="9083675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8" name="Line 17"/>
            <p:cNvSpPr>
              <a:spLocks noChangeShapeType="1"/>
            </p:cNvSpPr>
            <p:nvPr/>
          </p:nvSpPr>
          <p:spPr bwMode="auto">
            <a:xfrm>
              <a:off x="10721975" y="5138738"/>
              <a:ext cx="0" cy="93663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9" name="Line 18"/>
            <p:cNvSpPr>
              <a:spLocks noChangeShapeType="1"/>
            </p:cNvSpPr>
            <p:nvPr/>
          </p:nvSpPr>
          <p:spPr bwMode="auto">
            <a:xfrm flipV="1">
              <a:off x="2538413" y="2036763"/>
              <a:ext cx="0" cy="3101975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0" name="Line 19"/>
            <p:cNvSpPr>
              <a:spLocks noChangeShapeType="1"/>
            </p:cNvSpPr>
            <p:nvPr/>
          </p:nvSpPr>
          <p:spPr bwMode="auto">
            <a:xfrm flipH="1">
              <a:off x="2444750" y="5138738"/>
              <a:ext cx="93663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1" name="Line 20"/>
            <p:cNvSpPr>
              <a:spLocks noChangeShapeType="1"/>
            </p:cNvSpPr>
            <p:nvPr/>
          </p:nvSpPr>
          <p:spPr bwMode="auto">
            <a:xfrm flipH="1">
              <a:off x="2444750" y="4365626"/>
              <a:ext cx="93663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2" name="Line 21"/>
            <p:cNvSpPr>
              <a:spLocks noChangeShapeType="1"/>
            </p:cNvSpPr>
            <p:nvPr/>
          </p:nvSpPr>
          <p:spPr bwMode="auto">
            <a:xfrm flipH="1">
              <a:off x="2444750" y="3594101"/>
              <a:ext cx="93663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3" name="Line 22"/>
            <p:cNvSpPr>
              <a:spLocks noChangeShapeType="1"/>
            </p:cNvSpPr>
            <p:nvPr/>
          </p:nvSpPr>
          <p:spPr bwMode="auto">
            <a:xfrm flipH="1">
              <a:off x="2444750" y="2820988"/>
              <a:ext cx="93663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4" name="Line 23"/>
            <p:cNvSpPr>
              <a:spLocks noChangeShapeType="1"/>
            </p:cNvSpPr>
            <p:nvPr/>
          </p:nvSpPr>
          <p:spPr bwMode="auto">
            <a:xfrm flipH="1">
              <a:off x="2444750" y="2036763"/>
              <a:ext cx="93663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2344739" y="5278438"/>
              <a:ext cx="2703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3856039" y="5278438"/>
              <a:ext cx="65382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.5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5624514" y="5278438"/>
              <a:ext cx="2703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7134225" y="5278438"/>
              <a:ext cx="65382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.5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8902700" y="5278438"/>
              <a:ext cx="2703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>
              <a:off x="10412414" y="5278438"/>
              <a:ext cx="65382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.5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1939927" y="4938713"/>
              <a:ext cx="27033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1765299" y="4167188"/>
              <a:ext cx="54066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1765299" y="3394076"/>
              <a:ext cx="54066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" name="Rectangle 33"/>
            <p:cNvSpPr>
              <a:spLocks noChangeArrowheads="1"/>
            </p:cNvSpPr>
            <p:nvPr/>
          </p:nvSpPr>
          <p:spPr bwMode="auto">
            <a:xfrm>
              <a:off x="1765299" y="2622551"/>
              <a:ext cx="54066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" name="Rectangle 34"/>
            <p:cNvSpPr>
              <a:spLocks noChangeArrowheads="1"/>
            </p:cNvSpPr>
            <p:nvPr/>
          </p:nvSpPr>
          <p:spPr bwMode="auto">
            <a:xfrm>
              <a:off x="1765299" y="1838326"/>
              <a:ext cx="54066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4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" name="Rectangle 35"/>
            <p:cNvSpPr>
              <a:spLocks noChangeArrowheads="1"/>
            </p:cNvSpPr>
            <p:nvPr/>
          </p:nvSpPr>
          <p:spPr bwMode="auto">
            <a:xfrm>
              <a:off x="5160964" y="5500688"/>
              <a:ext cx="407697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Years of Follow-up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" name="Rectangle 36"/>
            <p:cNvSpPr>
              <a:spLocks noChangeArrowheads="1"/>
            </p:cNvSpPr>
            <p:nvPr/>
          </p:nvSpPr>
          <p:spPr bwMode="auto">
            <a:xfrm rot="16200000">
              <a:off x="-596945" y="3310591"/>
              <a:ext cx="3023264" cy="543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Participants with Event (%)</a:t>
              </a:r>
              <a:endParaRPr kumimoji="0" lang="en-US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2538413" y="4178301"/>
              <a:ext cx="6227763" cy="960438"/>
            </a:xfrm>
            <a:custGeom>
              <a:avLst/>
              <a:gdLst>
                <a:gd name="T0" fmla="*/ 287 w 3923"/>
                <a:gd name="T1" fmla="*/ 605 h 605"/>
                <a:gd name="T2" fmla="*/ 376 w 3923"/>
                <a:gd name="T3" fmla="*/ 598 h 605"/>
                <a:gd name="T4" fmla="*/ 487 w 3923"/>
                <a:gd name="T5" fmla="*/ 590 h 605"/>
                <a:gd name="T6" fmla="*/ 627 w 3923"/>
                <a:gd name="T7" fmla="*/ 590 h 605"/>
                <a:gd name="T8" fmla="*/ 730 w 3923"/>
                <a:gd name="T9" fmla="*/ 590 h 605"/>
                <a:gd name="T10" fmla="*/ 841 w 3923"/>
                <a:gd name="T11" fmla="*/ 583 h 605"/>
                <a:gd name="T12" fmla="*/ 914 w 3923"/>
                <a:gd name="T13" fmla="*/ 583 h 605"/>
                <a:gd name="T14" fmla="*/ 988 w 3923"/>
                <a:gd name="T15" fmla="*/ 568 h 605"/>
                <a:gd name="T16" fmla="*/ 1062 w 3923"/>
                <a:gd name="T17" fmla="*/ 553 h 605"/>
                <a:gd name="T18" fmla="*/ 1121 w 3923"/>
                <a:gd name="T19" fmla="*/ 546 h 605"/>
                <a:gd name="T20" fmla="*/ 1209 w 3923"/>
                <a:gd name="T21" fmla="*/ 539 h 605"/>
                <a:gd name="T22" fmla="*/ 1357 w 3923"/>
                <a:gd name="T23" fmla="*/ 539 h 605"/>
                <a:gd name="T24" fmla="*/ 1460 w 3923"/>
                <a:gd name="T25" fmla="*/ 539 h 605"/>
                <a:gd name="T26" fmla="*/ 1534 w 3923"/>
                <a:gd name="T27" fmla="*/ 524 h 605"/>
                <a:gd name="T28" fmla="*/ 1622 w 3923"/>
                <a:gd name="T29" fmla="*/ 517 h 605"/>
                <a:gd name="T30" fmla="*/ 1755 w 3923"/>
                <a:gd name="T31" fmla="*/ 517 h 605"/>
                <a:gd name="T32" fmla="*/ 1829 w 3923"/>
                <a:gd name="T33" fmla="*/ 509 h 605"/>
                <a:gd name="T34" fmla="*/ 1888 w 3923"/>
                <a:gd name="T35" fmla="*/ 494 h 605"/>
                <a:gd name="T36" fmla="*/ 1932 w 3923"/>
                <a:gd name="T37" fmla="*/ 480 h 605"/>
                <a:gd name="T38" fmla="*/ 1984 w 3923"/>
                <a:gd name="T39" fmla="*/ 465 h 605"/>
                <a:gd name="T40" fmla="*/ 2028 w 3923"/>
                <a:gd name="T41" fmla="*/ 450 h 605"/>
                <a:gd name="T42" fmla="*/ 2080 w 3923"/>
                <a:gd name="T43" fmla="*/ 421 h 605"/>
                <a:gd name="T44" fmla="*/ 2124 w 3923"/>
                <a:gd name="T45" fmla="*/ 406 h 605"/>
                <a:gd name="T46" fmla="*/ 2168 w 3923"/>
                <a:gd name="T47" fmla="*/ 399 h 605"/>
                <a:gd name="T48" fmla="*/ 2212 w 3923"/>
                <a:gd name="T49" fmla="*/ 391 h 605"/>
                <a:gd name="T50" fmla="*/ 2257 w 3923"/>
                <a:gd name="T51" fmla="*/ 391 h 605"/>
                <a:gd name="T52" fmla="*/ 2316 w 3923"/>
                <a:gd name="T53" fmla="*/ 384 h 605"/>
                <a:gd name="T54" fmla="*/ 2360 w 3923"/>
                <a:gd name="T55" fmla="*/ 376 h 605"/>
                <a:gd name="T56" fmla="*/ 2404 w 3923"/>
                <a:gd name="T57" fmla="*/ 362 h 605"/>
                <a:gd name="T58" fmla="*/ 2448 w 3923"/>
                <a:gd name="T59" fmla="*/ 362 h 605"/>
                <a:gd name="T60" fmla="*/ 2493 w 3923"/>
                <a:gd name="T61" fmla="*/ 362 h 605"/>
                <a:gd name="T62" fmla="*/ 2537 w 3923"/>
                <a:gd name="T63" fmla="*/ 362 h 605"/>
                <a:gd name="T64" fmla="*/ 2589 w 3923"/>
                <a:gd name="T65" fmla="*/ 354 h 605"/>
                <a:gd name="T66" fmla="*/ 2633 w 3923"/>
                <a:gd name="T67" fmla="*/ 347 h 605"/>
                <a:gd name="T68" fmla="*/ 2677 w 3923"/>
                <a:gd name="T69" fmla="*/ 340 h 605"/>
                <a:gd name="T70" fmla="*/ 2721 w 3923"/>
                <a:gd name="T71" fmla="*/ 340 h 605"/>
                <a:gd name="T72" fmla="*/ 2766 w 3923"/>
                <a:gd name="T73" fmla="*/ 332 h 605"/>
                <a:gd name="T74" fmla="*/ 2810 w 3923"/>
                <a:gd name="T75" fmla="*/ 332 h 605"/>
                <a:gd name="T76" fmla="*/ 2854 w 3923"/>
                <a:gd name="T77" fmla="*/ 310 h 605"/>
                <a:gd name="T78" fmla="*/ 2906 w 3923"/>
                <a:gd name="T79" fmla="*/ 303 h 605"/>
                <a:gd name="T80" fmla="*/ 2950 w 3923"/>
                <a:gd name="T81" fmla="*/ 281 h 605"/>
                <a:gd name="T82" fmla="*/ 2994 w 3923"/>
                <a:gd name="T83" fmla="*/ 266 h 605"/>
                <a:gd name="T84" fmla="*/ 3038 w 3923"/>
                <a:gd name="T85" fmla="*/ 244 h 605"/>
                <a:gd name="T86" fmla="*/ 3083 w 3923"/>
                <a:gd name="T87" fmla="*/ 222 h 605"/>
                <a:gd name="T88" fmla="*/ 3127 w 3923"/>
                <a:gd name="T89" fmla="*/ 200 h 605"/>
                <a:gd name="T90" fmla="*/ 3171 w 3923"/>
                <a:gd name="T91" fmla="*/ 170 h 605"/>
                <a:gd name="T92" fmla="*/ 3215 w 3923"/>
                <a:gd name="T93" fmla="*/ 141 h 605"/>
                <a:gd name="T94" fmla="*/ 3267 w 3923"/>
                <a:gd name="T95" fmla="*/ 126 h 605"/>
                <a:gd name="T96" fmla="*/ 3311 w 3923"/>
                <a:gd name="T97" fmla="*/ 111 h 605"/>
                <a:gd name="T98" fmla="*/ 3356 w 3923"/>
                <a:gd name="T99" fmla="*/ 104 h 605"/>
                <a:gd name="T100" fmla="*/ 3400 w 3923"/>
                <a:gd name="T101" fmla="*/ 89 h 605"/>
                <a:gd name="T102" fmla="*/ 3444 w 3923"/>
                <a:gd name="T103" fmla="*/ 74 h 605"/>
                <a:gd name="T104" fmla="*/ 3488 w 3923"/>
                <a:gd name="T105" fmla="*/ 74 h 605"/>
                <a:gd name="T106" fmla="*/ 3533 w 3923"/>
                <a:gd name="T107" fmla="*/ 74 h 605"/>
                <a:gd name="T108" fmla="*/ 3584 w 3923"/>
                <a:gd name="T109" fmla="*/ 67 h 605"/>
                <a:gd name="T110" fmla="*/ 3628 w 3923"/>
                <a:gd name="T111" fmla="*/ 52 h 605"/>
                <a:gd name="T112" fmla="*/ 3673 w 3923"/>
                <a:gd name="T113" fmla="*/ 45 h 605"/>
                <a:gd name="T114" fmla="*/ 3717 w 3923"/>
                <a:gd name="T115" fmla="*/ 37 h 605"/>
                <a:gd name="T116" fmla="*/ 3761 w 3923"/>
                <a:gd name="T117" fmla="*/ 30 h 605"/>
                <a:gd name="T118" fmla="*/ 3805 w 3923"/>
                <a:gd name="T119" fmla="*/ 23 h 605"/>
                <a:gd name="T120" fmla="*/ 3850 w 3923"/>
                <a:gd name="T121" fmla="*/ 15 h 605"/>
                <a:gd name="T122" fmla="*/ 3901 w 3923"/>
                <a:gd name="T123" fmla="*/ 8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923" h="605">
                  <a:moveTo>
                    <a:pt x="0" y="605"/>
                  </a:moveTo>
                  <a:lnTo>
                    <a:pt x="103" y="605"/>
                  </a:lnTo>
                  <a:lnTo>
                    <a:pt x="103" y="605"/>
                  </a:lnTo>
                  <a:lnTo>
                    <a:pt x="169" y="605"/>
                  </a:lnTo>
                  <a:lnTo>
                    <a:pt x="169" y="605"/>
                  </a:lnTo>
                  <a:lnTo>
                    <a:pt x="214" y="605"/>
                  </a:lnTo>
                  <a:lnTo>
                    <a:pt x="214" y="605"/>
                  </a:lnTo>
                  <a:lnTo>
                    <a:pt x="221" y="605"/>
                  </a:lnTo>
                  <a:lnTo>
                    <a:pt x="221" y="605"/>
                  </a:lnTo>
                  <a:lnTo>
                    <a:pt x="236" y="605"/>
                  </a:lnTo>
                  <a:lnTo>
                    <a:pt x="236" y="605"/>
                  </a:lnTo>
                  <a:lnTo>
                    <a:pt x="243" y="605"/>
                  </a:lnTo>
                  <a:lnTo>
                    <a:pt x="243" y="605"/>
                  </a:lnTo>
                  <a:lnTo>
                    <a:pt x="258" y="605"/>
                  </a:lnTo>
                  <a:lnTo>
                    <a:pt x="258" y="605"/>
                  </a:lnTo>
                  <a:lnTo>
                    <a:pt x="287" y="605"/>
                  </a:lnTo>
                  <a:lnTo>
                    <a:pt x="287" y="605"/>
                  </a:lnTo>
                  <a:lnTo>
                    <a:pt x="310" y="605"/>
                  </a:lnTo>
                  <a:lnTo>
                    <a:pt x="310" y="605"/>
                  </a:lnTo>
                  <a:lnTo>
                    <a:pt x="317" y="605"/>
                  </a:lnTo>
                  <a:lnTo>
                    <a:pt x="317" y="605"/>
                  </a:lnTo>
                  <a:lnTo>
                    <a:pt x="339" y="605"/>
                  </a:lnTo>
                  <a:lnTo>
                    <a:pt x="339" y="605"/>
                  </a:lnTo>
                  <a:lnTo>
                    <a:pt x="354" y="605"/>
                  </a:lnTo>
                  <a:lnTo>
                    <a:pt x="354" y="605"/>
                  </a:lnTo>
                  <a:lnTo>
                    <a:pt x="361" y="605"/>
                  </a:lnTo>
                  <a:lnTo>
                    <a:pt x="361" y="598"/>
                  </a:lnTo>
                  <a:lnTo>
                    <a:pt x="361" y="598"/>
                  </a:lnTo>
                  <a:lnTo>
                    <a:pt x="361" y="598"/>
                  </a:lnTo>
                  <a:lnTo>
                    <a:pt x="369" y="598"/>
                  </a:lnTo>
                  <a:lnTo>
                    <a:pt x="369" y="598"/>
                  </a:lnTo>
                  <a:lnTo>
                    <a:pt x="376" y="598"/>
                  </a:lnTo>
                  <a:lnTo>
                    <a:pt x="376" y="598"/>
                  </a:lnTo>
                  <a:lnTo>
                    <a:pt x="383" y="598"/>
                  </a:lnTo>
                  <a:lnTo>
                    <a:pt x="383" y="598"/>
                  </a:lnTo>
                  <a:lnTo>
                    <a:pt x="383" y="598"/>
                  </a:lnTo>
                  <a:lnTo>
                    <a:pt x="383" y="598"/>
                  </a:lnTo>
                  <a:lnTo>
                    <a:pt x="413" y="598"/>
                  </a:lnTo>
                  <a:lnTo>
                    <a:pt x="413" y="590"/>
                  </a:lnTo>
                  <a:lnTo>
                    <a:pt x="420" y="590"/>
                  </a:lnTo>
                  <a:lnTo>
                    <a:pt x="420" y="590"/>
                  </a:lnTo>
                  <a:lnTo>
                    <a:pt x="428" y="590"/>
                  </a:lnTo>
                  <a:lnTo>
                    <a:pt x="428" y="590"/>
                  </a:lnTo>
                  <a:lnTo>
                    <a:pt x="464" y="590"/>
                  </a:lnTo>
                  <a:lnTo>
                    <a:pt x="464" y="590"/>
                  </a:lnTo>
                  <a:lnTo>
                    <a:pt x="487" y="590"/>
                  </a:lnTo>
                  <a:lnTo>
                    <a:pt x="487" y="590"/>
                  </a:lnTo>
                  <a:lnTo>
                    <a:pt x="487" y="590"/>
                  </a:lnTo>
                  <a:lnTo>
                    <a:pt x="487" y="590"/>
                  </a:lnTo>
                  <a:lnTo>
                    <a:pt x="553" y="590"/>
                  </a:lnTo>
                  <a:lnTo>
                    <a:pt x="553" y="590"/>
                  </a:lnTo>
                  <a:lnTo>
                    <a:pt x="560" y="590"/>
                  </a:lnTo>
                  <a:lnTo>
                    <a:pt x="560" y="590"/>
                  </a:lnTo>
                  <a:lnTo>
                    <a:pt x="575" y="590"/>
                  </a:lnTo>
                  <a:lnTo>
                    <a:pt x="575" y="590"/>
                  </a:lnTo>
                  <a:lnTo>
                    <a:pt x="597" y="590"/>
                  </a:lnTo>
                  <a:lnTo>
                    <a:pt x="597" y="590"/>
                  </a:lnTo>
                  <a:lnTo>
                    <a:pt x="605" y="590"/>
                  </a:lnTo>
                  <a:lnTo>
                    <a:pt x="605" y="590"/>
                  </a:lnTo>
                  <a:lnTo>
                    <a:pt x="619" y="590"/>
                  </a:lnTo>
                  <a:lnTo>
                    <a:pt x="619" y="590"/>
                  </a:lnTo>
                  <a:lnTo>
                    <a:pt x="627" y="590"/>
                  </a:lnTo>
                  <a:lnTo>
                    <a:pt x="627" y="590"/>
                  </a:lnTo>
                  <a:lnTo>
                    <a:pt x="627" y="590"/>
                  </a:lnTo>
                  <a:lnTo>
                    <a:pt x="627" y="590"/>
                  </a:lnTo>
                  <a:lnTo>
                    <a:pt x="649" y="590"/>
                  </a:lnTo>
                  <a:lnTo>
                    <a:pt x="649" y="590"/>
                  </a:lnTo>
                  <a:lnTo>
                    <a:pt x="678" y="590"/>
                  </a:lnTo>
                  <a:lnTo>
                    <a:pt x="678" y="590"/>
                  </a:lnTo>
                  <a:lnTo>
                    <a:pt x="686" y="590"/>
                  </a:lnTo>
                  <a:lnTo>
                    <a:pt x="686" y="590"/>
                  </a:lnTo>
                  <a:lnTo>
                    <a:pt x="693" y="590"/>
                  </a:lnTo>
                  <a:lnTo>
                    <a:pt x="693" y="590"/>
                  </a:lnTo>
                  <a:lnTo>
                    <a:pt x="715" y="590"/>
                  </a:lnTo>
                  <a:lnTo>
                    <a:pt x="715" y="590"/>
                  </a:lnTo>
                  <a:lnTo>
                    <a:pt x="723" y="590"/>
                  </a:lnTo>
                  <a:lnTo>
                    <a:pt x="723" y="590"/>
                  </a:lnTo>
                  <a:lnTo>
                    <a:pt x="723" y="590"/>
                  </a:lnTo>
                  <a:lnTo>
                    <a:pt x="723" y="590"/>
                  </a:lnTo>
                  <a:lnTo>
                    <a:pt x="730" y="590"/>
                  </a:lnTo>
                  <a:lnTo>
                    <a:pt x="730" y="590"/>
                  </a:lnTo>
                  <a:lnTo>
                    <a:pt x="745" y="590"/>
                  </a:lnTo>
                  <a:lnTo>
                    <a:pt x="745" y="590"/>
                  </a:lnTo>
                  <a:lnTo>
                    <a:pt x="752" y="590"/>
                  </a:lnTo>
                  <a:lnTo>
                    <a:pt x="752" y="590"/>
                  </a:lnTo>
                  <a:lnTo>
                    <a:pt x="752" y="590"/>
                  </a:lnTo>
                  <a:lnTo>
                    <a:pt x="752" y="590"/>
                  </a:lnTo>
                  <a:lnTo>
                    <a:pt x="782" y="590"/>
                  </a:lnTo>
                  <a:lnTo>
                    <a:pt x="782" y="590"/>
                  </a:lnTo>
                  <a:lnTo>
                    <a:pt x="796" y="590"/>
                  </a:lnTo>
                  <a:lnTo>
                    <a:pt x="796" y="583"/>
                  </a:lnTo>
                  <a:lnTo>
                    <a:pt x="818" y="583"/>
                  </a:lnTo>
                  <a:lnTo>
                    <a:pt x="818" y="583"/>
                  </a:lnTo>
                  <a:lnTo>
                    <a:pt x="826" y="583"/>
                  </a:lnTo>
                  <a:lnTo>
                    <a:pt x="826" y="583"/>
                  </a:lnTo>
                  <a:lnTo>
                    <a:pt x="841" y="583"/>
                  </a:lnTo>
                  <a:lnTo>
                    <a:pt x="841" y="583"/>
                  </a:lnTo>
                  <a:lnTo>
                    <a:pt x="848" y="583"/>
                  </a:lnTo>
                  <a:lnTo>
                    <a:pt x="848" y="583"/>
                  </a:lnTo>
                  <a:lnTo>
                    <a:pt x="855" y="583"/>
                  </a:lnTo>
                  <a:lnTo>
                    <a:pt x="855" y="583"/>
                  </a:lnTo>
                  <a:lnTo>
                    <a:pt x="870" y="583"/>
                  </a:lnTo>
                  <a:lnTo>
                    <a:pt x="870" y="583"/>
                  </a:lnTo>
                  <a:lnTo>
                    <a:pt x="870" y="583"/>
                  </a:lnTo>
                  <a:lnTo>
                    <a:pt x="870" y="583"/>
                  </a:lnTo>
                  <a:lnTo>
                    <a:pt x="877" y="583"/>
                  </a:lnTo>
                  <a:lnTo>
                    <a:pt x="877" y="583"/>
                  </a:lnTo>
                  <a:lnTo>
                    <a:pt x="885" y="583"/>
                  </a:lnTo>
                  <a:lnTo>
                    <a:pt x="885" y="583"/>
                  </a:lnTo>
                  <a:lnTo>
                    <a:pt x="892" y="583"/>
                  </a:lnTo>
                  <a:lnTo>
                    <a:pt x="892" y="583"/>
                  </a:lnTo>
                  <a:lnTo>
                    <a:pt x="914" y="583"/>
                  </a:lnTo>
                  <a:lnTo>
                    <a:pt x="914" y="576"/>
                  </a:lnTo>
                  <a:lnTo>
                    <a:pt x="922" y="576"/>
                  </a:lnTo>
                  <a:lnTo>
                    <a:pt x="922" y="576"/>
                  </a:lnTo>
                  <a:lnTo>
                    <a:pt x="936" y="576"/>
                  </a:lnTo>
                  <a:lnTo>
                    <a:pt x="936" y="568"/>
                  </a:lnTo>
                  <a:lnTo>
                    <a:pt x="944" y="568"/>
                  </a:lnTo>
                  <a:lnTo>
                    <a:pt x="944" y="568"/>
                  </a:lnTo>
                  <a:lnTo>
                    <a:pt x="944" y="568"/>
                  </a:lnTo>
                  <a:lnTo>
                    <a:pt x="944" y="568"/>
                  </a:lnTo>
                  <a:lnTo>
                    <a:pt x="951" y="568"/>
                  </a:lnTo>
                  <a:lnTo>
                    <a:pt x="951" y="568"/>
                  </a:lnTo>
                  <a:lnTo>
                    <a:pt x="966" y="568"/>
                  </a:lnTo>
                  <a:lnTo>
                    <a:pt x="966" y="568"/>
                  </a:lnTo>
                  <a:lnTo>
                    <a:pt x="981" y="568"/>
                  </a:lnTo>
                  <a:lnTo>
                    <a:pt x="981" y="568"/>
                  </a:lnTo>
                  <a:lnTo>
                    <a:pt x="988" y="568"/>
                  </a:lnTo>
                  <a:lnTo>
                    <a:pt x="988" y="568"/>
                  </a:lnTo>
                  <a:lnTo>
                    <a:pt x="988" y="568"/>
                  </a:lnTo>
                  <a:lnTo>
                    <a:pt x="988" y="561"/>
                  </a:lnTo>
                  <a:lnTo>
                    <a:pt x="995" y="561"/>
                  </a:lnTo>
                  <a:lnTo>
                    <a:pt x="995" y="561"/>
                  </a:lnTo>
                  <a:lnTo>
                    <a:pt x="1003" y="561"/>
                  </a:lnTo>
                  <a:lnTo>
                    <a:pt x="1003" y="561"/>
                  </a:lnTo>
                  <a:lnTo>
                    <a:pt x="1018" y="561"/>
                  </a:lnTo>
                  <a:lnTo>
                    <a:pt x="1018" y="553"/>
                  </a:lnTo>
                  <a:lnTo>
                    <a:pt x="1025" y="553"/>
                  </a:lnTo>
                  <a:lnTo>
                    <a:pt x="1025" y="553"/>
                  </a:lnTo>
                  <a:lnTo>
                    <a:pt x="1032" y="553"/>
                  </a:lnTo>
                  <a:lnTo>
                    <a:pt x="1032" y="553"/>
                  </a:lnTo>
                  <a:lnTo>
                    <a:pt x="1040" y="553"/>
                  </a:lnTo>
                  <a:lnTo>
                    <a:pt x="1040" y="553"/>
                  </a:lnTo>
                  <a:lnTo>
                    <a:pt x="1062" y="553"/>
                  </a:lnTo>
                  <a:lnTo>
                    <a:pt x="1062" y="546"/>
                  </a:lnTo>
                  <a:lnTo>
                    <a:pt x="1062" y="546"/>
                  </a:lnTo>
                  <a:lnTo>
                    <a:pt x="1062" y="546"/>
                  </a:lnTo>
                  <a:lnTo>
                    <a:pt x="1084" y="546"/>
                  </a:lnTo>
                  <a:lnTo>
                    <a:pt x="1084" y="546"/>
                  </a:lnTo>
                  <a:lnTo>
                    <a:pt x="1091" y="546"/>
                  </a:lnTo>
                  <a:lnTo>
                    <a:pt x="1091" y="546"/>
                  </a:lnTo>
                  <a:lnTo>
                    <a:pt x="1099" y="546"/>
                  </a:lnTo>
                  <a:lnTo>
                    <a:pt x="1099" y="546"/>
                  </a:lnTo>
                  <a:lnTo>
                    <a:pt x="1106" y="546"/>
                  </a:lnTo>
                  <a:lnTo>
                    <a:pt x="1106" y="546"/>
                  </a:lnTo>
                  <a:lnTo>
                    <a:pt x="1113" y="546"/>
                  </a:lnTo>
                  <a:lnTo>
                    <a:pt x="1113" y="546"/>
                  </a:lnTo>
                  <a:lnTo>
                    <a:pt x="1113" y="546"/>
                  </a:lnTo>
                  <a:lnTo>
                    <a:pt x="1113" y="546"/>
                  </a:lnTo>
                  <a:lnTo>
                    <a:pt x="1121" y="546"/>
                  </a:lnTo>
                  <a:lnTo>
                    <a:pt x="1121" y="546"/>
                  </a:lnTo>
                  <a:lnTo>
                    <a:pt x="1136" y="546"/>
                  </a:lnTo>
                  <a:lnTo>
                    <a:pt x="1136" y="546"/>
                  </a:lnTo>
                  <a:lnTo>
                    <a:pt x="1150" y="546"/>
                  </a:lnTo>
                  <a:lnTo>
                    <a:pt x="1150" y="539"/>
                  </a:lnTo>
                  <a:lnTo>
                    <a:pt x="1158" y="539"/>
                  </a:lnTo>
                  <a:lnTo>
                    <a:pt x="1158" y="539"/>
                  </a:lnTo>
                  <a:lnTo>
                    <a:pt x="1158" y="539"/>
                  </a:lnTo>
                  <a:lnTo>
                    <a:pt x="1158" y="539"/>
                  </a:lnTo>
                  <a:lnTo>
                    <a:pt x="1172" y="539"/>
                  </a:lnTo>
                  <a:lnTo>
                    <a:pt x="1172" y="539"/>
                  </a:lnTo>
                  <a:lnTo>
                    <a:pt x="1180" y="539"/>
                  </a:lnTo>
                  <a:lnTo>
                    <a:pt x="1180" y="539"/>
                  </a:lnTo>
                  <a:lnTo>
                    <a:pt x="1187" y="539"/>
                  </a:lnTo>
                  <a:lnTo>
                    <a:pt x="1187" y="539"/>
                  </a:lnTo>
                  <a:lnTo>
                    <a:pt x="1209" y="539"/>
                  </a:lnTo>
                  <a:lnTo>
                    <a:pt x="1209" y="539"/>
                  </a:lnTo>
                  <a:lnTo>
                    <a:pt x="1239" y="539"/>
                  </a:lnTo>
                  <a:lnTo>
                    <a:pt x="1239" y="539"/>
                  </a:lnTo>
                  <a:lnTo>
                    <a:pt x="1254" y="539"/>
                  </a:lnTo>
                  <a:lnTo>
                    <a:pt x="1254" y="539"/>
                  </a:lnTo>
                  <a:lnTo>
                    <a:pt x="1283" y="539"/>
                  </a:lnTo>
                  <a:lnTo>
                    <a:pt x="1283" y="539"/>
                  </a:lnTo>
                  <a:lnTo>
                    <a:pt x="1298" y="539"/>
                  </a:lnTo>
                  <a:lnTo>
                    <a:pt x="1298" y="539"/>
                  </a:lnTo>
                  <a:lnTo>
                    <a:pt x="1305" y="539"/>
                  </a:lnTo>
                  <a:lnTo>
                    <a:pt x="1305" y="539"/>
                  </a:lnTo>
                  <a:lnTo>
                    <a:pt x="1305" y="539"/>
                  </a:lnTo>
                  <a:lnTo>
                    <a:pt x="1305" y="539"/>
                  </a:lnTo>
                  <a:lnTo>
                    <a:pt x="1349" y="539"/>
                  </a:lnTo>
                  <a:lnTo>
                    <a:pt x="1349" y="539"/>
                  </a:lnTo>
                  <a:lnTo>
                    <a:pt x="1357" y="539"/>
                  </a:lnTo>
                  <a:lnTo>
                    <a:pt x="1357" y="539"/>
                  </a:lnTo>
                  <a:lnTo>
                    <a:pt x="1364" y="539"/>
                  </a:lnTo>
                  <a:lnTo>
                    <a:pt x="1364" y="539"/>
                  </a:lnTo>
                  <a:lnTo>
                    <a:pt x="1386" y="539"/>
                  </a:lnTo>
                  <a:lnTo>
                    <a:pt x="1386" y="539"/>
                  </a:lnTo>
                  <a:lnTo>
                    <a:pt x="1401" y="539"/>
                  </a:lnTo>
                  <a:lnTo>
                    <a:pt x="1401" y="539"/>
                  </a:lnTo>
                  <a:lnTo>
                    <a:pt x="1401" y="539"/>
                  </a:lnTo>
                  <a:lnTo>
                    <a:pt x="1401" y="539"/>
                  </a:lnTo>
                  <a:lnTo>
                    <a:pt x="1438" y="539"/>
                  </a:lnTo>
                  <a:lnTo>
                    <a:pt x="1438" y="539"/>
                  </a:lnTo>
                  <a:lnTo>
                    <a:pt x="1453" y="539"/>
                  </a:lnTo>
                  <a:lnTo>
                    <a:pt x="1453" y="539"/>
                  </a:lnTo>
                  <a:lnTo>
                    <a:pt x="1453" y="539"/>
                  </a:lnTo>
                  <a:lnTo>
                    <a:pt x="1453" y="539"/>
                  </a:lnTo>
                  <a:lnTo>
                    <a:pt x="1460" y="539"/>
                  </a:lnTo>
                  <a:lnTo>
                    <a:pt x="1460" y="539"/>
                  </a:lnTo>
                  <a:lnTo>
                    <a:pt x="1475" y="539"/>
                  </a:lnTo>
                  <a:lnTo>
                    <a:pt x="1475" y="531"/>
                  </a:lnTo>
                  <a:lnTo>
                    <a:pt x="1482" y="531"/>
                  </a:lnTo>
                  <a:lnTo>
                    <a:pt x="1482" y="531"/>
                  </a:lnTo>
                  <a:lnTo>
                    <a:pt x="1490" y="531"/>
                  </a:lnTo>
                  <a:lnTo>
                    <a:pt x="1490" y="531"/>
                  </a:lnTo>
                  <a:lnTo>
                    <a:pt x="1497" y="531"/>
                  </a:lnTo>
                  <a:lnTo>
                    <a:pt x="1497" y="531"/>
                  </a:lnTo>
                  <a:lnTo>
                    <a:pt x="1497" y="531"/>
                  </a:lnTo>
                  <a:lnTo>
                    <a:pt x="1497" y="531"/>
                  </a:lnTo>
                  <a:lnTo>
                    <a:pt x="1512" y="531"/>
                  </a:lnTo>
                  <a:lnTo>
                    <a:pt x="1512" y="524"/>
                  </a:lnTo>
                  <a:lnTo>
                    <a:pt x="1526" y="524"/>
                  </a:lnTo>
                  <a:lnTo>
                    <a:pt x="1526" y="524"/>
                  </a:lnTo>
                  <a:lnTo>
                    <a:pt x="1534" y="524"/>
                  </a:lnTo>
                  <a:lnTo>
                    <a:pt x="1534" y="524"/>
                  </a:lnTo>
                  <a:lnTo>
                    <a:pt x="1541" y="524"/>
                  </a:lnTo>
                  <a:lnTo>
                    <a:pt x="1541" y="524"/>
                  </a:lnTo>
                  <a:lnTo>
                    <a:pt x="1549" y="524"/>
                  </a:lnTo>
                  <a:lnTo>
                    <a:pt x="1549" y="524"/>
                  </a:lnTo>
                  <a:lnTo>
                    <a:pt x="1549" y="524"/>
                  </a:lnTo>
                  <a:lnTo>
                    <a:pt x="1549" y="524"/>
                  </a:lnTo>
                  <a:lnTo>
                    <a:pt x="1556" y="524"/>
                  </a:lnTo>
                  <a:lnTo>
                    <a:pt x="1556" y="517"/>
                  </a:lnTo>
                  <a:lnTo>
                    <a:pt x="1593" y="517"/>
                  </a:lnTo>
                  <a:lnTo>
                    <a:pt x="1593" y="517"/>
                  </a:lnTo>
                  <a:lnTo>
                    <a:pt x="1600" y="517"/>
                  </a:lnTo>
                  <a:lnTo>
                    <a:pt x="1600" y="517"/>
                  </a:lnTo>
                  <a:lnTo>
                    <a:pt x="1622" y="517"/>
                  </a:lnTo>
                  <a:lnTo>
                    <a:pt x="1622" y="517"/>
                  </a:lnTo>
                  <a:lnTo>
                    <a:pt x="1622" y="517"/>
                  </a:lnTo>
                  <a:lnTo>
                    <a:pt x="1622" y="517"/>
                  </a:lnTo>
                  <a:lnTo>
                    <a:pt x="1645" y="517"/>
                  </a:lnTo>
                  <a:lnTo>
                    <a:pt x="1645" y="517"/>
                  </a:lnTo>
                  <a:lnTo>
                    <a:pt x="1645" y="517"/>
                  </a:lnTo>
                  <a:lnTo>
                    <a:pt x="1645" y="517"/>
                  </a:lnTo>
                  <a:lnTo>
                    <a:pt x="1674" y="517"/>
                  </a:lnTo>
                  <a:lnTo>
                    <a:pt x="1674" y="517"/>
                  </a:lnTo>
                  <a:lnTo>
                    <a:pt x="1696" y="517"/>
                  </a:lnTo>
                  <a:lnTo>
                    <a:pt x="1696" y="517"/>
                  </a:lnTo>
                  <a:lnTo>
                    <a:pt x="1718" y="517"/>
                  </a:lnTo>
                  <a:lnTo>
                    <a:pt x="1718" y="517"/>
                  </a:lnTo>
                  <a:lnTo>
                    <a:pt x="1740" y="517"/>
                  </a:lnTo>
                  <a:lnTo>
                    <a:pt x="1740" y="517"/>
                  </a:lnTo>
                  <a:lnTo>
                    <a:pt x="1748" y="517"/>
                  </a:lnTo>
                  <a:lnTo>
                    <a:pt x="1748" y="517"/>
                  </a:lnTo>
                  <a:lnTo>
                    <a:pt x="1755" y="517"/>
                  </a:lnTo>
                  <a:lnTo>
                    <a:pt x="1755" y="517"/>
                  </a:lnTo>
                  <a:lnTo>
                    <a:pt x="1763" y="517"/>
                  </a:lnTo>
                  <a:lnTo>
                    <a:pt x="1763" y="517"/>
                  </a:lnTo>
                  <a:lnTo>
                    <a:pt x="1792" y="517"/>
                  </a:lnTo>
                  <a:lnTo>
                    <a:pt x="1792" y="517"/>
                  </a:lnTo>
                  <a:lnTo>
                    <a:pt x="1792" y="517"/>
                  </a:lnTo>
                  <a:lnTo>
                    <a:pt x="1792" y="517"/>
                  </a:lnTo>
                  <a:lnTo>
                    <a:pt x="1799" y="517"/>
                  </a:lnTo>
                  <a:lnTo>
                    <a:pt x="1799" y="509"/>
                  </a:lnTo>
                  <a:lnTo>
                    <a:pt x="1814" y="509"/>
                  </a:lnTo>
                  <a:lnTo>
                    <a:pt x="1814" y="509"/>
                  </a:lnTo>
                  <a:lnTo>
                    <a:pt x="1814" y="509"/>
                  </a:lnTo>
                  <a:lnTo>
                    <a:pt x="1814" y="509"/>
                  </a:lnTo>
                  <a:lnTo>
                    <a:pt x="1822" y="509"/>
                  </a:lnTo>
                  <a:lnTo>
                    <a:pt x="1822" y="509"/>
                  </a:lnTo>
                  <a:lnTo>
                    <a:pt x="1829" y="509"/>
                  </a:lnTo>
                  <a:lnTo>
                    <a:pt x="1829" y="509"/>
                  </a:lnTo>
                  <a:lnTo>
                    <a:pt x="1836" y="509"/>
                  </a:lnTo>
                  <a:lnTo>
                    <a:pt x="1836" y="509"/>
                  </a:lnTo>
                  <a:lnTo>
                    <a:pt x="1836" y="509"/>
                  </a:lnTo>
                  <a:lnTo>
                    <a:pt x="1836" y="509"/>
                  </a:lnTo>
                  <a:lnTo>
                    <a:pt x="1866" y="509"/>
                  </a:lnTo>
                  <a:lnTo>
                    <a:pt x="1866" y="502"/>
                  </a:lnTo>
                  <a:lnTo>
                    <a:pt x="1866" y="502"/>
                  </a:lnTo>
                  <a:lnTo>
                    <a:pt x="1866" y="502"/>
                  </a:lnTo>
                  <a:lnTo>
                    <a:pt x="1873" y="502"/>
                  </a:lnTo>
                  <a:lnTo>
                    <a:pt x="1873" y="502"/>
                  </a:lnTo>
                  <a:lnTo>
                    <a:pt x="1881" y="502"/>
                  </a:lnTo>
                  <a:lnTo>
                    <a:pt x="1881" y="494"/>
                  </a:lnTo>
                  <a:lnTo>
                    <a:pt x="1888" y="494"/>
                  </a:lnTo>
                  <a:lnTo>
                    <a:pt x="1888" y="494"/>
                  </a:lnTo>
                  <a:lnTo>
                    <a:pt x="1888" y="494"/>
                  </a:lnTo>
                  <a:lnTo>
                    <a:pt x="1888" y="494"/>
                  </a:lnTo>
                  <a:lnTo>
                    <a:pt x="1895" y="494"/>
                  </a:lnTo>
                  <a:lnTo>
                    <a:pt x="1895" y="494"/>
                  </a:lnTo>
                  <a:lnTo>
                    <a:pt x="1903" y="494"/>
                  </a:lnTo>
                  <a:lnTo>
                    <a:pt x="1903" y="487"/>
                  </a:lnTo>
                  <a:lnTo>
                    <a:pt x="1910" y="487"/>
                  </a:lnTo>
                  <a:lnTo>
                    <a:pt x="1910" y="487"/>
                  </a:lnTo>
                  <a:lnTo>
                    <a:pt x="1910" y="487"/>
                  </a:lnTo>
                  <a:lnTo>
                    <a:pt x="1910" y="480"/>
                  </a:lnTo>
                  <a:lnTo>
                    <a:pt x="1917" y="480"/>
                  </a:lnTo>
                  <a:lnTo>
                    <a:pt x="1917" y="480"/>
                  </a:lnTo>
                  <a:lnTo>
                    <a:pt x="1925" y="480"/>
                  </a:lnTo>
                  <a:lnTo>
                    <a:pt x="1925" y="480"/>
                  </a:lnTo>
                  <a:lnTo>
                    <a:pt x="1932" y="480"/>
                  </a:lnTo>
                  <a:lnTo>
                    <a:pt x="1932" y="480"/>
                  </a:lnTo>
                  <a:lnTo>
                    <a:pt x="1932" y="480"/>
                  </a:lnTo>
                  <a:lnTo>
                    <a:pt x="1932" y="480"/>
                  </a:lnTo>
                  <a:lnTo>
                    <a:pt x="1940" y="480"/>
                  </a:lnTo>
                  <a:lnTo>
                    <a:pt x="1940" y="472"/>
                  </a:lnTo>
                  <a:lnTo>
                    <a:pt x="1947" y="472"/>
                  </a:lnTo>
                  <a:lnTo>
                    <a:pt x="1947" y="472"/>
                  </a:lnTo>
                  <a:lnTo>
                    <a:pt x="1954" y="472"/>
                  </a:lnTo>
                  <a:lnTo>
                    <a:pt x="1954" y="472"/>
                  </a:lnTo>
                  <a:lnTo>
                    <a:pt x="1962" y="472"/>
                  </a:lnTo>
                  <a:lnTo>
                    <a:pt x="1962" y="472"/>
                  </a:lnTo>
                  <a:lnTo>
                    <a:pt x="1962" y="472"/>
                  </a:lnTo>
                  <a:lnTo>
                    <a:pt x="1962" y="472"/>
                  </a:lnTo>
                  <a:lnTo>
                    <a:pt x="1969" y="472"/>
                  </a:lnTo>
                  <a:lnTo>
                    <a:pt x="1969" y="472"/>
                  </a:lnTo>
                  <a:lnTo>
                    <a:pt x="1976" y="472"/>
                  </a:lnTo>
                  <a:lnTo>
                    <a:pt x="1976" y="465"/>
                  </a:lnTo>
                  <a:lnTo>
                    <a:pt x="1984" y="465"/>
                  </a:lnTo>
                  <a:lnTo>
                    <a:pt x="1984" y="465"/>
                  </a:lnTo>
                  <a:lnTo>
                    <a:pt x="1984" y="465"/>
                  </a:lnTo>
                  <a:lnTo>
                    <a:pt x="1984" y="465"/>
                  </a:lnTo>
                  <a:lnTo>
                    <a:pt x="1991" y="465"/>
                  </a:lnTo>
                  <a:lnTo>
                    <a:pt x="1991" y="458"/>
                  </a:lnTo>
                  <a:lnTo>
                    <a:pt x="1999" y="458"/>
                  </a:lnTo>
                  <a:lnTo>
                    <a:pt x="1999" y="458"/>
                  </a:lnTo>
                  <a:lnTo>
                    <a:pt x="2006" y="458"/>
                  </a:lnTo>
                  <a:lnTo>
                    <a:pt x="2006" y="458"/>
                  </a:lnTo>
                  <a:lnTo>
                    <a:pt x="2006" y="458"/>
                  </a:lnTo>
                  <a:lnTo>
                    <a:pt x="2006" y="458"/>
                  </a:lnTo>
                  <a:lnTo>
                    <a:pt x="2013" y="458"/>
                  </a:lnTo>
                  <a:lnTo>
                    <a:pt x="2013" y="450"/>
                  </a:lnTo>
                  <a:lnTo>
                    <a:pt x="2021" y="450"/>
                  </a:lnTo>
                  <a:lnTo>
                    <a:pt x="2021" y="450"/>
                  </a:lnTo>
                  <a:lnTo>
                    <a:pt x="2028" y="450"/>
                  </a:lnTo>
                  <a:lnTo>
                    <a:pt x="2028" y="443"/>
                  </a:lnTo>
                  <a:lnTo>
                    <a:pt x="2035" y="443"/>
                  </a:lnTo>
                  <a:lnTo>
                    <a:pt x="2035" y="443"/>
                  </a:lnTo>
                  <a:lnTo>
                    <a:pt x="2035" y="443"/>
                  </a:lnTo>
                  <a:lnTo>
                    <a:pt x="2035" y="435"/>
                  </a:lnTo>
                  <a:lnTo>
                    <a:pt x="2043" y="435"/>
                  </a:lnTo>
                  <a:lnTo>
                    <a:pt x="2043" y="435"/>
                  </a:lnTo>
                  <a:lnTo>
                    <a:pt x="2058" y="435"/>
                  </a:lnTo>
                  <a:lnTo>
                    <a:pt x="2058" y="435"/>
                  </a:lnTo>
                  <a:lnTo>
                    <a:pt x="2058" y="435"/>
                  </a:lnTo>
                  <a:lnTo>
                    <a:pt x="2058" y="428"/>
                  </a:lnTo>
                  <a:lnTo>
                    <a:pt x="2065" y="428"/>
                  </a:lnTo>
                  <a:lnTo>
                    <a:pt x="2065" y="428"/>
                  </a:lnTo>
                  <a:lnTo>
                    <a:pt x="2072" y="428"/>
                  </a:lnTo>
                  <a:lnTo>
                    <a:pt x="2072" y="421"/>
                  </a:lnTo>
                  <a:lnTo>
                    <a:pt x="2080" y="421"/>
                  </a:lnTo>
                  <a:lnTo>
                    <a:pt x="2080" y="421"/>
                  </a:lnTo>
                  <a:lnTo>
                    <a:pt x="2080" y="421"/>
                  </a:lnTo>
                  <a:lnTo>
                    <a:pt x="2080" y="421"/>
                  </a:lnTo>
                  <a:lnTo>
                    <a:pt x="2087" y="421"/>
                  </a:lnTo>
                  <a:lnTo>
                    <a:pt x="2087" y="421"/>
                  </a:lnTo>
                  <a:lnTo>
                    <a:pt x="2094" y="421"/>
                  </a:lnTo>
                  <a:lnTo>
                    <a:pt x="2094" y="413"/>
                  </a:lnTo>
                  <a:lnTo>
                    <a:pt x="2102" y="413"/>
                  </a:lnTo>
                  <a:lnTo>
                    <a:pt x="2102" y="413"/>
                  </a:lnTo>
                  <a:lnTo>
                    <a:pt x="2102" y="413"/>
                  </a:lnTo>
                  <a:lnTo>
                    <a:pt x="2102" y="413"/>
                  </a:lnTo>
                  <a:lnTo>
                    <a:pt x="2109" y="413"/>
                  </a:lnTo>
                  <a:lnTo>
                    <a:pt x="2109" y="413"/>
                  </a:lnTo>
                  <a:lnTo>
                    <a:pt x="2117" y="413"/>
                  </a:lnTo>
                  <a:lnTo>
                    <a:pt x="2117" y="406"/>
                  </a:lnTo>
                  <a:lnTo>
                    <a:pt x="2124" y="406"/>
                  </a:lnTo>
                  <a:lnTo>
                    <a:pt x="2124" y="406"/>
                  </a:lnTo>
                  <a:lnTo>
                    <a:pt x="2131" y="406"/>
                  </a:lnTo>
                  <a:lnTo>
                    <a:pt x="2131" y="406"/>
                  </a:lnTo>
                  <a:lnTo>
                    <a:pt x="2131" y="406"/>
                  </a:lnTo>
                  <a:lnTo>
                    <a:pt x="2131" y="406"/>
                  </a:lnTo>
                  <a:lnTo>
                    <a:pt x="2139" y="406"/>
                  </a:lnTo>
                  <a:lnTo>
                    <a:pt x="2139" y="399"/>
                  </a:lnTo>
                  <a:lnTo>
                    <a:pt x="2146" y="399"/>
                  </a:lnTo>
                  <a:lnTo>
                    <a:pt x="2146" y="399"/>
                  </a:lnTo>
                  <a:lnTo>
                    <a:pt x="2153" y="399"/>
                  </a:lnTo>
                  <a:lnTo>
                    <a:pt x="2153" y="399"/>
                  </a:lnTo>
                  <a:lnTo>
                    <a:pt x="2153" y="399"/>
                  </a:lnTo>
                  <a:lnTo>
                    <a:pt x="2153" y="399"/>
                  </a:lnTo>
                  <a:lnTo>
                    <a:pt x="2161" y="399"/>
                  </a:lnTo>
                  <a:lnTo>
                    <a:pt x="2161" y="399"/>
                  </a:lnTo>
                  <a:lnTo>
                    <a:pt x="2168" y="399"/>
                  </a:lnTo>
                  <a:lnTo>
                    <a:pt x="2168" y="399"/>
                  </a:lnTo>
                  <a:lnTo>
                    <a:pt x="2176" y="399"/>
                  </a:lnTo>
                  <a:lnTo>
                    <a:pt x="2176" y="399"/>
                  </a:lnTo>
                  <a:lnTo>
                    <a:pt x="2176" y="399"/>
                  </a:lnTo>
                  <a:lnTo>
                    <a:pt x="2176" y="399"/>
                  </a:lnTo>
                  <a:lnTo>
                    <a:pt x="2183" y="399"/>
                  </a:lnTo>
                  <a:lnTo>
                    <a:pt x="2183" y="391"/>
                  </a:lnTo>
                  <a:lnTo>
                    <a:pt x="2190" y="391"/>
                  </a:lnTo>
                  <a:lnTo>
                    <a:pt x="2190" y="391"/>
                  </a:lnTo>
                  <a:lnTo>
                    <a:pt x="2198" y="391"/>
                  </a:lnTo>
                  <a:lnTo>
                    <a:pt x="2198" y="391"/>
                  </a:lnTo>
                  <a:lnTo>
                    <a:pt x="2205" y="391"/>
                  </a:lnTo>
                  <a:lnTo>
                    <a:pt x="2205" y="391"/>
                  </a:lnTo>
                  <a:lnTo>
                    <a:pt x="2205" y="391"/>
                  </a:lnTo>
                  <a:lnTo>
                    <a:pt x="2205" y="391"/>
                  </a:lnTo>
                  <a:lnTo>
                    <a:pt x="2212" y="391"/>
                  </a:lnTo>
                  <a:lnTo>
                    <a:pt x="2212" y="391"/>
                  </a:lnTo>
                  <a:lnTo>
                    <a:pt x="2220" y="391"/>
                  </a:lnTo>
                  <a:lnTo>
                    <a:pt x="2220" y="391"/>
                  </a:lnTo>
                  <a:lnTo>
                    <a:pt x="2227" y="391"/>
                  </a:lnTo>
                  <a:lnTo>
                    <a:pt x="2227" y="391"/>
                  </a:lnTo>
                  <a:lnTo>
                    <a:pt x="2227" y="391"/>
                  </a:lnTo>
                  <a:lnTo>
                    <a:pt x="2227" y="391"/>
                  </a:lnTo>
                  <a:lnTo>
                    <a:pt x="2235" y="391"/>
                  </a:lnTo>
                  <a:lnTo>
                    <a:pt x="2235" y="391"/>
                  </a:lnTo>
                  <a:lnTo>
                    <a:pt x="2242" y="391"/>
                  </a:lnTo>
                  <a:lnTo>
                    <a:pt x="2242" y="391"/>
                  </a:lnTo>
                  <a:lnTo>
                    <a:pt x="2249" y="391"/>
                  </a:lnTo>
                  <a:lnTo>
                    <a:pt x="2249" y="391"/>
                  </a:lnTo>
                  <a:lnTo>
                    <a:pt x="2249" y="391"/>
                  </a:lnTo>
                  <a:lnTo>
                    <a:pt x="2249" y="391"/>
                  </a:lnTo>
                  <a:lnTo>
                    <a:pt x="2257" y="391"/>
                  </a:lnTo>
                  <a:lnTo>
                    <a:pt x="2257" y="391"/>
                  </a:lnTo>
                  <a:lnTo>
                    <a:pt x="2264" y="391"/>
                  </a:lnTo>
                  <a:lnTo>
                    <a:pt x="2264" y="384"/>
                  </a:lnTo>
                  <a:lnTo>
                    <a:pt x="2271" y="384"/>
                  </a:lnTo>
                  <a:lnTo>
                    <a:pt x="2271" y="384"/>
                  </a:lnTo>
                  <a:lnTo>
                    <a:pt x="2286" y="384"/>
                  </a:lnTo>
                  <a:lnTo>
                    <a:pt x="2286" y="384"/>
                  </a:lnTo>
                  <a:lnTo>
                    <a:pt x="2294" y="384"/>
                  </a:lnTo>
                  <a:lnTo>
                    <a:pt x="2294" y="384"/>
                  </a:lnTo>
                  <a:lnTo>
                    <a:pt x="2301" y="384"/>
                  </a:lnTo>
                  <a:lnTo>
                    <a:pt x="2301" y="384"/>
                  </a:lnTo>
                  <a:lnTo>
                    <a:pt x="2301" y="384"/>
                  </a:lnTo>
                  <a:lnTo>
                    <a:pt x="2301" y="384"/>
                  </a:lnTo>
                  <a:lnTo>
                    <a:pt x="2308" y="384"/>
                  </a:lnTo>
                  <a:lnTo>
                    <a:pt x="2308" y="384"/>
                  </a:lnTo>
                  <a:lnTo>
                    <a:pt x="2316" y="384"/>
                  </a:lnTo>
                  <a:lnTo>
                    <a:pt x="2316" y="384"/>
                  </a:lnTo>
                  <a:lnTo>
                    <a:pt x="2323" y="384"/>
                  </a:lnTo>
                  <a:lnTo>
                    <a:pt x="2323" y="384"/>
                  </a:lnTo>
                  <a:lnTo>
                    <a:pt x="2323" y="384"/>
                  </a:lnTo>
                  <a:lnTo>
                    <a:pt x="2323" y="384"/>
                  </a:lnTo>
                  <a:lnTo>
                    <a:pt x="2330" y="384"/>
                  </a:lnTo>
                  <a:lnTo>
                    <a:pt x="2330" y="384"/>
                  </a:lnTo>
                  <a:lnTo>
                    <a:pt x="2338" y="384"/>
                  </a:lnTo>
                  <a:lnTo>
                    <a:pt x="2338" y="384"/>
                  </a:lnTo>
                  <a:lnTo>
                    <a:pt x="2345" y="384"/>
                  </a:lnTo>
                  <a:lnTo>
                    <a:pt x="2345" y="376"/>
                  </a:lnTo>
                  <a:lnTo>
                    <a:pt x="2345" y="376"/>
                  </a:lnTo>
                  <a:lnTo>
                    <a:pt x="2345" y="376"/>
                  </a:lnTo>
                  <a:lnTo>
                    <a:pt x="2353" y="376"/>
                  </a:lnTo>
                  <a:lnTo>
                    <a:pt x="2353" y="376"/>
                  </a:lnTo>
                  <a:lnTo>
                    <a:pt x="2360" y="376"/>
                  </a:lnTo>
                  <a:lnTo>
                    <a:pt x="2360" y="376"/>
                  </a:lnTo>
                  <a:lnTo>
                    <a:pt x="2367" y="376"/>
                  </a:lnTo>
                  <a:lnTo>
                    <a:pt x="2367" y="376"/>
                  </a:lnTo>
                  <a:lnTo>
                    <a:pt x="2375" y="376"/>
                  </a:lnTo>
                  <a:lnTo>
                    <a:pt x="2375" y="369"/>
                  </a:lnTo>
                  <a:lnTo>
                    <a:pt x="2375" y="369"/>
                  </a:lnTo>
                  <a:lnTo>
                    <a:pt x="2375" y="369"/>
                  </a:lnTo>
                  <a:lnTo>
                    <a:pt x="2382" y="369"/>
                  </a:lnTo>
                  <a:lnTo>
                    <a:pt x="2382" y="369"/>
                  </a:lnTo>
                  <a:lnTo>
                    <a:pt x="2389" y="369"/>
                  </a:lnTo>
                  <a:lnTo>
                    <a:pt x="2389" y="369"/>
                  </a:lnTo>
                  <a:lnTo>
                    <a:pt x="2397" y="369"/>
                  </a:lnTo>
                  <a:lnTo>
                    <a:pt x="2397" y="369"/>
                  </a:lnTo>
                  <a:lnTo>
                    <a:pt x="2397" y="369"/>
                  </a:lnTo>
                  <a:lnTo>
                    <a:pt x="2397" y="362"/>
                  </a:lnTo>
                  <a:lnTo>
                    <a:pt x="2404" y="362"/>
                  </a:lnTo>
                  <a:lnTo>
                    <a:pt x="2404" y="362"/>
                  </a:lnTo>
                  <a:lnTo>
                    <a:pt x="2412" y="362"/>
                  </a:lnTo>
                  <a:lnTo>
                    <a:pt x="2412" y="362"/>
                  </a:lnTo>
                  <a:lnTo>
                    <a:pt x="2419" y="362"/>
                  </a:lnTo>
                  <a:lnTo>
                    <a:pt x="2419" y="362"/>
                  </a:lnTo>
                  <a:lnTo>
                    <a:pt x="2419" y="362"/>
                  </a:lnTo>
                  <a:lnTo>
                    <a:pt x="2419" y="362"/>
                  </a:lnTo>
                  <a:lnTo>
                    <a:pt x="2426" y="362"/>
                  </a:lnTo>
                  <a:lnTo>
                    <a:pt x="2426" y="362"/>
                  </a:lnTo>
                  <a:lnTo>
                    <a:pt x="2434" y="362"/>
                  </a:lnTo>
                  <a:lnTo>
                    <a:pt x="2434" y="362"/>
                  </a:lnTo>
                  <a:lnTo>
                    <a:pt x="2441" y="362"/>
                  </a:lnTo>
                  <a:lnTo>
                    <a:pt x="2441" y="362"/>
                  </a:lnTo>
                  <a:lnTo>
                    <a:pt x="2441" y="362"/>
                  </a:lnTo>
                  <a:lnTo>
                    <a:pt x="2441" y="362"/>
                  </a:lnTo>
                  <a:lnTo>
                    <a:pt x="2448" y="362"/>
                  </a:lnTo>
                  <a:lnTo>
                    <a:pt x="2448" y="362"/>
                  </a:lnTo>
                  <a:lnTo>
                    <a:pt x="2456" y="362"/>
                  </a:lnTo>
                  <a:lnTo>
                    <a:pt x="2456" y="362"/>
                  </a:lnTo>
                  <a:lnTo>
                    <a:pt x="2463" y="362"/>
                  </a:lnTo>
                  <a:lnTo>
                    <a:pt x="2463" y="362"/>
                  </a:lnTo>
                  <a:lnTo>
                    <a:pt x="2471" y="362"/>
                  </a:lnTo>
                  <a:lnTo>
                    <a:pt x="2471" y="362"/>
                  </a:lnTo>
                  <a:lnTo>
                    <a:pt x="2471" y="362"/>
                  </a:lnTo>
                  <a:lnTo>
                    <a:pt x="2471" y="362"/>
                  </a:lnTo>
                  <a:lnTo>
                    <a:pt x="2478" y="362"/>
                  </a:lnTo>
                  <a:lnTo>
                    <a:pt x="2478" y="362"/>
                  </a:lnTo>
                  <a:lnTo>
                    <a:pt x="2485" y="362"/>
                  </a:lnTo>
                  <a:lnTo>
                    <a:pt x="2485" y="362"/>
                  </a:lnTo>
                  <a:lnTo>
                    <a:pt x="2493" y="362"/>
                  </a:lnTo>
                  <a:lnTo>
                    <a:pt x="2493" y="362"/>
                  </a:lnTo>
                  <a:lnTo>
                    <a:pt x="2493" y="362"/>
                  </a:lnTo>
                  <a:lnTo>
                    <a:pt x="2493" y="362"/>
                  </a:lnTo>
                  <a:lnTo>
                    <a:pt x="2500" y="362"/>
                  </a:lnTo>
                  <a:lnTo>
                    <a:pt x="2500" y="362"/>
                  </a:lnTo>
                  <a:lnTo>
                    <a:pt x="2507" y="362"/>
                  </a:lnTo>
                  <a:lnTo>
                    <a:pt x="2507" y="362"/>
                  </a:lnTo>
                  <a:lnTo>
                    <a:pt x="2515" y="362"/>
                  </a:lnTo>
                  <a:lnTo>
                    <a:pt x="2515" y="362"/>
                  </a:lnTo>
                  <a:lnTo>
                    <a:pt x="2515" y="362"/>
                  </a:lnTo>
                  <a:lnTo>
                    <a:pt x="2515" y="362"/>
                  </a:lnTo>
                  <a:lnTo>
                    <a:pt x="2522" y="362"/>
                  </a:lnTo>
                  <a:lnTo>
                    <a:pt x="2522" y="362"/>
                  </a:lnTo>
                  <a:lnTo>
                    <a:pt x="2530" y="362"/>
                  </a:lnTo>
                  <a:lnTo>
                    <a:pt x="2530" y="362"/>
                  </a:lnTo>
                  <a:lnTo>
                    <a:pt x="2537" y="362"/>
                  </a:lnTo>
                  <a:lnTo>
                    <a:pt x="2537" y="362"/>
                  </a:lnTo>
                  <a:lnTo>
                    <a:pt x="2537" y="362"/>
                  </a:lnTo>
                  <a:lnTo>
                    <a:pt x="2537" y="362"/>
                  </a:lnTo>
                  <a:lnTo>
                    <a:pt x="2544" y="362"/>
                  </a:lnTo>
                  <a:lnTo>
                    <a:pt x="2544" y="362"/>
                  </a:lnTo>
                  <a:lnTo>
                    <a:pt x="2552" y="362"/>
                  </a:lnTo>
                  <a:lnTo>
                    <a:pt x="2552" y="362"/>
                  </a:lnTo>
                  <a:lnTo>
                    <a:pt x="2559" y="362"/>
                  </a:lnTo>
                  <a:lnTo>
                    <a:pt x="2559" y="362"/>
                  </a:lnTo>
                  <a:lnTo>
                    <a:pt x="2566" y="362"/>
                  </a:lnTo>
                  <a:lnTo>
                    <a:pt x="2566" y="362"/>
                  </a:lnTo>
                  <a:lnTo>
                    <a:pt x="2566" y="362"/>
                  </a:lnTo>
                  <a:lnTo>
                    <a:pt x="2566" y="354"/>
                  </a:lnTo>
                  <a:lnTo>
                    <a:pt x="2574" y="354"/>
                  </a:lnTo>
                  <a:lnTo>
                    <a:pt x="2574" y="354"/>
                  </a:lnTo>
                  <a:lnTo>
                    <a:pt x="2581" y="354"/>
                  </a:lnTo>
                  <a:lnTo>
                    <a:pt x="2581" y="354"/>
                  </a:lnTo>
                  <a:lnTo>
                    <a:pt x="2589" y="354"/>
                  </a:lnTo>
                  <a:lnTo>
                    <a:pt x="2589" y="347"/>
                  </a:lnTo>
                  <a:lnTo>
                    <a:pt x="2589" y="347"/>
                  </a:lnTo>
                  <a:lnTo>
                    <a:pt x="2589" y="347"/>
                  </a:lnTo>
                  <a:lnTo>
                    <a:pt x="2596" y="347"/>
                  </a:lnTo>
                  <a:lnTo>
                    <a:pt x="2596" y="347"/>
                  </a:lnTo>
                  <a:lnTo>
                    <a:pt x="2603" y="347"/>
                  </a:lnTo>
                  <a:lnTo>
                    <a:pt x="2603" y="347"/>
                  </a:lnTo>
                  <a:lnTo>
                    <a:pt x="2611" y="347"/>
                  </a:lnTo>
                  <a:lnTo>
                    <a:pt x="2611" y="347"/>
                  </a:lnTo>
                  <a:lnTo>
                    <a:pt x="2611" y="347"/>
                  </a:lnTo>
                  <a:lnTo>
                    <a:pt x="2611" y="347"/>
                  </a:lnTo>
                  <a:lnTo>
                    <a:pt x="2618" y="347"/>
                  </a:lnTo>
                  <a:lnTo>
                    <a:pt x="2618" y="347"/>
                  </a:lnTo>
                  <a:lnTo>
                    <a:pt x="2625" y="347"/>
                  </a:lnTo>
                  <a:lnTo>
                    <a:pt x="2625" y="347"/>
                  </a:lnTo>
                  <a:lnTo>
                    <a:pt x="2633" y="347"/>
                  </a:lnTo>
                  <a:lnTo>
                    <a:pt x="2633" y="347"/>
                  </a:lnTo>
                  <a:lnTo>
                    <a:pt x="2640" y="347"/>
                  </a:lnTo>
                  <a:lnTo>
                    <a:pt x="2640" y="347"/>
                  </a:lnTo>
                  <a:lnTo>
                    <a:pt x="2640" y="347"/>
                  </a:lnTo>
                  <a:lnTo>
                    <a:pt x="2640" y="340"/>
                  </a:lnTo>
                  <a:lnTo>
                    <a:pt x="2648" y="340"/>
                  </a:lnTo>
                  <a:lnTo>
                    <a:pt x="2648" y="340"/>
                  </a:lnTo>
                  <a:lnTo>
                    <a:pt x="2655" y="340"/>
                  </a:lnTo>
                  <a:lnTo>
                    <a:pt x="2655" y="340"/>
                  </a:lnTo>
                  <a:lnTo>
                    <a:pt x="2662" y="340"/>
                  </a:lnTo>
                  <a:lnTo>
                    <a:pt x="2662" y="340"/>
                  </a:lnTo>
                  <a:lnTo>
                    <a:pt x="2662" y="340"/>
                  </a:lnTo>
                  <a:lnTo>
                    <a:pt x="2662" y="340"/>
                  </a:lnTo>
                  <a:lnTo>
                    <a:pt x="2670" y="340"/>
                  </a:lnTo>
                  <a:lnTo>
                    <a:pt x="2670" y="340"/>
                  </a:lnTo>
                  <a:lnTo>
                    <a:pt x="2677" y="340"/>
                  </a:lnTo>
                  <a:lnTo>
                    <a:pt x="2677" y="340"/>
                  </a:lnTo>
                  <a:lnTo>
                    <a:pt x="2684" y="340"/>
                  </a:lnTo>
                  <a:lnTo>
                    <a:pt x="2684" y="340"/>
                  </a:lnTo>
                  <a:lnTo>
                    <a:pt x="2684" y="340"/>
                  </a:lnTo>
                  <a:lnTo>
                    <a:pt x="2684" y="340"/>
                  </a:lnTo>
                  <a:lnTo>
                    <a:pt x="2692" y="340"/>
                  </a:lnTo>
                  <a:lnTo>
                    <a:pt x="2692" y="340"/>
                  </a:lnTo>
                  <a:lnTo>
                    <a:pt x="2699" y="340"/>
                  </a:lnTo>
                  <a:lnTo>
                    <a:pt x="2699" y="340"/>
                  </a:lnTo>
                  <a:lnTo>
                    <a:pt x="2707" y="340"/>
                  </a:lnTo>
                  <a:lnTo>
                    <a:pt x="2707" y="340"/>
                  </a:lnTo>
                  <a:lnTo>
                    <a:pt x="2707" y="340"/>
                  </a:lnTo>
                  <a:lnTo>
                    <a:pt x="2707" y="340"/>
                  </a:lnTo>
                  <a:lnTo>
                    <a:pt x="2714" y="340"/>
                  </a:lnTo>
                  <a:lnTo>
                    <a:pt x="2714" y="340"/>
                  </a:lnTo>
                  <a:lnTo>
                    <a:pt x="2721" y="340"/>
                  </a:lnTo>
                  <a:lnTo>
                    <a:pt x="2721" y="340"/>
                  </a:lnTo>
                  <a:lnTo>
                    <a:pt x="2729" y="340"/>
                  </a:lnTo>
                  <a:lnTo>
                    <a:pt x="2729" y="340"/>
                  </a:lnTo>
                  <a:lnTo>
                    <a:pt x="2736" y="340"/>
                  </a:lnTo>
                  <a:lnTo>
                    <a:pt x="2736" y="332"/>
                  </a:lnTo>
                  <a:lnTo>
                    <a:pt x="2736" y="332"/>
                  </a:lnTo>
                  <a:lnTo>
                    <a:pt x="2736" y="332"/>
                  </a:lnTo>
                  <a:lnTo>
                    <a:pt x="2743" y="332"/>
                  </a:lnTo>
                  <a:lnTo>
                    <a:pt x="2743" y="332"/>
                  </a:lnTo>
                  <a:lnTo>
                    <a:pt x="2751" y="332"/>
                  </a:lnTo>
                  <a:lnTo>
                    <a:pt x="2751" y="332"/>
                  </a:lnTo>
                  <a:lnTo>
                    <a:pt x="2758" y="332"/>
                  </a:lnTo>
                  <a:lnTo>
                    <a:pt x="2758" y="332"/>
                  </a:lnTo>
                  <a:lnTo>
                    <a:pt x="2758" y="332"/>
                  </a:lnTo>
                  <a:lnTo>
                    <a:pt x="2758" y="332"/>
                  </a:lnTo>
                  <a:lnTo>
                    <a:pt x="2766" y="332"/>
                  </a:lnTo>
                  <a:lnTo>
                    <a:pt x="2766" y="332"/>
                  </a:lnTo>
                  <a:lnTo>
                    <a:pt x="2773" y="332"/>
                  </a:lnTo>
                  <a:lnTo>
                    <a:pt x="2773" y="332"/>
                  </a:lnTo>
                  <a:lnTo>
                    <a:pt x="2780" y="332"/>
                  </a:lnTo>
                  <a:lnTo>
                    <a:pt x="2780" y="332"/>
                  </a:lnTo>
                  <a:lnTo>
                    <a:pt x="2780" y="332"/>
                  </a:lnTo>
                  <a:lnTo>
                    <a:pt x="2780" y="332"/>
                  </a:lnTo>
                  <a:lnTo>
                    <a:pt x="2788" y="332"/>
                  </a:lnTo>
                  <a:lnTo>
                    <a:pt x="2788" y="332"/>
                  </a:lnTo>
                  <a:lnTo>
                    <a:pt x="2795" y="332"/>
                  </a:lnTo>
                  <a:lnTo>
                    <a:pt x="2795" y="332"/>
                  </a:lnTo>
                  <a:lnTo>
                    <a:pt x="2802" y="332"/>
                  </a:lnTo>
                  <a:lnTo>
                    <a:pt x="2802" y="332"/>
                  </a:lnTo>
                  <a:lnTo>
                    <a:pt x="2810" y="332"/>
                  </a:lnTo>
                  <a:lnTo>
                    <a:pt x="2810" y="332"/>
                  </a:lnTo>
                  <a:lnTo>
                    <a:pt x="2810" y="332"/>
                  </a:lnTo>
                  <a:lnTo>
                    <a:pt x="2810" y="325"/>
                  </a:lnTo>
                  <a:lnTo>
                    <a:pt x="2817" y="325"/>
                  </a:lnTo>
                  <a:lnTo>
                    <a:pt x="2817" y="325"/>
                  </a:lnTo>
                  <a:lnTo>
                    <a:pt x="2825" y="325"/>
                  </a:lnTo>
                  <a:lnTo>
                    <a:pt x="2825" y="325"/>
                  </a:lnTo>
                  <a:lnTo>
                    <a:pt x="2832" y="325"/>
                  </a:lnTo>
                  <a:lnTo>
                    <a:pt x="2832" y="325"/>
                  </a:lnTo>
                  <a:lnTo>
                    <a:pt x="2832" y="325"/>
                  </a:lnTo>
                  <a:lnTo>
                    <a:pt x="2832" y="325"/>
                  </a:lnTo>
                  <a:lnTo>
                    <a:pt x="2839" y="325"/>
                  </a:lnTo>
                  <a:lnTo>
                    <a:pt x="2839" y="325"/>
                  </a:lnTo>
                  <a:lnTo>
                    <a:pt x="2847" y="325"/>
                  </a:lnTo>
                  <a:lnTo>
                    <a:pt x="2847" y="317"/>
                  </a:lnTo>
                  <a:lnTo>
                    <a:pt x="2854" y="317"/>
                  </a:lnTo>
                  <a:lnTo>
                    <a:pt x="2854" y="310"/>
                  </a:lnTo>
                  <a:lnTo>
                    <a:pt x="2854" y="310"/>
                  </a:lnTo>
                  <a:lnTo>
                    <a:pt x="2854" y="310"/>
                  </a:lnTo>
                  <a:lnTo>
                    <a:pt x="2861" y="310"/>
                  </a:lnTo>
                  <a:lnTo>
                    <a:pt x="2861" y="310"/>
                  </a:lnTo>
                  <a:lnTo>
                    <a:pt x="2869" y="310"/>
                  </a:lnTo>
                  <a:lnTo>
                    <a:pt x="2869" y="310"/>
                  </a:lnTo>
                  <a:lnTo>
                    <a:pt x="2876" y="310"/>
                  </a:lnTo>
                  <a:lnTo>
                    <a:pt x="2876" y="310"/>
                  </a:lnTo>
                  <a:lnTo>
                    <a:pt x="2876" y="310"/>
                  </a:lnTo>
                  <a:lnTo>
                    <a:pt x="2876" y="310"/>
                  </a:lnTo>
                  <a:lnTo>
                    <a:pt x="2884" y="310"/>
                  </a:lnTo>
                  <a:lnTo>
                    <a:pt x="2884" y="310"/>
                  </a:lnTo>
                  <a:lnTo>
                    <a:pt x="2891" y="310"/>
                  </a:lnTo>
                  <a:lnTo>
                    <a:pt x="2891" y="310"/>
                  </a:lnTo>
                  <a:lnTo>
                    <a:pt x="2898" y="310"/>
                  </a:lnTo>
                  <a:lnTo>
                    <a:pt x="2898" y="303"/>
                  </a:lnTo>
                  <a:lnTo>
                    <a:pt x="2906" y="303"/>
                  </a:lnTo>
                  <a:lnTo>
                    <a:pt x="2906" y="303"/>
                  </a:lnTo>
                  <a:lnTo>
                    <a:pt x="2906" y="303"/>
                  </a:lnTo>
                  <a:lnTo>
                    <a:pt x="2906" y="303"/>
                  </a:lnTo>
                  <a:lnTo>
                    <a:pt x="2913" y="303"/>
                  </a:lnTo>
                  <a:lnTo>
                    <a:pt x="2913" y="303"/>
                  </a:lnTo>
                  <a:lnTo>
                    <a:pt x="2920" y="303"/>
                  </a:lnTo>
                  <a:lnTo>
                    <a:pt x="2920" y="295"/>
                  </a:lnTo>
                  <a:lnTo>
                    <a:pt x="2928" y="295"/>
                  </a:lnTo>
                  <a:lnTo>
                    <a:pt x="2928" y="295"/>
                  </a:lnTo>
                  <a:lnTo>
                    <a:pt x="2928" y="295"/>
                  </a:lnTo>
                  <a:lnTo>
                    <a:pt x="2928" y="288"/>
                  </a:lnTo>
                  <a:lnTo>
                    <a:pt x="2935" y="288"/>
                  </a:lnTo>
                  <a:lnTo>
                    <a:pt x="2935" y="281"/>
                  </a:lnTo>
                  <a:lnTo>
                    <a:pt x="2943" y="281"/>
                  </a:lnTo>
                  <a:lnTo>
                    <a:pt x="2943" y="281"/>
                  </a:lnTo>
                  <a:lnTo>
                    <a:pt x="2950" y="281"/>
                  </a:lnTo>
                  <a:lnTo>
                    <a:pt x="2950" y="281"/>
                  </a:lnTo>
                  <a:lnTo>
                    <a:pt x="2950" y="281"/>
                  </a:lnTo>
                  <a:lnTo>
                    <a:pt x="2950" y="281"/>
                  </a:lnTo>
                  <a:lnTo>
                    <a:pt x="2957" y="281"/>
                  </a:lnTo>
                  <a:lnTo>
                    <a:pt x="2957" y="281"/>
                  </a:lnTo>
                  <a:lnTo>
                    <a:pt x="2965" y="281"/>
                  </a:lnTo>
                  <a:lnTo>
                    <a:pt x="2965" y="281"/>
                  </a:lnTo>
                  <a:lnTo>
                    <a:pt x="2972" y="281"/>
                  </a:lnTo>
                  <a:lnTo>
                    <a:pt x="2972" y="266"/>
                  </a:lnTo>
                  <a:lnTo>
                    <a:pt x="2979" y="266"/>
                  </a:lnTo>
                  <a:lnTo>
                    <a:pt x="2979" y="266"/>
                  </a:lnTo>
                  <a:lnTo>
                    <a:pt x="2979" y="266"/>
                  </a:lnTo>
                  <a:lnTo>
                    <a:pt x="2979" y="266"/>
                  </a:lnTo>
                  <a:lnTo>
                    <a:pt x="2987" y="266"/>
                  </a:lnTo>
                  <a:lnTo>
                    <a:pt x="2987" y="266"/>
                  </a:lnTo>
                  <a:lnTo>
                    <a:pt x="2994" y="266"/>
                  </a:lnTo>
                  <a:lnTo>
                    <a:pt x="2994" y="266"/>
                  </a:lnTo>
                  <a:lnTo>
                    <a:pt x="3002" y="266"/>
                  </a:lnTo>
                  <a:lnTo>
                    <a:pt x="3002" y="266"/>
                  </a:lnTo>
                  <a:lnTo>
                    <a:pt x="3002" y="266"/>
                  </a:lnTo>
                  <a:lnTo>
                    <a:pt x="3002" y="258"/>
                  </a:lnTo>
                  <a:lnTo>
                    <a:pt x="3009" y="258"/>
                  </a:lnTo>
                  <a:lnTo>
                    <a:pt x="3009" y="258"/>
                  </a:lnTo>
                  <a:lnTo>
                    <a:pt x="3016" y="258"/>
                  </a:lnTo>
                  <a:lnTo>
                    <a:pt x="3016" y="251"/>
                  </a:lnTo>
                  <a:lnTo>
                    <a:pt x="3024" y="251"/>
                  </a:lnTo>
                  <a:lnTo>
                    <a:pt x="3024" y="251"/>
                  </a:lnTo>
                  <a:lnTo>
                    <a:pt x="3024" y="251"/>
                  </a:lnTo>
                  <a:lnTo>
                    <a:pt x="3024" y="244"/>
                  </a:lnTo>
                  <a:lnTo>
                    <a:pt x="3031" y="244"/>
                  </a:lnTo>
                  <a:lnTo>
                    <a:pt x="3031" y="244"/>
                  </a:lnTo>
                  <a:lnTo>
                    <a:pt x="3038" y="244"/>
                  </a:lnTo>
                  <a:lnTo>
                    <a:pt x="3038" y="244"/>
                  </a:lnTo>
                  <a:lnTo>
                    <a:pt x="3046" y="244"/>
                  </a:lnTo>
                  <a:lnTo>
                    <a:pt x="3046" y="236"/>
                  </a:lnTo>
                  <a:lnTo>
                    <a:pt x="3046" y="236"/>
                  </a:lnTo>
                  <a:lnTo>
                    <a:pt x="3046" y="236"/>
                  </a:lnTo>
                  <a:lnTo>
                    <a:pt x="3053" y="236"/>
                  </a:lnTo>
                  <a:lnTo>
                    <a:pt x="3053" y="236"/>
                  </a:lnTo>
                  <a:lnTo>
                    <a:pt x="3061" y="236"/>
                  </a:lnTo>
                  <a:lnTo>
                    <a:pt x="3061" y="229"/>
                  </a:lnTo>
                  <a:lnTo>
                    <a:pt x="3068" y="229"/>
                  </a:lnTo>
                  <a:lnTo>
                    <a:pt x="3068" y="229"/>
                  </a:lnTo>
                  <a:lnTo>
                    <a:pt x="3075" y="229"/>
                  </a:lnTo>
                  <a:lnTo>
                    <a:pt x="3075" y="229"/>
                  </a:lnTo>
                  <a:lnTo>
                    <a:pt x="3075" y="229"/>
                  </a:lnTo>
                  <a:lnTo>
                    <a:pt x="3075" y="222"/>
                  </a:lnTo>
                  <a:lnTo>
                    <a:pt x="3083" y="222"/>
                  </a:lnTo>
                  <a:lnTo>
                    <a:pt x="3083" y="222"/>
                  </a:lnTo>
                  <a:lnTo>
                    <a:pt x="3090" y="222"/>
                  </a:lnTo>
                  <a:lnTo>
                    <a:pt x="3090" y="214"/>
                  </a:lnTo>
                  <a:lnTo>
                    <a:pt x="3097" y="214"/>
                  </a:lnTo>
                  <a:lnTo>
                    <a:pt x="3097" y="207"/>
                  </a:lnTo>
                  <a:lnTo>
                    <a:pt x="3097" y="207"/>
                  </a:lnTo>
                  <a:lnTo>
                    <a:pt x="3097" y="207"/>
                  </a:lnTo>
                  <a:lnTo>
                    <a:pt x="3105" y="207"/>
                  </a:lnTo>
                  <a:lnTo>
                    <a:pt x="3105" y="207"/>
                  </a:lnTo>
                  <a:lnTo>
                    <a:pt x="3112" y="207"/>
                  </a:lnTo>
                  <a:lnTo>
                    <a:pt x="3112" y="207"/>
                  </a:lnTo>
                  <a:lnTo>
                    <a:pt x="3120" y="207"/>
                  </a:lnTo>
                  <a:lnTo>
                    <a:pt x="3120" y="207"/>
                  </a:lnTo>
                  <a:lnTo>
                    <a:pt x="3120" y="207"/>
                  </a:lnTo>
                  <a:lnTo>
                    <a:pt x="3120" y="200"/>
                  </a:lnTo>
                  <a:lnTo>
                    <a:pt x="3127" y="200"/>
                  </a:lnTo>
                  <a:lnTo>
                    <a:pt x="3127" y="192"/>
                  </a:lnTo>
                  <a:lnTo>
                    <a:pt x="3134" y="192"/>
                  </a:lnTo>
                  <a:lnTo>
                    <a:pt x="3134" y="185"/>
                  </a:lnTo>
                  <a:lnTo>
                    <a:pt x="3142" y="185"/>
                  </a:lnTo>
                  <a:lnTo>
                    <a:pt x="3142" y="185"/>
                  </a:lnTo>
                  <a:lnTo>
                    <a:pt x="3149" y="185"/>
                  </a:lnTo>
                  <a:lnTo>
                    <a:pt x="3149" y="185"/>
                  </a:lnTo>
                  <a:lnTo>
                    <a:pt x="3149" y="185"/>
                  </a:lnTo>
                  <a:lnTo>
                    <a:pt x="3149" y="185"/>
                  </a:lnTo>
                  <a:lnTo>
                    <a:pt x="3156" y="185"/>
                  </a:lnTo>
                  <a:lnTo>
                    <a:pt x="3156" y="185"/>
                  </a:lnTo>
                  <a:lnTo>
                    <a:pt x="3164" y="185"/>
                  </a:lnTo>
                  <a:lnTo>
                    <a:pt x="3164" y="177"/>
                  </a:lnTo>
                  <a:lnTo>
                    <a:pt x="3171" y="177"/>
                  </a:lnTo>
                  <a:lnTo>
                    <a:pt x="3171" y="170"/>
                  </a:lnTo>
                  <a:lnTo>
                    <a:pt x="3171" y="170"/>
                  </a:lnTo>
                  <a:lnTo>
                    <a:pt x="3171" y="163"/>
                  </a:lnTo>
                  <a:lnTo>
                    <a:pt x="3179" y="163"/>
                  </a:lnTo>
                  <a:lnTo>
                    <a:pt x="3179" y="163"/>
                  </a:lnTo>
                  <a:lnTo>
                    <a:pt x="3186" y="163"/>
                  </a:lnTo>
                  <a:lnTo>
                    <a:pt x="3186" y="155"/>
                  </a:lnTo>
                  <a:lnTo>
                    <a:pt x="3193" y="155"/>
                  </a:lnTo>
                  <a:lnTo>
                    <a:pt x="3193" y="155"/>
                  </a:lnTo>
                  <a:lnTo>
                    <a:pt x="3193" y="155"/>
                  </a:lnTo>
                  <a:lnTo>
                    <a:pt x="3193" y="155"/>
                  </a:lnTo>
                  <a:lnTo>
                    <a:pt x="3201" y="155"/>
                  </a:lnTo>
                  <a:lnTo>
                    <a:pt x="3201" y="148"/>
                  </a:lnTo>
                  <a:lnTo>
                    <a:pt x="3208" y="148"/>
                  </a:lnTo>
                  <a:lnTo>
                    <a:pt x="3208" y="141"/>
                  </a:lnTo>
                  <a:lnTo>
                    <a:pt x="3215" y="141"/>
                  </a:lnTo>
                  <a:lnTo>
                    <a:pt x="3215" y="141"/>
                  </a:lnTo>
                  <a:lnTo>
                    <a:pt x="3215" y="141"/>
                  </a:lnTo>
                  <a:lnTo>
                    <a:pt x="3215" y="141"/>
                  </a:lnTo>
                  <a:lnTo>
                    <a:pt x="3223" y="141"/>
                  </a:lnTo>
                  <a:lnTo>
                    <a:pt x="3223" y="141"/>
                  </a:lnTo>
                  <a:lnTo>
                    <a:pt x="3230" y="141"/>
                  </a:lnTo>
                  <a:lnTo>
                    <a:pt x="3230" y="141"/>
                  </a:lnTo>
                  <a:lnTo>
                    <a:pt x="3238" y="141"/>
                  </a:lnTo>
                  <a:lnTo>
                    <a:pt x="3238" y="141"/>
                  </a:lnTo>
                  <a:lnTo>
                    <a:pt x="3245" y="141"/>
                  </a:lnTo>
                  <a:lnTo>
                    <a:pt x="3245" y="133"/>
                  </a:lnTo>
                  <a:lnTo>
                    <a:pt x="3245" y="133"/>
                  </a:lnTo>
                  <a:lnTo>
                    <a:pt x="3245" y="126"/>
                  </a:lnTo>
                  <a:lnTo>
                    <a:pt x="3252" y="126"/>
                  </a:lnTo>
                  <a:lnTo>
                    <a:pt x="3252" y="126"/>
                  </a:lnTo>
                  <a:lnTo>
                    <a:pt x="3260" y="126"/>
                  </a:lnTo>
                  <a:lnTo>
                    <a:pt x="3260" y="126"/>
                  </a:lnTo>
                  <a:lnTo>
                    <a:pt x="3267" y="126"/>
                  </a:lnTo>
                  <a:lnTo>
                    <a:pt x="3267" y="126"/>
                  </a:lnTo>
                  <a:lnTo>
                    <a:pt x="3267" y="126"/>
                  </a:lnTo>
                  <a:lnTo>
                    <a:pt x="3267" y="126"/>
                  </a:lnTo>
                  <a:lnTo>
                    <a:pt x="3274" y="126"/>
                  </a:lnTo>
                  <a:lnTo>
                    <a:pt x="3274" y="118"/>
                  </a:lnTo>
                  <a:lnTo>
                    <a:pt x="3282" y="118"/>
                  </a:lnTo>
                  <a:lnTo>
                    <a:pt x="3282" y="118"/>
                  </a:lnTo>
                  <a:lnTo>
                    <a:pt x="3289" y="118"/>
                  </a:lnTo>
                  <a:lnTo>
                    <a:pt x="3289" y="118"/>
                  </a:lnTo>
                  <a:lnTo>
                    <a:pt x="3289" y="118"/>
                  </a:lnTo>
                  <a:lnTo>
                    <a:pt x="3289" y="118"/>
                  </a:lnTo>
                  <a:lnTo>
                    <a:pt x="3297" y="118"/>
                  </a:lnTo>
                  <a:lnTo>
                    <a:pt x="3297" y="111"/>
                  </a:lnTo>
                  <a:lnTo>
                    <a:pt x="3304" y="111"/>
                  </a:lnTo>
                  <a:lnTo>
                    <a:pt x="3304" y="111"/>
                  </a:lnTo>
                  <a:lnTo>
                    <a:pt x="3311" y="111"/>
                  </a:lnTo>
                  <a:lnTo>
                    <a:pt x="3311" y="111"/>
                  </a:lnTo>
                  <a:lnTo>
                    <a:pt x="3311" y="111"/>
                  </a:lnTo>
                  <a:lnTo>
                    <a:pt x="3311" y="111"/>
                  </a:lnTo>
                  <a:lnTo>
                    <a:pt x="3319" y="111"/>
                  </a:lnTo>
                  <a:lnTo>
                    <a:pt x="3319" y="104"/>
                  </a:lnTo>
                  <a:lnTo>
                    <a:pt x="3326" y="104"/>
                  </a:lnTo>
                  <a:lnTo>
                    <a:pt x="3326" y="104"/>
                  </a:lnTo>
                  <a:lnTo>
                    <a:pt x="3333" y="104"/>
                  </a:lnTo>
                  <a:lnTo>
                    <a:pt x="3333" y="104"/>
                  </a:lnTo>
                  <a:lnTo>
                    <a:pt x="3341" y="104"/>
                  </a:lnTo>
                  <a:lnTo>
                    <a:pt x="3341" y="104"/>
                  </a:lnTo>
                  <a:lnTo>
                    <a:pt x="3341" y="104"/>
                  </a:lnTo>
                  <a:lnTo>
                    <a:pt x="3341" y="104"/>
                  </a:lnTo>
                  <a:lnTo>
                    <a:pt x="3348" y="104"/>
                  </a:lnTo>
                  <a:lnTo>
                    <a:pt x="3348" y="104"/>
                  </a:lnTo>
                  <a:lnTo>
                    <a:pt x="3356" y="104"/>
                  </a:lnTo>
                  <a:lnTo>
                    <a:pt x="3356" y="104"/>
                  </a:lnTo>
                  <a:lnTo>
                    <a:pt x="3363" y="104"/>
                  </a:lnTo>
                  <a:lnTo>
                    <a:pt x="3363" y="104"/>
                  </a:lnTo>
                  <a:lnTo>
                    <a:pt x="3363" y="104"/>
                  </a:lnTo>
                  <a:lnTo>
                    <a:pt x="3363" y="96"/>
                  </a:lnTo>
                  <a:lnTo>
                    <a:pt x="3370" y="96"/>
                  </a:lnTo>
                  <a:lnTo>
                    <a:pt x="3370" y="96"/>
                  </a:lnTo>
                  <a:lnTo>
                    <a:pt x="3378" y="96"/>
                  </a:lnTo>
                  <a:lnTo>
                    <a:pt x="3378" y="96"/>
                  </a:lnTo>
                  <a:lnTo>
                    <a:pt x="3385" y="96"/>
                  </a:lnTo>
                  <a:lnTo>
                    <a:pt x="3385" y="89"/>
                  </a:lnTo>
                  <a:lnTo>
                    <a:pt x="3385" y="89"/>
                  </a:lnTo>
                  <a:lnTo>
                    <a:pt x="3385" y="89"/>
                  </a:lnTo>
                  <a:lnTo>
                    <a:pt x="3392" y="89"/>
                  </a:lnTo>
                  <a:lnTo>
                    <a:pt x="3392" y="89"/>
                  </a:lnTo>
                  <a:lnTo>
                    <a:pt x="3400" y="89"/>
                  </a:lnTo>
                  <a:lnTo>
                    <a:pt x="3400" y="89"/>
                  </a:lnTo>
                  <a:lnTo>
                    <a:pt x="3407" y="89"/>
                  </a:lnTo>
                  <a:lnTo>
                    <a:pt x="3407" y="82"/>
                  </a:lnTo>
                  <a:lnTo>
                    <a:pt x="3415" y="82"/>
                  </a:lnTo>
                  <a:lnTo>
                    <a:pt x="3415" y="82"/>
                  </a:lnTo>
                  <a:lnTo>
                    <a:pt x="3415" y="82"/>
                  </a:lnTo>
                  <a:lnTo>
                    <a:pt x="3415" y="82"/>
                  </a:lnTo>
                  <a:lnTo>
                    <a:pt x="3422" y="82"/>
                  </a:lnTo>
                  <a:lnTo>
                    <a:pt x="3422" y="82"/>
                  </a:lnTo>
                  <a:lnTo>
                    <a:pt x="3429" y="82"/>
                  </a:lnTo>
                  <a:lnTo>
                    <a:pt x="3429" y="74"/>
                  </a:lnTo>
                  <a:lnTo>
                    <a:pt x="3437" y="74"/>
                  </a:lnTo>
                  <a:lnTo>
                    <a:pt x="3437" y="74"/>
                  </a:lnTo>
                  <a:lnTo>
                    <a:pt x="3437" y="74"/>
                  </a:lnTo>
                  <a:lnTo>
                    <a:pt x="3437" y="74"/>
                  </a:lnTo>
                  <a:lnTo>
                    <a:pt x="3444" y="74"/>
                  </a:lnTo>
                  <a:lnTo>
                    <a:pt x="3444" y="74"/>
                  </a:lnTo>
                  <a:lnTo>
                    <a:pt x="3451" y="74"/>
                  </a:lnTo>
                  <a:lnTo>
                    <a:pt x="3451" y="74"/>
                  </a:lnTo>
                  <a:lnTo>
                    <a:pt x="3459" y="74"/>
                  </a:lnTo>
                  <a:lnTo>
                    <a:pt x="3459" y="74"/>
                  </a:lnTo>
                  <a:lnTo>
                    <a:pt x="3459" y="74"/>
                  </a:lnTo>
                  <a:lnTo>
                    <a:pt x="3459" y="74"/>
                  </a:lnTo>
                  <a:lnTo>
                    <a:pt x="3466" y="74"/>
                  </a:lnTo>
                  <a:lnTo>
                    <a:pt x="3466" y="74"/>
                  </a:lnTo>
                  <a:lnTo>
                    <a:pt x="3474" y="74"/>
                  </a:lnTo>
                  <a:lnTo>
                    <a:pt x="3474" y="74"/>
                  </a:lnTo>
                  <a:lnTo>
                    <a:pt x="3481" y="74"/>
                  </a:lnTo>
                  <a:lnTo>
                    <a:pt x="3481" y="74"/>
                  </a:lnTo>
                  <a:lnTo>
                    <a:pt x="3481" y="74"/>
                  </a:lnTo>
                  <a:lnTo>
                    <a:pt x="3481" y="74"/>
                  </a:lnTo>
                  <a:lnTo>
                    <a:pt x="3488" y="74"/>
                  </a:lnTo>
                  <a:lnTo>
                    <a:pt x="3488" y="74"/>
                  </a:lnTo>
                  <a:lnTo>
                    <a:pt x="3496" y="74"/>
                  </a:lnTo>
                  <a:lnTo>
                    <a:pt x="3496" y="74"/>
                  </a:lnTo>
                  <a:lnTo>
                    <a:pt x="3503" y="74"/>
                  </a:lnTo>
                  <a:lnTo>
                    <a:pt x="3503" y="74"/>
                  </a:lnTo>
                  <a:lnTo>
                    <a:pt x="3510" y="74"/>
                  </a:lnTo>
                  <a:lnTo>
                    <a:pt x="3510" y="74"/>
                  </a:lnTo>
                  <a:lnTo>
                    <a:pt x="3510" y="74"/>
                  </a:lnTo>
                  <a:lnTo>
                    <a:pt x="3510" y="74"/>
                  </a:lnTo>
                  <a:lnTo>
                    <a:pt x="3518" y="74"/>
                  </a:lnTo>
                  <a:lnTo>
                    <a:pt x="3518" y="74"/>
                  </a:lnTo>
                  <a:lnTo>
                    <a:pt x="3525" y="74"/>
                  </a:lnTo>
                  <a:lnTo>
                    <a:pt x="3525" y="74"/>
                  </a:lnTo>
                  <a:lnTo>
                    <a:pt x="3533" y="74"/>
                  </a:lnTo>
                  <a:lnTo>
                    <a:pt x="3533" y="74"/>
                  </a:lnTo>
                  <a:lnTo>
                    <a:pt x="3533" y="74"/>
                  </a:lnTo>
                  <a:lnTo>
                    <a:pt x="3533" y="74"/>
                  </a:lnTo>
                  <a:lnTo>
                    <a:pt x="3540" y="74"/>
                  </a:lnTo>
                  <a:lnTo>
                    <a:pt x="3540" y="74"/>
                  </a:lnTo>
                  <a:lnTo>
                    <a:pt x="3547" y="74"/>
                  </a:lnTo>
                  <a:lnTo>
                    <a:pt x="3547" y="74"/>
                  </a:lnTo>
                  <a:lnTo>
                    <a:pt x="3555" y="74"/>
                  </a:lnTo>
                  <a:lnTo>
                    <a:pt x="3555" y="74"/>
                  </a:lnTo>
                  <a:lnTo>
                    <a:pt x="3555" y="74"/>
                  </a:lnTo>
                  <a:lnTo>
                    <a:pt x="3555" y="67"/>
                  </a:lnTo>
                  <a:lnTo>
                    <a:pt x="3562" y="67"/>
                  </a:lnTo>
                  <a:lnTo>
                    <a:pt x="3562" y="67"/>
                  </a:lnTo>
                  <a:lnTo>
                    <a:pt x="3569" y="67"/>
                  </a:lnTo>
                  <a:lnTo>
                    <a:pt x="3569" y="67"/>
                  </a:lnTo>
                  <a:lnTo>
                    <a:pt x="3577" y="67"/>
                  </a:lnTo>
                  <a:lnTo>
                    <a:pt x="3577" y="67"/>
                  </a:lnTo>
                  <a:lnTo>
                    <a:pt x="3584" y="67"/>
                  </a:lnTo>
                  <a:lnTo>
                    <a:pt x="3584" y="59"/>
                  </a:lnTo>
                  <a:lnTo>
                    <a:pt x="3584" y="59"/>
                  </a:lnTo>
                  <a:lnTo>
                    <a:pt x="3584" y="59"/>
                  </a:lnTo>
                  <a:lnTo>
                    <a:pt x="3592" y="59"/>
                  </a:lnTo>
                  <a:lnTo>
                    <a:pt x="3592" y="59"/>
                  </a:lnTo>
                  <a:lnTo>
                    <a:pt x="3599" y="59"/>
                  </a:lnTo>
                  <a:lnTo>
                    <a:pt x="3599" y="59"/>
                  </a:lnTo>
                  <a:lnTo>
                    <a:pt x="3606" y="59"/>
                  </a:lnTo>
                  <a:lnTo>
                    <a:pt x="3606" y="52"/>
                  </a:lnTo>
                  <a:lnTo>
                    <a:pt x="3606" y="52"/>
                  </a:lnTo>
                  <a:lnTo>
                    <a:pt x="3606" y="52"/>
                  </a:lnTo>
                  <a:lnTo>
                    <a:pt x="3614" y="52"/>
                  </a:lnTo>
                  <a:lnTo>
                    <a:pt x="3614" y="52"/>
                  </a:lnTo>
                  <a:lnTo>
                    <a:pt x="3621" y="52"/>
                  </a:lnTo>
                  <a:lnTo>
                    <a:pt x="3621" y="52"/>
                  </a:lnTo>
                  <a:lnTo>
                    <a:pt x="3628" y="52"/>
                  </a:lnTo>
                  <a:lnTo>
                    <a:pt x="3628" y="52"/>
                  </a:lnTo>
                  <a:lnTo>
                    <a:pt x="3628" y="52"/>
                  </a:lnTo>
                  <a:lnTo>
                    <a:pt x="3628" y="52"/>
                  </a:lnTo>
                  <a:lnTo>
                    <a:pt x="3636" y="52"/>
                  </a:lnTo>
                  <a:lnTo>
                    <a:pt x="3636" y="52"/>
                  </a:lnTo>
                  <a:lnTo>
                    <a:pt x="3643" y="52"/>
                  </a:lnTo>
                  <a:lnTo>
                    <a:pt x="3643" y="52"/>
                  </a:lnTo>
                  <a:lnTo>
                    <a:pt x="3651" y="52"/>
                  </a:lnTo>
                  <a:lnTo>
                    <a:pt x="3651" y="45"/>
                  </a:lnTo>
                  <a:lnTo>
                    <a:pt x="3651" y="45"/>
                  </a:lnTo>
                  <a:lnTo>
                    <a:pt x="3651" y="45"/>
                  </a:lnTo>
                  <a:lnTo>
                    <a:pt x="3658" y="45"/>
                  </a:lnTo>
                  <a:lnTo>
                    <a:pt x="3658" y="45"/>
                  </a:lnTo>
                  <a:lnTo>
                    <a:pt x="3665" y="45"/>
                  </a:lnTo>
                  <a:lnTo>
                    <a:pt x="3665" y="45"/>
                  </a:lnTo>
                  <a:lnTo>
                    <a:pt x="3673" y="45"/>
                  </a:lnTo>
                  <a:lnTo>
                    <a:pt x="3673" y="37"/>
                  </a:lnTo>
                  <a:lnTo>
                    <a:pt x="3680" y="37"/>
                  </a:lnTo>
                  <a:lnTo>
                    <a:pt x="3680" y="37"/>
                  </a:lnTo>
                  <a:lnTo>
                    <a:pt x="3680" y="37"/>
                  </a:lnTo>
                  <a:lnTo>
                    <a:pt x="3680" y="37"/>
                  </a:lnTo>
                  <a:lnTo>
                    <a:pt x="3687" y="37"/>
                  </a:lnTo>
                  <a:lnTo>
                    <a:pt x="3687" y="37"/>
                  </a:lnTo>
                  <a:lnTo>
                    <a:pt x="3695" y="37"/>
                  </a:lnTo>
                  <a:lnTo>
                    <a:pt x="3695" y="37"/>
                  </a:lnTo>
                  <a:lnTo>
                    <a:pt x="3702" y="37"/>
                  </a:lnTo>
                  <a:lnTo>
                    <a:pt x="3702" y="37"/>
                  </a:lnTo>
                  <a:lnTo>
                    <a:pt x="3702" y="37"/>
                  </a:lnTo>
                  <a:lnTo>
                    <a:pt x="3702" y="37"/>
                  </a:lnTo>
                  <a:lnTo>
                    <a:pt x="3710" y="37"/>
                  </a:lnTo>
                  <a:lnTo>
                    <a:pt x="3710" y="37"/>
                  </a:lnTo>
                  <a:lnTo>
                    <a:pt x="3717" y="37"/>
                  </a:lnTo>
                  <a:lnTo>
                    <a:pt x="3717" y="37"/>
                  </a:lnTo>
                  <a:lnTo>
                    <a:pt x="3724" y="37"/>
                  </a:lnTo>
                  <a:lnTo>
                    <a:pt x="3724" y="37"/>
                  </a:lnTo>
                  <a:lnTo>
                    <a:pt x="3724" y="37"/>
                  </a:lnTo>
                  <a:lnTo>
                    <a:pt x="3724" y="37"/>
                  </a:lnTo>
                  <a:lnTo>
                    <a:pt x="3732" y="37"/>
                  </a:lnTo>
                  <a:lnTo>
                    <a:pt x="3732" y="37"/>
                  </a:lnTo>
                  <a:lnTo>
                    <a:pt x="3739" y="37"/>
                  </a:lnTo>
                  <a:lnTo>
                    <a:pt x="3739" y="30"/>
                  </a:lnTo>
                  <a:lnTo>
                    <a:pt x="3746" y="30"/>
                  </a:lnTo>
                  <a:lnTo>
                    <a:pt x="3746" y="30"/>
                  </a:lnTo>
                  <a:lnTo>
                    <a:pt x="3754" y="30"/>
                  </a:lnTo>
                  <a:lnTo>
                    <a:pt x="3754" y="30"/>
                  </a:lnTo>
                  <a:lnTo>
                    <a:pt x="3754" y="30"/>
                  </a:lnTo>
                  <a:lnTo>
                    <a:pt x="3754" y="30"/>
                  </a:lnTo>
                  <a:lnTo>
                    <a:pt x="3761" y="30"/>
                  </a:lnTo>
                  <a:lnTo>
                    <a:pt x="3761" y="30"/>
                  </a:lnTo>
                  <a:lnTo>
                    <a:pt x="3769" y="30"/>
                  </a:lnTo>
                  <a:lnTo>
                    <a:pt x="3769" y="30"/>
                  </a:lnTo>
                  <a:lnTo>
                    <a:pt x="3776" y="30"/>
                  </a:lnTo>
                  <a:lnTo>
                    <a:pt x="3776" y="23"/>
                  </a:lnTo>
                  <a:lnTo>
                    <a:pt x="3776" y="23"/>
                  </a:lnTo>
                  <a:lnTo>
                    <a:pt x="3776" y="23"/>
                  </a:lnTo>
                  <a:lnTo>
                    <a:pt x="3783" y="23"/>
                  </a:lnTo>
                  <a:lnTo>
                    <a:pt x="3783" y="23"/>
                  </a:lnTo>
                  <a:lnTo>
                    <a:pt x="3791" y="23"/>
                  </a:lnTo>
                  <a:lnTo>
                    <a:pt x="3791" y="23"/>
                  </a:lnTo>
                  <a:lnTo>
                    <a:pt x="3798" y="23"/>
                  </a:lnTo>
                  <a:lnTo>
                    <a:pt x="3798" y="23"/>
                  </a:lnTo>
                  <a:lnTo>
                    <a:pt x="3798" y="23"/>
                  </a:lnTo>
                  <a:lnTo>
                    <a:pt x="3798" y="23"/>
                  </a:lnTo>
                  <a:lnTo>
                    <a:pt x="3805" y="23"/>
                  </a:lnTo>
                  <a:lnTo>
                    <a:pt x="3805" y="23"/>
                  </a:lnTo>
                  <a:lnTo>
                    <a:pt x="3813" y="23"/>
                  </a:lnTo>
                  <a:lnTo>
                    <a:pt x="3813" y="23"/>
                  </a:lnTo>
                  <a:lnTo>
                    <a:pt x="3820" y="23"/>
                  </a:lnTo>
                  <a:lnTo>
                    <a:pt x="3820" y="23"/>
                  </a:lnTo>
                  <a:lnTo>
                    <a:pt x="3820" y="23"/>
                  </a:lnTo>
                  <a:lnTo>
                    <a:pt x="3820" y="23"/>
                  </a:lnTo>
                  <a:lnTo>
                    <a:pt x="3828" y="23"/>
                  </a:lnTo>
                  <a:lnTo>
                    <a:pt x="3828" y="23"/>
                  </a:lnTo>
                  <a:lnTo>
                    <a:pt x="3835" y="23"/>
                  </a:lnTo>
                  <a:lnTo>
                    <a:pt x="3835" y="23"/>
                  </a:lnTo>
                  <a:lnTo>
                    <a:pt x="3842" y="23"/>
                  </a:lnTo>
                  <a:lnTo>
                    <a:pt x="3842" y="23"/>
                  </a:lnTo>
                  <a:lnTo>
                    <a:pt x="3850" y="23"/>
                  </a:lnTo>
                  <a:lnTo>
                    <a:pt x="3850" y="15"/>
                  </a:lnTo>
                  <a:lnTo>
                    <a:pt x="3850" y="15"/>
                  </a:lnTo>
                  <a:lnTo>
                    <a:pt x="3850" y="15"/>
                  </a:lnTo>
                  <a:lnTo>
                    <a:pt x="3857" y="15"/>
                  </a:lnTo>
                  <a:lnTo>
                    <a:pt x="3857" y="15"/>
                  </a:lnTo>
                  <a:lnTo>
                    <a:pt x="3864" y="15"/>
                  </a:lnTo>
                  <a:lnTo>
                    <a:pt x="3864" y="15"/>
                  </a:lnTo>
                  <a:lnTo>
                    <a:pt x="3872" y="15"/>
                  </a:lnTo>
                  <a:lnTo>
                    <a:pt x="3872" y="15"/>
                  </a:lnTo>
                  <a:lnTo>
                    <a:pt x="3879" y="15"/>
                  </a:lnTo>
                  <a:lnTo>
                    <a:pt x="3879" y="15"/>
                  </a:lnTo>
                  <a:lnTo>
                    <a:pt x="3887" y="15"/>
                  </a:lnTo>
                  <a:lnTo>
                    <a:pt x="3887" y="8"/>
                  </a:lnTo>
                  <a:lnTo>
                    <a:pt x="3894" y="8"/>
                  </a:lnTo>
                  <a:lnTo>
                    <a:pt x="3894" y="8"/>
                  </a:lnTo>
                  <a:lnTo>
                    <a:pt x="3894" y="8"/>
                  </a:lnTo>
                  <a:lnTo>
                    <a:pt x="3894" y="8"/>
                  </a:lnTo>
                  <a:lnTo>
                    <a:pt x="3901" y="8"/>
                  </a:lnTo>
                  <a:lnTo>
                    <a:pt x="3901" y="8"/>
                  </a:lnTo>
                  <a:lnTo>
                    <a:pt x="3909" y="8"/>
                  </a:lnTo>
                  <a:lnTo>
                    <a:pt x="3909" y="8"/>
                  </a:lnTo>
                  <a:lnTo>
                    <a:pt x="3916" y="8"/>
                  </a:lnTo>
                  <a:lnTo>
                    <a:pt x="3916" y="8"/>
                  </a:lnTo>
                  <a:lnTo>
                    <a:pt x="3923" y="8"/>
                  </a:lnTo>
                  <a:lnTo>
                    <a:pt x="3923" y="0"/>
                  </a:lnTo>
                  <a:lnTo>
                    <a:pt x="3923" y="0"/>
                  </a:lnTo>
                  <a:lnTo>
                    <a:pt x="3923" y="0"/>
                  </a:lnTo>
                </a:path>
              </a:pathLst>
            </a:custGeom>
            <a:noFill/>
            <a:ln w="25400" cap="sq">
              <a:solidFill>
                <a:srgbClr val="0B0B4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8766175" y="3441701"/>
              <a:ext cx="1955800" cy="736600"/>
            </a:xfrm>
            <a:custGeom>
              <a:avLst/>
              <a:gdLst>
                <a:gd name="T0" fmla="*/ 23 w 1232"/>
                <a:gd name="T1" fmla="*/ 464 h 464"/>
                <a:gd name="T2" fmla="*/ 45 w 1232"/>
                <a:gd name="T3" fmla="*/ 450 h 464"/>
                <a:gd name="T4" fmla="*/ 59 w 1232"/>
                <a:gd name="T5" fmla="*/ 450 h 464"/>
                <a:gd name="T6" fmla="*/ 82 w 1232"/>
                <a:gd name="T7" fmla="*/ 442 h 464"/>
                <a:gd name="T8" fmla="*/ 96 w 1232"/>
                <a:gd name="T9" fmla="*/ 435 h 464"/>
                <a:gd name="T10" fmla="*/ 118 w 1232"/>
                <a:gd name="T11" fmla="*/ 428 h 464"/>
                <a:gd name="T12" fmla="*/ 141 w 1232"/>
                <a:gd name="T13" fmla="*/ 420 h 464"/>
                <a:gd name="T14" fmla="*/ 163 w 1232"/>
                <a:gd name="T15" fmla="*/ 420 h 464"/>
                <a:gd name="T16" fmla="*/ 177 w 1232"/>
                <a:gd name="T17" fmla="*/ 405 h 464"/>
                <a:gd name="T18" fmla="*/ 200 w 1232"/>
                <a:gd name="T19" fmla="*/ 383 h 464"/>
                <a:gd name="T20" fmla="*/ 214 w 1232"/>
                <a:gd name="T21" fmla="*/ 376 h 464"/>
                <a:gd name="T22" fmla="*/ 236 w 1232"/>
                <a:gd name="T23" fmla="*/ 361 h 464"/>
                <a:gd name="T24" fmla="*/ 259 w 1232"/>
                <a:gd name="T25" fmla="*/ 354 h 464"/>
                <a:gd name="T26" fmla="*/ 281 w 1232"/>
                <a:gd name="T27" fmla="*/ 346 h 464"/>
                <a:gd name="T28" fmla="*/ 295 w 1232"/>
                <a:gd name="T29" fmla="*/ 346 h 464"/>
                <a:gd name="T30" fmla="*/ 318 w 1232"/>
                <a:gd name="T31" fmla="*/ 339 h 464"/>
                <a:gd name="T32" fmla="*/ 332 w 1232"/>
                <a:gd name="T33" fmla="*/ 332 h 464"/>
                <a:gd name="T34" fmla="*/ 362 w 1232"/>
                <a:gd name="T35" fmla="*/ 332 h 464"/>
                <a:gd name="T36" fmla="*/ 377 w 1232"/>
                <a:gd name="T37" fmla="*/ 332 h 464"/>
                <a:gd name="T38" fmla="*/ 399 w 1232"/>
                <a:gd name="T39" fmla="*/ 310 h 464"/>
                <a:gd name="T40" fmla="*/ 413 w 1232"/>
                <a:gd name="T41" fmla="*/ 310 h 464"/>
                <a:gd name="T42" fmla="*/ 436 w 1232"/>
                <a:gd name="T43" fmla="*/ 302 h 464"/>
                <a:gd name="T44" fmla="*/ 458 w 1232"/>
                <a:gd name="T45" fmla="*/ 295 h 464"/>
                <a:gd name="T46" fmla="*/ 480 w 1232"/>
                <a:gd name="T47" fmla="*/ 295 h 464"/>
                <a:gd name="T48" fmla="*/ 495 w 1232"/>
                <a:gd name="T49" fmla="*/ 295 h 464"/>
                <a:gd name="T50" fmla="*/ 517 w 1232"/>
                <a:gd name="T51" fmla="*/ 287 h 464"/>
                <a:gd name="T52" fmla="*/ 531 w 1232"/>
                <a:gd name="T53" fmla="*/ 287 h 464"/>
                <a:gd name="T54" fmla="*/ 554 w 1232"/>
                <a:gd name="T55" fmla="*/ 280 h 464"/>
                <a:gd name="T56" fmla="*/ 576 w 1232"/>
                <a:gd name="T57" fmla="*/ 273 h 464"/>
                <a:gd name="T58" fmla="*/ 598 w 1232"/>
                <a:gd name="T59" fmla="*/ 273 h 464"/>
                <a:gd name="T60" fmla="*/ 613 w 1232"/>
                <a:gd name="T61" fmla="*/ 273 h 464"/>
                <a:gd name="T62" fmla="*/ 635 w 1232"/>
                <a:gd name="T63" fmla="*/ 265 h 464"/>
                <a:gd name="T64" fmla="*/ 657 w 1232"/>
                <a:gd name="T65" fmla="*/ 258 h 464"/>
                <a:gd name="T66" fmla="*/ 679 w 1232"/>
                <a:gd name="T67" fmla="*/ 258 h 464"/>
                <a:gd name="T68" fmla="*/ 701 w 1232"/>
                <a:gd name="T69" fmla="*/ 258 h 464"/>
                <a:gd name="T70" fmla="*/ 723 w 1232"/>
                <a:gd name="T71" fmla="*/ 251 h 464"/>
                <a:gd name="T72" fmla="*/ 738 w 1232"/>
                <a:gd name="T73" fmla="*/ 251 h 464"/>
                <a:gd name="T74" fmla="*/ 760 w 1232"/>
                <a:gd name="T75" fmla="*/ 236 h 464"/>
                <a:gd name="T76" fmla="*/ 775 w 1232"/>
                <a:gd name="T77" fmla="*/ 236 h 464"/>
                <a:gd name="T78" fmla="*/ 797 w 1232"/>
                <a:gd name="T79" fmla="*/ 236 h 464"/>
                <a:gd name="T80" fmla="*/ 819 w 1232"/>
                <a:gd name="T81" fmla="*/ 229 h 464"/>
                <a:gd name="T82" fmla="*/ 841 w 1232"/>
                <a:gd name="T83" fmla="*/ 229 h 464"/>
                <a:gd name="T84" fmla="*/ 856 w 1232"/>
                <a:gd name="T85" fmla="*/ 221 h 464"/>
                <a:gd name="T86" fmla="*/ 878 w 1232"/>
                <a:gd name="T87" fmla="*/ 206 h 464"/>
                <a:gd name="T88" fmla="*/ 893 w 1232"/>
                <a:gd name="T89" fmla="*/ 199 h 464"/>
                <a:gd name="T90" fmla="*/ 915 w 1232"/>
                <a:gd name="T91" fmla="*/ 192 h 464"/>
                <a:gd name="T92" fmla="*/ 937 w 1232"/>
                <a:gd name="T93" fmla="*/ 192 h 464"/>
                <a:gd name="T94" fmla="*/ 959 w 1232"/>
                <a:gd name="T95" fmla="*/ 177 h 464"/>
                <a:gd name="T96" fmla="*/ 974 w 1232"/>
                <a:gd name="T97" fmla="*/ 170 h 464"/>
                <a:gd name="T98" fmla="*/ 996 w 1232"/>
                <a:gd name="T99" fmla="*/ 155 h 464"/>
                <a:gd name="T100" fmla="*/ 1011 w 1232"/>
                <a:gd name="T101" fmla="*/ 155 h 464"/>
                <a:gd name="T102" fmla="*/ 1040 w 1232"/>
                <a:gd name="T103" fmla="*/ 140 h 464"/>
                <a:gd name="T104" fmla="*/ 1055 w 1232"/>
                <a:gd name="T105" fmla="*/ 133 h 464"/>
                <a:gd name="T106" fmla="*/ 1077 w 1232"/>
                <a:gd name="T107" fmla="*/ 125 h 464"/>
                <a:gd name="T108" fmla="*/ 1092 w 1232"/>
                <a:gd name="T109" fmla="*/ 111 h 464"/>
                <a:gd name="T110" fmla="*/ 1114 w 1232"/>
                <a:gd name="T111" fmla="*/ 74 h 464"/>
                <a:gd name="T112" fmla="*/ 1136 w 1232"/>
                <a:gd name="T113" fmla="*/ 66 h 464"/>
                <a:gd name="T114" fmla="*/ 1158 w 1232"/>
                <a:gd name="T115" fmla="*/ 59 h 464"/>
                <a:gd name="T116" fmla="*/ 1173 w 1232"/>
                <a:gd name="T117" fmla="*/ 52 h 464"/>
                <a:gd name="T118" fmla="*/ 1195 w 1232"/>
                <a:gd name="T119" fmla="*/ 29 h 464"/>
                <a:gd name="T120" fmla="*/ 1210 w 1232"/>
                <a:gd name="T121" fmla="*/ 22 h 464"/>
                <a:gd name="T122" fmla="*/ 1232 w 1232"/>
                <a:gd name="T123" fmla="*/ 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32" h="464">
                  <a:moveTo>
                    <a:pt x="0" y="464"/>
                  </a:moveTo>
                  <a:lnTo>
                    <a:pt x="8" y="464"/>
                  </a:lnTo>
                  <a:lnTo>
                    <a:pt x="8" y="464"/>
                  </a:lnTo>
                  <a:lnTo>
                    <a:pt x="15" y="464"/>
                  </a:lnTo>
                  <a:lnTo>
                    <a:pt x="15" y="464"/>
                  </a:lnTo>
                  <a:lnTo>
                    <a:pt x="23" y="464"/>
                  </a:lnTo>
                  <a:lnTo>
                    <a:pt x="23" y="464"/>
                  </a:lnTo>
                  <a:lnTo>
                    <a:pt x="23" y="464"/>
                  </a:lnTo>
                  <a:lnTo>
                    <a:pt x="23" y="464"/>
                  </a:lnTo>
                  <a:lnTo>
                    <a:pt x="30" y="464"/>
                  </a:lnTo>
                  <a:lnTo>
                    <a:pt x="30" y="457"/>
                  </a:lnTo>
                  <a:lnTo>
                    <a:pt x="37" y="457"/>
                  </a:lnTo>
                  <a:lnTo>
                    <a:pt x="37" y="450"/>
                  </a:lnTo>
                  <a:lnTo>
                    <a:pt x="45" y="450"/>
                  </a:lnTo>
                  <a:lnTo>
                    <a:pt x="45" y="450"/>
                  </a:lnTo>
                  <a:lnTo>
                    <a:pt x="45" y="450"/>
                  </a:lnTo>
                  <a:lnTo>
                    <a:pt x="45" y="450"/>
                  </a:lnTo>
                  <a:lnTo>
                    <a:pt x="52" y="450"/>
                  </a:lnTo>
                  <a:lnTo>
                    <a:pt x="52" y="450"/>
                  </a:lnTo>
                  <a:lnTo>
                    <a:pt x="59" y="450"/>
                  </a:lnTo>
                  <a:lnTo>
                    <a:pt x="59" y="450"/>
                  </a:lnTo>
                  <a:lnTo>
                    <a:pt x="67" y="450"/>
                  </a:lnTo>
                  <a:lnTo>
                    <a:pt x="67" y="450"/>
                  </a:lnTo>
                  <a:lnTo>
                    <a:pt x="67" y="450"/>
                  </a:lnTo>
                  <a:lnTo>
                    <a:pt x="67" y="450"/>
                  </a:lnTo>
                  <a:lnTo>
                    <a:pt x="74" y="450"/>
                  </a:lnTo>
                  <a:lnTo>
                    <a:pt x="74" y="442"/>
                  </a:lnTo>
                  <a:lnTo>
                    <a:pt x="82" y="442"/>
                  </a:lnTo>
                  <a:lnTo>
                    <a:pt x="82" y="442"/>
                  </a:lnTo>
                  <a:lnTo>
                    <a:pt x="89" y="442"/>
                  </a:lnTo>
                  <a:lnTo>
                    <a:pt x="89" y="442"/>
                  </a:lnTo>
                  <a:lnTo>
                    <a:pt x="96" y="442"/>
                  </a:lnTo>
                  <a:lnTo>
                    <a:pt x="96" y="435"/>
                  </a:lnTo>
                  <a:lnTo>
                    <a:pt x="96" y="435"/>
                  </a:lnTo>
                  <a:lnTo>
                    <a:pt x="96" y="435"/>
                  </a:lnTo>
                  <a:lnTo>
                    <a:pt x="104" y="435"/>
                  </a:lnTo>
                  <a:lnTo>
                    <a:pt x="104" y="435"/>
                  </a:lnTo>
                  <a:lnTo>
                    <a:pt x="111" y="435"/>
                  </a:lnTo>
                  <a:lnTo>
                    <a:pt x="111" y="435"/>
                  </a:lnTo>
                  <a:lnTo>
                    <a:pt x="118" y="435"/>
                  </a:lnTo>
                  <a:lnTo>
                    <a:pt x="118" y="428"/>
                  </a:lnTo>
                  <a:lnTo>
                    <a:pt x="118" y="428"/>
                  </a:lnTo>
                  <a:lnTo>
                    <a:pt x="118" y="428"/>
                  </a:lnTo>
                  <a:lnTo>
                    <a:pt x="126" y="428"/>
                  </a:lnTo>
                  <a:lnTo>
                    <a:pt x="126" y="428"/>
                  </a:lnTo>
                  <a:lnTo>
                    <a:pt x="133" y="428"/>
                  </a:lnTo>
                  <a:lnTo>
                    <a:pt x="133" y="420"/>
                  </a:lnTo>
                  <a:lnTo>
                    <a:pt x="141" y="420"/>
                  </a:lnTo>
                  <a:lnTo>
                    <a:pt x="141" y="420"/>
                  </a:lnTo>
                  <a:lnTo>
                    <a:pt x="141" y="420"/>
                  </a:lnTo>
                  <a:lnTo>
                    <a:pt x="141" y="420"/>
                  </a:lnTo>
                  <a:lnTo>
                    <a:pt x="148" y="420"/>
                  </a:lnTo>
                  <a:lnTo>
                    <a:pt x="148" y="420"/>
                  </a:lnTo>
                  <a:lnTo>
                    <a:pt x="155" y="420"/>
                  </a:lnTo>
                  <a:lnTo>
                    <a:pt x="155" y="420"/>
                  </a:lnTo>
                  <a:lnTo>
                    <a:pt x="163" y="420"/>
                  </a:lnTo>
                  <a:lnTo>
                    <a:pt x="163" y="413"/>
                  </a:lnTo>
                  <a:lnTo>
                    <a:pt x="163" y="413"/>
                  </a:lnTo>
                  <a:lnTo>
                    <a:pt x="163" y="405"/>
                  </a:lnTo>
                  <a:lnTo>
                    <a:pt x="170" y="405"/>
                  </a:lnTo>
                  <a:lnTo>
                    <a:pt x="170" y="405"/>
                  </a:lnTo>
                  <a:lnTo>
                    <a:pt x="177" y="405"/>
                  </a:lnTo>
                  <a:lnTo>
                    <a:pt x="177" y="405"/>
                  </a:lnTo>
                  <a:lnTo>
                    <a:pt x="185" y="405"/>
                  </a:lnTo>
                  <a:lnTo>
                    <a:pt x="185" y="405"/>
                  </a:lnTo>
                  <a:lnTo>
                    <a:pt x="192" y="405"/>
                  </a:lnTo>
                  <a:lnTo>
                    <a:pt x="192" y="398"/>
                  </a:lnTo>
                  <a:lnTo>
                    <a:pt x="192" y="398"/>
                  </a:lnTo>
                  <a:lnTo>
                    <a:pt x="192" y="383"/>
                  </a:lnTo>
                  <a:lnTo>
                    <a:pt x="200" y="383"/>
                  </a:lnTo>
                  <a:lnTo>
                    <a:pt x="200" y="383"/>
                  </a:lnTo>
                  <a:lnTo>
                    <a:pt x="207" y="383"/>
                  </a:lnTo>
                  <a:lnTo>
                    <a:pt x="207" y="383"/>
                  </a:lnTo>
                  <a:lnTo>
                    <a:pt x="214" y="383"/>
                  </a:lnTo>
                  <a:lnTo>
                    <a:pt x="214" y="376"/>
                  </a:lnTo>
                  <a:lnTo>
                    <a:pt x="214" y="376"/>
                  </a:lnTo>
                  <a:lnTo>
                    <a:pt x="214" y="376"/>
                  </a:lnTo>
                  <a:lnTo>
                    <a:pt x="222" y="376"/>
                  </a:lnTo>
                  <a:lnTo>
                    <a:pt x="222" y="376"/>
                  </a:lnTo>
                  <a:lnTo>
                    <a:pt x="229" y="376"/>
                  </a:lnTo>
                  <a:lnTo>
                    <a:pt x="229" y="376"/>
                  </a:lnTo>
                  <a:lnTo>
                    <a:pt x="236" y="376"/>
                  </a:lnTo>
                  <a:lnTo>
                    <a:pt x="236" y="361"/>
                  </a:lnTo>
                  <a:lnTo>
                    <a:pt x="236" y="361"/>
                  </a:lnTo>
                  <a:lnTo>
                    <a:pt x="236" y="361"/>
                  </a:lnTo>
                  <a:lnTo>
                    <a:pt x="244" y="361"/>
                  </a:lnTo>
                  <a:lnTo>
                    <a:pt x="244" y="361"/>
                  </a:lnTo>
                  <a:lnTo>
                    <a:pt x="251" y="361"/>
                  </a:lnTo>
                  <a:lnTo>
                    <a:pt x="251" y="361"/>
                  </a:lnTo>
                  <a:lnTo>
                    <a:pt x="259" y="361"/>
                  </a:lnTo>
                  <a:lnTo>
                    <a:pt x="259" y="354"/>
                  </a:lnTo>
                  <a:lnTo>
                    <a:pt x="266" y="354"/>
                  </a:lnTo>
                  <a:lnTo>
                    <a:pt x="266" y="354"/>
                  </a:lnTo>
                  <a:lnTo>
                    <a:pt x="266" y="354"/>
                  </a:lnTo>
                  <a:lnTo>
                    <a:pt x="266" y="346"/>
                  </a:lnTo>
                  <a:lnTo>
                    <a:pt x="273" y="346"/>
                  </a:lnTo>
                  <a:lnTo>
                    <a:pt x="273" y="346"/>
                  </a:lnTo>
                  <a:lnTo>
                    <a:pt x="281" y="346"/>
                  </a:lnTo>
                  <a:lnTo>
                    <a:pt x="281" y="346"/>
                  </a:lnTo>
                  <a:lnTo>
                    <a:pt x="288" y="346"/>
                  </a:lnTo>
                  <a:lnTo>
                    <a:pt x="288" y="346"/>
                  </a:lnTo>
                  <a:lnTo>
                    <a:pt x="288" y="346"/>
                  </a:lnTo>
                  <a:lnTo>
                    <a:pt x="288" y="346"/>
                  </a:lnTo>
                  <a:lnTo>
                    <a:pt x="295" y="346"/>
                  </a:lnTo>
                  <a:lnTo>
                    <a:pt x="295" y="346"/>
                  </a:lnTo>
                  <a:lnTo>
                    <a:pt x="303" y="346"/>
                  </a:lnTo>
                  <a:lnTo>
                    <a:pt x="303" y="346"/>
                  </a:lnTo>
                  <a:lnTo>
                    <a:pt x="310" y="346"/>
                  </a:lnTo>
                  <a:lnTo>
                    <a:pt x="310" y="346"/>
                  </a:lnTo>
                  <a:lnTo>
                    <a:pt x="310" y="346"/>
                  </a:lnTo>
                  <a:lnTo>
                    <a:pt x="310" y="339"/>
                  </a:lnTo>
                  <a:lnTo>
                    <a:pt x="318" y="339"/>
                  </a:lnTo>
                  <a:lnTo>
                    <a:pt x="318" y="332"/>
                  </a:lnTo>
                  <a:lnTo>
                    <a:pt x="325" y="332"/>
                  </a:lnTo>
                  <a:lnTo>
                    <a:pt x="325" y="332"/>
                  </a:lnTo>
                  <a:lnTo>
                    <a:pt x="332" y="332"/>
                  </a:lnTo>
                  <a:lnTo>
                    <a:pt x="332" y="332"/>
                  </a:lnTo>
                  <a:lnTo>
                    <a:pt x="332" y="332"/>
                  </a:lnTo>
                  <a:lnTo>
                    <a:pt x="332" y="332"/>
                  </a:lnTo>
                  <a:lnTo>
                    <a:pt x="340" y="332"/>
                  </a:lnTo>
                  <a:lnTo>
                    <a:pt x="340" y="332"/>
                  </a:lnTo>
                  <a:lnTo>
                    <a:pt x="347" y="332"/>
                  </a:lnTo>
                  <a:lnTo>
                    <a:pt x="347" y="332"/>
                  </a:lnTo>
                  <a:lnTo>
                    <a:pt x="354" y="332"/>
                  </a:lnTo>
                  <a:lnTo>
                    <a:pt x="354" y="332"/>
                  </a:lnTo>
                  <a:lnTo>
                    <a:pt x="362" y="332"/>
                  </a:lnTo>
                  <a:lnTo>
                    <a:pt x="362" y="332"/>
                  </a:lnTo>
                  <a:lnTo>
                    <a:pt x="362" y="332"/>
                  </a:lnTo>
                  <a:lnTo>
                    <a:pt x="362" y="332"/>
                  </a:lnTo>
                  <a:lnTo>
                    <a:pt x="369" y="332"/>
                  </a:lnTo>
                  <a:lnTo>
                    <a:pt x="369" y="332"/>
                  </a:lnTo>
                  <a:lnTo>
                    <a:pt x="377" y="332"/>
                  </a:lnTo>
                  <a:lnTo>
                    <a:pt x="377" y="332"/>
                  </a:lnTo>
                  <a:lnTo>
                    <a:pt x="384" y="332"/>
                  </a:lnTo>
                  <a:lnTo>
                    <a:pt x="384" y="324"/>
                  </a:lnTo>
                  <a:lnTo>
                    <a:pt x="384" y="324"/>
                  </a:lnTo>
                  <a:lnTo>
                    <a:pt x="384" y="324"/>
                  </a:lnTo>
                  <a:lnTo>
                    <a:pt x="391" y="324"/>
                  </a:lnTo>
                  <a:lnTo>
                    <a:pt x="391" y="310"/>
                  </a:lnTo>
                  <a:lnTo>
                    <a:pt x="399" y="310"/>
                  </a:lnTo>
                  <a:lnTo>
                    <a:pt x="399" y="310"/>
                  </a:lnTo>
                  <a:lnTo>
                    <a:pt x="406" y="310"/>
                  </a:lnTo>
                  <a:lnTo>
                    <a:pt x="406" y="310"/>
                  </a:lnTo>
                  <a:lnTo>
                    <a:pt x="406" y="310"/>
                  </a:lnTo>
                  <a:lnTo>
                    <a:pt x="406" y="310"/>
                  </a:lnTo>
                  <a:lnTo>
                    <a:pt x="413" y="310"/>
                  </a:lnTo>
                  <a:lnTo>
                    <a:pt x="413" y="310"/>
                  </a:lnTo>
                  <a:lnTo>
                    <a:pt x="421" y="310"/>
                  </a:lnTo>
                  <a:lnTo>
                    <a:pt x="421" y="302"/>
                  </a:lnTo>
                  <a:lnTo>
                    <a:pt x="428" y="302"/>
                  </a:lnTo>
                  <a:lnTo>
                    <a:pt x="428" y="302"/>
                  </a:lnTo>
                  <a:lnTo>
                    <a:pt x="436" y="302"/>
                  </a:lnTo>
                  <a:lnTo>
                    <a:pt x="436" y="302"/>
                  </a:lnTo>
                  <a:lnTo>
                    <a:pt x="436" y="302"/>
                  </a:lnTo>
                  <a:lnTo>
                    <a:pt x="436" y="295"/>
                  </a:lnTo>
                  <a:lnTo>
                    <a:pt x="443" y="295"/>
                  </a:lnTo>
                  <a:lnTo>
                    <a:pt x="443" y="295"/>
                  </a:lnTo>
                  <a:lnTo>
                    <a:pt x="450" y="295"/>
                  </a:lnTo>
                  <a:lnTo>
                    <a:pt x="450" y="295"/>
                  </a:lnTo>
                  <a:lnTo>
                    <a:pt x="458" y="295"/>
                  </a:lnTo>
                  <a:lnTo>
                    <a:pt x="458" y="295"/>
                  </a:lnTo>
                  <a:lnTo>
                    <a:pt x="458" y="295"/>
                  </a:lnTo>
                  <a:lnTo>
                    <a:pt x="458" y="295"/>
                  </a:lnTo>
                  <a:lnTo>
                    <a:pt x="465" y="295"/>
                  </a:lnTo>
                  <a:lnTo>
                    <a:pt x="465" y="295"/>
                  </a:lnTo>
                  <a:lnTo>
                    <a:pt x="472" y="295"/>
                  </a:lnTo>
                  <a:lnTo>
                    <a:pt x="472" y="295"/>
                  </a:lnTo>
                  <a:lnTo>
                    <a:pt x="480" y="295"/>
                  </a:lnTo>
                  <a:lnTo>
                    <a:pt x="480" y="295"/>
                  </a:lnTo>
                  <a:lnTo>
                    <a:pt x="480" y="295"/>
                  </a:lnTo>
                  <a:lnTo>
                    <a:pt x="480" y="295"/>
                  </a:lnTo>
                  <a:lnTo>
                    <a:pt x="487" y="295"/>
                  </a:lnTo>
                  <a:lnTo>
                    <a:pt x="487" y="295"/>
                  </a:lnTo>
                  <a:lnTo>
                    <a:pt x="495" y="295"/>
                  </a:lnTo>
                  <a:lnTo>
                    <a:pt x="495" y="295"/>
                  </a:lnTo>
                  <a:lnTo>
                    <a:pt x="502" y="295"/>
                  </a:lnTo>
                  <a:lnTo>
                    <a:pt x="502" y="295"/>
                  </a:lnTo>
                  <a:lnTo>
                    <a:pt x="502" y="295"/>
                  </a:lnTo>
                  <a:lnTo>
                    <a:pt x="502" y="287"/>
                  </a:lnTo>
                  <a:lnTo>
                    <a:pt x="509" y="287"/>
                  </a:lnTo>
                  <a:lnTo>
                    <a:pt x="509" y="287"/>
                  </a:lnTo>
                  <a:lnTo>
                    <a:pt x="517" y="287"/>
                  </a:lnTo>
                  <a:lnTo>
                    <a:pt x="517" y="287"/>
                  </a:lnTo>
                  <a:lnTo>
                    <a:pt x="524" y="287"/>
                  </a:lnTo>
                  <a:lnTo>
                    <a:pt x="524" y="287"/>
                  </a:lnTo>
                  <a:lnTo>
                    <a:pt x="531" y="287"/>
                  </a:lnTo>
                  <a:lnTo>
                    <a:pt x="531" y="287"/>
                  </a:lnTo>
                  <a:lnTo>
                    <a:pt x="531" y="287"/>
                  </a:lnTo>
                  <a:lnTo>
                    <a:pt x="531" y="287"/>
                  </a:lnTo>
                  <a:lnTo>
                    <a:pt x="539" y="287"/>
                  </a:lnTo>
                  <a:lnTo>
                    <a:pt x="539" y="287"/>
                  </a:lnTo>
                  <a:lnTo>
                    <a:pt x="546" y="287"/>
                  </a:lnTo>
                  <a:lnTo>
                    <a:pt x="546" y="287"/>
                  </a:lnTo>
                  <a:lnTo>
                    <a:pt x="554" y="287"/>
                  </a:lnTo>
                  <a:lnTo>
                    <a:pt x="554" y="280"/>
                  </a:lnTo>
                  <a:lnTo>
                    <a:pt x="554" y="280"/>
                  </a:lnTo>
                  <a:lnTo>
                    <a:pt x="554" y="273"/>
                  </a:lnTo>
                  <a:lnTo>
                    <a:pt x="561" y="273"/>
                  </a:lnTo>
                  <a:lnTo>
                    <a:pt x="561" y="273"/>
                  </a:lnTo>
                  <a:lnTo>
                    <a:pt x="568" y="273"/>
                  </a:lnTo>
                  <a:lnTo>
                    <a:pt x="568" y="273"/>
                  </a:lnTo>
                  <a:lnTo>
                    <a:pt x="576" y="273"/>
                  </a:lnTo>
                  <a:lnTo>
                    <a:pt x="576" y="273"/>
                  </a:lnTo>
                  <a:lnTo>
                    <a:pt x="576" y="273"/>
                  </a:lnTo>
                  <a:lnTo>
                    <a:pt x="576" y="273"/>
                  </a:lnTo>
                  <a:lnTo>
                    <a:pt x="583" y="273"/>
                  </a:lnTo>
                  <a:lnTo>
                    <a:pt x="583" y="273"/>
                  </a:lnTo>
                  <a:lnTo>
                    <a:pt x="590" y="273"/>
                  </a:lnTo>
                  <a:lnTo>
                    <a:pt x="590" y="273"/>
                  </a:lnTo>
                  <a:lnTo>
                    <a:pt x="598" y="273"/>
                  </a:lnTo>
                  <a:lnTo>
                    <a:pt x="598" y="273"/>
                  </a:lnTo>
                  <a:lnTo>
                    <a:pt x="605" y="273"/>
                  </a:lnTo>
                  <a:lnTo>
                    <a:pt x="605" y="273"/>
                  </a:lnTo>
                  <a:lnTo>
                    <a:pt x="605" y="273"/>
                  </a:lnTo>
                  <a:lnTo>
                    <a:pt x="605" y="273"/>
                  </a:lnTo>
                  <a:lnTo>
                    <a:pt x="613" y="273"/>
                  </a:lnTo>
                  <a:lnTo>
                    <a:pt x="613" y="273"/>
                  </a:lnTo>
                  <a:lnTo>
                    <a:pt x="620" y="273"/>
                  </a:lnTo>
                  <a:lnTo>
                    <a:pt x="620" y="273"/>
                  </a:lnTo>
                  <a:lnTo>
                    <a:pt x="627" y="273"/>
                  </a:lnTo>
                  <a:lnTo>
                    <a:pt x="627" y="273"/>
                  </a:lnTo>
                  <a:lnTo>
                    <a:pt x="627" y="273"/>
                  </a:lnTo>
                  <a:lnTo>
                    <a:pt x="627" y="265"/>
                  </a:lnTo>
                  <a:lnTo>
                    <a:pt x="635" y="265"/>
                  </a:lnTo>
                  <a:lnTo>
                    <a:pt x="635" y="265"/>
                  </a:lnTo>
                  <a:lnTo>
                    <a:pt x="642" y="265"/>
                  </a:lnTo>
                  <a:lnTo>
                    <a:pt x="642" y="265"/>
                  </a:lnTo>
                  <a:lnTo>
                    <a:pt x="649" y="265"/>
                  </a:lnTo>
                  <a:lnTo>
                    <a:pt x="649" y="265"/>
                  </a:lnTo>
                  <a:lnTo>
                    <a:pt x="657" y="265"/>
                  </a:lnTo>
                  <a:lnTo>
                    <a:pt x="657" y="258"/>
                  </a:lnTo>
                  <a:lnTo>
                    <a:pt x="664" y="258"/>
                  </a:lnTo>
                  <a:lnTo>
                    <a:pt x="664" y="258"/>
                  </a:lnTo>
                  <a:lnTo>
                    <a:pt x="672" y="258"/>
                  </a:lnTo>
                  <a:lnTo>
                    <a:pt x="672" y="258"/>
                  </a:lnTo>
                  <a:lnTo>
                    <a:pt x="672" y="258"/>
                  </a:lnTo>
                  <a:lnTo>
                    <a:pt x="672" y="258"/>
                  </a:lnTo>
                  <a:lnTo>
                    <a:pt x="679" y="258"/>
                  </a:lnTo>
                  <a:lnTo>
                    <a:pt x="679" y="258"/>
                  </a:lnTo>
                  <a:lnTo>
                    <a:pt x="686" y="258"/>
                  </a:lnTo>
                  <a:lnTo>
                    <a:pt x="686" y="258"/>
                  </a:lnTo>
                  <a:lnTo>
                    <a:pt x="694" y="258"/>
                  </a:lnTo>
                  <a:lnTo>
                    <a:pt x="694" y="258"/>
                  </a:lnTo>
                  <a:lnTo>
                    <a:pt x="701" y="258"/>
                  </a:lnTo>
                  <a:lnTo>
                    <a:pt x="701" y="258"/>
                  </a:lnTo>
                  <a:lnTo>
                    <a:pt x="701" y="258"/>
                  </a:lnTo>
                  <a:lnTo>
                    <a:pt x="701" y="258"/>
                  </a:lnTo>
                  <a:lnTo>
                    <a:pt x="708" y="258"/>
                  </a:lnTo>
                  <a:lnTo>
                    <a:pt x="708" y="251"/>
                  </a:lnTo>
                  <a:lnTo>
                    <a:pt x="716" y="251"/>
                  </a:lnTo>
                  <a:lnTo>
                    <a:pt x="716" y="251"/>
                  </a:lnTo>
                  <a:lnTo>
                    <a:pt x="723" y="251"/>
                  </a:lnTo>
                  <a:lnTo>
                    <a:pt x="723" y="251"/>
                  </a:lnTo>
                  <a:lnTo>
                    <a:pt x="723" y="251"/>
                  </a:lnTo>
                  <a:lnTo>
                    <a:pt x="723" y="251"/>
                  </a:lnTo>
                  <a:lnTo>
                    <a:pt x="731" y="251"/>
                  </a:lnTo>
                  <a:lnTo>
                    <a:pt x="731" y="251"/>
                  </a:lnTo>
                  <a:lnTo>
                    <a:pt x="738" y="251"/>
                  </a:lnTo>
                  <a:lnTo>
                    <a:pt x="738" y="251"/>
                  </a:lnTo>
                  <a:lnTo>
                    <a:pt x="745" y="251"/>
                  </a:lnTo>
                  <a:lnTo>
                    <a:pt x="745" y="251"/>
                  </a:lnTo>
                  <a:lnTo>
                    <a:pt x="745" y="251"/>
                  </a:lnTo>
                  <a:lnTo>
                    <a:pt x="745" y="236"/>
                  </a:lnTo>
                  <a:lnTo>
                    <a:pt x="753" y="236"/>
                  </a:lnTo>
                  <a:lnTo>
                    <a:pt x="753" y="236"/>
                  </a:lnTo>
                  <a:lnTo>
                    <a:pt x="760" y="236"/>
                  </a:lnTo>
                  <a:lnTo>
                    <a:pt x="760" y="236"/>
                  </a:lnTo>
                  <a:lnTo>
                    <a:pt x="767" y="236"/>
                  </a:lnTo>
                  <a:lnTo>
                    <a:pt x="767" y="236"/>
                  </a:lnTo>
                  <a:lnTo>
                    <a:pt x="775" y="236"/>
                  </a:lnTo>
                  <a:lnTo>
                    <a:pt x="775" y="236"/>
                  </a:lnTo>
                  <a:lnTo>
                    <a:pt x="775" y="236"/>
                  </a:lnTo>
                  <a:lnTo>
                    <a:pt x="775" y="236"/>
                  </a:lnTo>
                  <a:lnTo>
                    <a:pt x="782" y="236"/>
                  </a:lnTo>
                  <a:lnTo>
                    <a:pt x="782" y="236"/>
                  </a:lnTo>
                  <a:lnTo>
                    <a:pt x="790" y="236"/>
                  </a:lnTo>
                  <a:lnTo>
                    <a:pt x="790" y="236"/>
                  </a:lnTo>
                  <a:lnTo>
                    <a:pt x="797" y="236"/>
                  </a:lnTo>
                  <a:lnTo>
                    <a:pt x="797" y="236"/>
                  </a:lnTo>
                  <a:lnTo>
                    <a:pt x="797" y="236"/>
                  </a:lnTo>
                  <a:lnTo>
                    <a:pt x="797" y="236"/>
                  </a:lnTo>
                  <a:lnTo>
                    <a:pt x="804" y="236"/>
                  </a:lnTo>
                  <a:lnTo>
                    <a:pt x="804" y="236"/>
                  </a:lnTo>
                  <a:lnTo>
                    <a:pt x="812" y="236"/>
                  </a:lnTo>
                  <a:lnTo>
                    <a:pt x="812" y="229"/>
                  </a:lnTo>
                  <a:lnTo>
                    <a:pt x="819" y="229"/>
                  </a:lnTo>
                  <a:lnTo>
                    <a:pt x="819" y="229"/>
                  </a:lnTo>
                  <a:lnTo>
                    <a:pt x="819" y="229"/>
                  </a:lnTo>
                  <a:lnTo>
                    <a:pt x="819" y="229"/>
                  </a:lnTo>
                  <a:lnTo>
                    <a:pt x="826" y="229"/>
                  </a:lnTo>
                  <a:lnTo>
                    <a:pt x="826" y="229"/>
                  </a:lnTo>
                  <a:lnTo>
                    <a:pt x="834" y="229"/>
                  </a:lnTo>
                  <a:lnTo>
                    <a:pt x="834" y="229"/>
                  </a:lnTo>
                  <a:lnTo>
                    <a:pt x="841" y="229"/>
                  </a:lnTo>
                  <a:lnTo>
                    <a:pt x="841" y="229"/>
                  </a:lnTo>
                  <a:lnTo>
                    <a:pt x="841" y="229"/>
                  </a:lnTo>
                  <a:lnTo>
                    <a:pt x="841" y="229"/>
                  </a:lnTo>
                  <a:lnTo>
                    <a:pt x="849" y="229"/>
                  </a:lnTo>
                  <a:lnTo>
                    <a:pt x="849" y="229"/>
                  </a:lnTo>
                  <a:lnTo>
                    <a:pt x="856" y="229"/>
                  </a:lnTo>
                  <a:lnTo>
                    <a:pt x="856" y="221"/>
                  </a:lnTo>
                  <a:lnTo>
                    <a:pt x="863" y="221"/>
                  </a:lnTo>
                  <a:lnTo>
                    <a:pt x="863" y="221"/>
                  </a:lnTo>
                  <a:lnTo>
                    <a:pt x="871" y="221"/>
                  </a:lnTo>
                  <a:lnTo>
                    <a:pt x="871" y="206"/>
                  </a:lnTo>
                  <a:lnTo>
                    <a:pt x="871" y="206"/>
                  </a:lnTo>
                  <a:lnTo>
                    <a:pt x="871" y="206"/>
                  </a:lnTo>
                  <a:lnTo>
                    <a:pt x="878" y="206"/>
                  </a:lnTo>
                  <a:lnTo>
                    <a:pt x="878" y="206"/>
                  </a:lnTo>
                  <a:lnTo>
                    <a:pt x="885" y="206"/>
                  </a:lnTo>
                  <a:lnTo>
                    <a:pt x="885" y="206"/>
                  </a:lnTo>
                  <a:lnTo>
                    <a:pt x="893" y="206"/>
                  </a:lnTo>
                  <a:lnTo>
                    <a:pt x="893" y="206"/>
                  </a:lnTo>
                  <a:lnTo>
                    <a:pt x="893" y="206"/>
                  </a:lnTo>
                  <a:lnTo>
                    <a:pt x="893" y="199"/>
                  </a:lnTo>
                  <a:lnTo>
                    <a:pt x="900" y="199"/>
                  </a:lnTo>
                  <a:lnTo>
                    <a:pt x="900" y="199"/>
                  </a:lnTo>
                  <a:lnTo>
                    <a:pt x="908" y="199"/>
                  </a:lnTo>
                  <a:lnTo>
                    <a:pt x="908" y="192"/>
                  </a:lnTo>
                  <a:lnTo>
                    <a:pt x="915" y="192"/>
                  </a:lnTo>
                  <a:lnTo>
                    <a:pt x="915" y="192"/>
                  </a:lnTo>
                  <a:lnTo>
                    <a:pt x="915" y="192"/>
                  </a:lnTo>
                  <a:lnTo>
                    <a:pt x="915" y="192"/>
                  </a:lnTo>
                  <a:lnTo>
                    <a:pt x="922" y="192"/>
                  </a:lnTo>
                  <a:lnTo>
                    <a:pt x="922" y="192"/>
                  </a:lnTo>
                  <a:lnTo>
                    <a:pt x="930" y="192"/>
                  </a:lnTo>
                  <a:lnTo>
                    <a:pt x="930" y="192"/>
                  </a:lnTo>
                  <a:lnTo>
                    <a:pt x="937" y="192"/>
                  </a:lnTo>
                  <a:lnTo>
                    <a:pt x="937" y="192"/>
                  </a:lnTo>
                  <a:lnTo>
                    <a:pt x="937" y="192"/>
                  </a:lnTo>
                  <a:lnTo>
                    <a:pt x="937" y="192"/>
                  </a:lnTo>
                  <a:lnTo>
                    <a:pt x="944" y="192"/>
                  </a:lnTo>
                  <a:lnTo>
                    <a:pt x="944" y="177"/>
                  </a:lnTo>
                  <a:lnTo>
                    <a:pt x="952" y="177"/>
                  </a:lnTo>
                  <a:lnTo>
                    <a:pt x="952" y="177"/>
                  </a:lnTo>
                  <a:lnTo>
                    <a:pt x="959" y="177"/>
                  </a:lnTo>
                  <a:lnTo>
                    <a:pt x="959" y="177"/>
                  </a:lnTo>
                  <a:lnTo>
                    <a:pt x="967" y="177"/>
                  </a:lnTo>
                  <a:lnTo>
                    <a:pt x="967" y="170"/>
                  </a:lnTo>
                  <a:lnTo>
                    <a:pt x="967" y="170"/>
                  </a:lnTo>
                  <a:lnTo>
                    <a:pt x="967" y="170"/>
                  </a:lnTo>
                  <a:lnTo>
                    <a:pt x="974" y="170"/>
                  </a:lnTo>
                  <a:lnTo>
                    <a:pt x="974" y="170"/>
                  </a:lnTo>
                  <a:lnTo>
                    <a:pt x="981" y="170"/>
                  </a:lnTo>
                  <a:lnTo>
                    <a:pt x="981" y="170"/>
                  </a:lnTo>
                  <a:lnTo>
                    <a:pt x="989" y="170"/>
                  </a:lnTo>
                  <a:lnTo>
                    <a:pt x="989" y="162"/>
                  </a:lnTo>
                  <a:lnTo>
                    <a:pt x="989" y="162"/>
                  </a:lnTo>
                  <a:lnTo>
                    <a:pt x="989" y="155"/>
                  </a:lnTo>
                  <a:lnTo>
                    <a:pt x="996" y="155"/>
                  </a:lnTo>
                  <a:lnTo>
                    <a:pt x="996" y="155"/>
                  </a:lnTo>
                  <a:lnTo>
                    <a:pt x="1003" y="155"/>
                  </a:lnTo>
                  <a:lnTo>
                    <a:pt x="1003" y="155"/>
                  </a:lnTo>
                  <a:lnTo>
                    <a:pt x="1011" y="155"/>
                  </a:lnTo>
                  <a:lnTo>
                    <a:pt x="1011" y="155"/>
                  </a:lnTo>
                  <a:lnTo>
                    <a:pt x="1011" y="155"/>
                  </a:lnTo>
                  <a:lnTo>
                    <a:pt x="1011" y="155"/>
                  </a:lnTo>
                  <a:lnTo>
                    <a:pt x="1018" y="155"/>
                  </a:lnTo>
                  <a:lnTo>
                    <a:pt x="1018" y="147"/>
                  </a:lnTo>
                  <a:lnTo>
                    <a:pt x="1026" y="147"/>
                  </a:lnTo>
                  <a:lnTo>
                    <a:pt x="1026" y="147"/>
                  </a:lnTo>
                  <a:lnTo>
                    <a:pt x="1033" y="147"/>
                  </a:lnTo>
                  <a:lnTo>
                    <a:pt x="1033" y="140"/>
                  </a:lnTo>
                  <a:lnTo>
                    <a:pt x="1040" y="140"/>
                  </a:lnTo>
                  <a:lnTo>
                    <a:pt x="1040" y="140"/>
                  </a:lnTo>
                  <a:lnTo>
                    <a:pt x="1040" y="140"/>
                  </a:lnTo>
                  <a:lnTo>
                    <a:pt x="1040" y="140"/>
                  </a:lnTo>
                  <a:lnTo>
                    <a:pt x="1048" y="140"/>
                  </a:lnTo>
                  <a:lnTo>
                    <a:pt x="1048" y="133"/>
                  </a:lnTo>
                  <a:lnTo>
                    <a:pt x="1055" y="133"/>
                  </a:lnTo>
                  <a:lnTo>
                    <a:pt x="1055" y="133"/>
                  </a:lnTo>
                  <a:lnTo>
                    <a:pt x="1062" y="133"/>
                  </a:lnTo>
                  <a:lnTo>
                    <a:pt x="1062" y="125"/>
                  </a:lnTo>
                  <a:lnTo>
                    <a:pt x="1062" y="125"/>
                  </a:lnTo>
                  <a:lnTo>
                    <a:pt x="1062" y="125"/>
                  </a:lnTo>
                  <a:lnTo>
                    <a:pt x="1070" y="125"/>
                  </a:lnTo>
                  <a:lnTo>
                    <a:pt x="1070" y="125"/>
                  </a:lnTo>
                  <a:lnTo>
                    <a:pt x="1077" y="125"/>
                  </a:lnTo>
                  <a:lnTo>
                    <a:pt x="1077" y="118"/>
                  </a:lnTo>
                  <a:lnTo>
                    <a:pt x="1085" y="118"/>
                  </a:lnTo>
                  <a:lnTo>
                    <a:pt x="1085" y="118"/>
                  </a:lnTo>
                  <a:lnTo>
                    <a:pt x="1085" y="118"/>
                  </a:lnTo>
                  <a:lnTo>
                    <a:pt x="1085" y="118"/>
                  </a:lnTo>
                  <a:lnTo>
                    <a:pt x="1092" y="118"/>
                  </a:lnTo>
                  <a:lnTo>
                    <a:pt x="1092" y="111"/>
                  </a:lnTo>
                  <a:lnTo>
                    <a:pt x="1099" y="111"/>
                  </a:lnTo>
                  <a:lnTo>
                    <a:pt x="1099" y="96"/>
                  </a:lnTo>
                  <a:lnTo>
                    <a:pt x="1107" y="96"/>
                  </a:lnTo>
                  <a:lnTo>
                    <a:pt x="1107" y="74"/>
                  </a:lnTo>
                  <a:lnTo>
                    <a:pt x="1107" y="74"/>
                  </a:lnTo>
                  <a:lnTo>
                    <a:pt x="1107" y="74"/>
                  </a:lnTo>
                  <a:lnTo>
                    <a:pt x="1114" y="74"/>
                  </a:lnTo>
                  <a:lnTo>
                    <a:pt x="1114" y="74"/>
                  </a:lnTo>
                  <a:lnTo>
                    <a:pt x="1121" y="74"/>
                  </a:lnTo>
                  <a:lnTo>
                    <a:pt x="1121" y="74"/>
                  </a:lnTo>
                  <a:lnTo>
                    <a:pt x="1129" y="74"/>
                  </a:lnTo>
                  <a:lnTo>
                    <a:pt x="1129" y="66"/>
                  </a:lnTo>
                  <a:lnTo>
                    <a:pt x="1136" y="66"/>
                  </a:lnTo>
                  <a:lnTo>
                    <a:pt x="1136" y="66"/>
                  </a:lnTo>
                  <a:lnTo>
                    <a:pt x="1136" y="66"/>
                  </a:lnTo>
                  <a:lnTo>
                    <a:pt x="1136" y="66"/>
                  </a:lnTo>
                  <a:lnTo>
                    <a:pt x="1144" y="66"/>
                  </a:lnTo>
                  <a:lnTo>
                    <a:pt x="1144" y="66"/>
                  </a:lnTo>
                  <a:lnTo>
                    <a:pt x="1151" y="66"/>
                  </a:lnTo>
                  <a:lnTo>
                    <a:pt x="1151" y="59"/>
                  </a:lnTo>
                  <a:lnTo>
                    <a:pt x="1158" y="59"/>
                  </a:lnTo>
                  <a:lnTo>
                    <a:pt x="1158" y="59"/>
                  </a:lnTo>
                  <a:lnTo>
                    <a:pt x="1158" y="59"/>
                  </a:lnTo>
                  <a:lnTo>
                    <a:pt x="1158" y="52"/>
                  </a:lnTo>
                  <a:lnTo>
                    <a:pt x="1166" y="52"/>
                  </a:lnTo>
                  <a:lnTo>
                    <a:pt x="1166" y="52"/>
                  </a:lnTo>
                  <a:lnTo>
                    <a:pt x="1173" y="52"/>
                  </a:lnTo>
                  <a:lnTo>
                    <a:pt x="1173" y="52"/>
                  </a:lnTo>
                  <a:lnTo>
                    <a:pt x="1181" y="52"/>
                  </a:lnTo>
                  <a:lnTo>
                    <a:pt x="1181" y="52"/>
                  </a:lnTo>
                  <a:lnTo>
                    <a:pt x="1181" y="52"/>
                  </a:lnTo>
                  <a:lnTo>
                    <a:pt x="1181" y="37"/>
                  </a:lnTo>
                  <a:lnTo>
                    <a:pt x="1188" y="37"/>
                  </a:lnTo>
                  <a:lnTo>
                    <a:pt x="1188" y="29"/>
                  </a:lnTo>
                  <a:lnTo>
                    <a:pt x="1195" y="29"/>
                  </a:lnTo>
                  <a:lnTo>
                    <a:pt x="1195" y="29"/>
                  </a:lnTo>
                  <a:lnTo>
                    <a:pt x="1203" y="29"/>
                  </a:lnTo>
                  <a:lnTo>
                    <a:pt x="1203" y="22"/>
                  </a:lnTo>
                  <a:lnTo>
                    <a:pt x="1210" y="22"/>
                  </a:lnTo>
                  <a:lnTo>
                    <a:pt x="1210" y="22"/>
                  </a:lnTo>
                  <a:lnTo>
                    <a:pt x="1210" y="22"/>
                  </a:lnTo>
                  <a:lnTo>
                    <a:pt x="1210" y="22"/>
                  </a:lnTo>
                  <a:lnTo>
                    <a:pt x="1217" y="22"/>
                  </a:lnTo>
                  <a:lnTo>
                    <a:pt x="1217" y="15"/>
                  </a:lnTo>
                  <a:lnTo>
                    <a:pt x="1225" y="15"/>
                  </a:lnTo>
                  <a:lnTo>
                    <a:pt x="1225" y="7"/>
                  </a:lnTo>
                  <a:lnTo>
                    <a:pt x="1232" y="7"/>
                  </a:lnTo>
                  <a:lnTo>
                    <a:pt x="1232" y="7"/>
                  </a:lnTo>
                  <a:lnTo>
                    <a:pt x="1232" y="7"/>
                  </a:lnTo>
                  <a:lnTo>
                    <a:pt x="1232" y="0"/>
                  </a:lnTo>
                </a:path>
              </a:pathLst>
            </a:custGeom>
            <a:noFill/>
            <a:ln w="25400" cap="sq">
              <a:solidFill>
                <a:srgbClr val="0B0B4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40" name="Rectangle 39"/>
            <p:cNvSpPr>
              <a:spLocks noChangeArrowheads="1"/>
            </p:cNvSpPr>
            <p:nvPr/>
          </p:nvSpPr>
          <p:spPr bwMode="auto">
            <a:xfrm>
              <a:off x="9001126" y="3300413"/>
              <a:ext cx="12259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2538413" y="4471988"/>
              <a:ext cx="6227763" cy="666750"/>
            </a:xfrm>
            <a:custGeom>
              <a:avLst/>
              <a:gdLst>
                <a:gd name="T0" fmla="*/ 287 w 3923"/>
                <a:gd name="T1" fmla="*/ 420 h 420"/>
                <a:gd name="T2" fmla="*/ 376 w 3923"/>
                <a:gd name="T3" fmla="*/ 413 h 420"/>
                <a:gd name="T4" fmla="*/ 487 w 3923"/>
                <a:gd name="T5" fmla="*/ 413 h 420"/>
                <a:gd name="T6" fmla="*/ 627 w 3923"/>
                <a:gd name="T7" fmla="*/ 405 h 420"/>
                <a:gd name="T8" fmla="*/ 730 w 3923"/>
                <a:gd name="T9" fmla="*/ 405 h 420"/>
                <a:gd name="T10" fmla="*/ 841 w 3923"/>
                <a:gd name="T11" fmla="*/ 405 h 420"/>
                <a:gd name="T12" fmla="*/ 914 w 3923"/>
                <a:gd name="T13" fmla="*/ 398 h 420"/>
                <a:gd name="T14" fmla="*/ 988 w 3923"/>
                <a:gd name="T15" fmla="*/ 391 h 420"/>
                <a:gd name="T16" fmla="*/ 1062 w 3923"/>
                <a:gd name="T17" fmla="*/ 376 h 420"/>
                <a:gd name="T18" fmla="*/ 1121 w 3923"/>
                <a:gd name="T19" fmla="*/ 368 h 420"/>
                <a:gd name="T20" fmla="*/ 1209 w 3923"/>
                <a:gd name="T21" fmla="*/ 354 h 420"/>
                <a:gd name="T22" fmla="*/ 1357 w 3923"/>
                <a:gd name="T23" fmla="*/ 346 h 420"/>
                <a:gd name="T24" fmla="*/ 1460 w 3923"/>
                <a:gd name="T25" fmla="*/ 346 h 420"/>
                <a:gd name="T26" fmla="*/ 1534 w 3923"/>
                <a:gd name="T27" fmla="*/ 346 h 420"/>
                <a:gd name="T28" fmla="*/ 1622 w 3923"/>
                <a:gd name="T29" fmla="*/ 346 h 420"/>
                <a:gd name="T30" fmla="*/ 1755 w 3923"/>
                <a:gd name="T31" fmla="*/ 339 h 420"/>
                <a:gd name="T32" fmla="*/ 1829 w 3923"/>
                <a:gd name="T33" fmla="*/ 339 h 420"/>
                <a:gd name="T34" fmla="*/ 1888 w 3923"/>
                <a:gd name="T35" fmla="*/ 332 h 420"/>
                <a:gd name="T36" fmla="*/ 1932 w 3923"/>
                <a:gd name="T37" fmla="*/ 324 h 420"/>
                <a:gd name="T38" fmla="*/ 1984 w 3923"/>
                <a:gd name="T39" fmla="*/ 324 h 420"/>
                <a:gd name="T40" fmla="*/ 2028 w 3923"/>
                <a:gd name="T41" fmla="*/ 309 h 420"/>
                <a:gd name="T42" fmla="*/ 2080 w 3923"/>
                <a:gd name="T43" fmla="*/ 295 h 420"/>
                <a:gd name="T44" fmla="*/ 2124 w 3923"/>
                <a:gd name="T45" fmla="*/ 280 h 420"/>
                <a:gd name="T46" fmla="*/ 2168 w 3923"/>
                <a:gd name="T47" fmla="*/ 280 h 420"/>
                <a:gd name="T48" fmla="*/ 2212 w 3923"/>
                <a:gd name="T49" fmla="*/ 273 h 420"/>
                <a:gd name="T50" fmla="*/ 2257 w 3923"/>
                <a:gd name="T51" fmla="*/ 265 h 420"/>
                <a:gd name="T52" fmla="*/ 2316 w 3923"/>
                <a:gd name="T53" fmla="*/ 265 h 420"/>
                <a:gd name="T54" fmla="*/ 2360 w 3923"/>
                <a:gd name="T55" fmla="*/ 265 h 420"/>
                <a:gd name="T56" fmla="*/ 2404 w 3923"/>
                <a:gd name="T57" fmla="*/ 265 h 420"/>
                <a:gd name="T58" fmla="*/ 2448 w 3923"/>
                <a:gd name="T59" fmla="*/ 258 h 420"/>
                <a:gd name="T60" fmla="*/ 2493 w 3923"/>
                <a:gd name="T61" fmla="*/ 250 h 420"/>
                <a:gd name="T62" fmla="*/ 2537 w 3923"/>
                <a:gd name="T63" fmla="*/ 250 h 420"/>
                <a:gd name="T64" fmla="*/ 2589 w 3923"/>
                <a:gd name="T65" fmla="*/ 243 h 420"/>
                <a:gd name="T66" fmla="*/ 2633 w 3923"/>
                <a:gd name="T67" fmla="*/ 243 h 420"/>
                <a:gd name="T68" fmla="*/ 2677 w 3923"/>
                <a:gd name="T69" fmla="*/ 236 h 420"/>
                <a:gd name="T70" fmla="*/ 2721 w 3923"/>
                <a:gd name="T71" fmla="*/ 228 h 420"/>
                <a:gd name="T72" fmla="*/ 2766 w 3923"/>
                <a:gd name="T73" fmla="*/ 228 h 420"/>
                <a:gd name="T74" fmla="*/ 2810 w 3923"/>
                <a:gd name="T75" fmla="*/ 228 h 420"/>
                <a:gd name="T76" fmla="*/ 2854 w 3923"/>
                <a:gd name="T77" fmla="*/ 214 h 420"/>
                <a:gd name="T78" fmla="*/ 2906 w 3923"/>
                <a:gd name="T79" fmla="*/ 206 h 420"/>
                <a:gd name="T80" fmla="*/ 2950 w 3923"/>
                <a:gd name="T81" fmla="*/ 191 h 420"/>
                <a:gd name="T82" fmla="*/ 2994 w 3923"/>
                <a:gd name="T83" fmla="*/ 184 h 420"/>
                <a:gd name="T84" fmla="*/ 3038 w 3923"/>
                <a:gd name="T85" fmla="*/ 177 h 420"/>
                <a:gd name="T86" fmla="*/ 3083 w 3923"/>
                <a:gd name="T87" fmla="*/ 147 h 420"/>
                <a:gd name="T88" fmla="*/ 3127 w 3923"/>
                <a:gd name="T89" fmla="*/ 125 h 420"/>
                <a:gd name="T90" fmla="*/ 3171 w 3923"/>
                <a:gd name="T91" fmla="*/ 103 h 420"/>
                <a:gd name="T92" fmla="*/ 3215 w 3923"/>
                <a:gd name="T93" fmla="*/ 88 h 420"/>
                <a:gd name="T94" fmla="*/ 3267 w 3923"/>
                <a:gd name="T95" fmla="*/ 66 h 420"/>
                <a:gd name="T96" fmla="*/ 3311 w 3923"/>
                <a:gd name="T97" fmla="*/ 59 h 420"/>
                <a:gd name="T98" fmla="*/ 3356 w 3923"/>
                <a:gd name="T99" fmla="*/ 59 h 420"/>
                <a:gd name="T100" fmla="*/ 3400 w 3923"/>
                <a:gd name="T101" fmla="*/ 44 h 420"/>
                <a:gd name="T102" fmla="*/ 3444 w 3923"/>
                <a:gd name="T103" fmla="*/ 44 h 420"/>
                <a:gd name="T104" fmla="*/ 3488 w 3923"/>
                <a:gd name="T105" fmla="*/ 37 h 420"/>
                <a:gd name="T106" fmla="*/ 3533 w 3923"/>
                <a:gd name="T107" fmla="*/ 37 h 420"/>
                <a:gd name="T108" fmla="*/ 3584 w 3923"/>
                <a:gd name="T109" fmla="*/ 37 h 420"/>
                <a:gd name="T110" fmla="*/ 3628 w 3923"/>
                <a:gd name="T111" fmla="*/ 29 h 420"/>
                <a:gd name="T112" fmla="*/ 3673 w 3923"/>
                <a:gd name="T113" fmla="*/ 29 h 420"/>
                <a:gd name="T114" fmla="*/ 3717 w 3923"/>
                <a:gd name="T115" fmla="*/ 22 h 420"/>
                <a:gd name="T116" fmla="*/ 3761 w 3923"/>
                <a:gd name="T117" fmla="*/ 15 h 420"/>
                <a:gd name="T118" fmla="*/ 3805 w 3923"/>
                <a:gd name="T119" fmla="*/ 15 h 420"/>
                <a:gd name="T120" fmla="*/ 3850 w 3923"/>
                <a:gd name="T121" fmla="*/ 15 h 420"/>
                <a:gd name="T122" fmla="*/ 3901 w 3923"/>
                <a:gd name="T123" fmla="*/ 7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923" h="420">
                  <a:moveTo>
                    <a:pt x="0" y="420"/>
                  </a:moveTo>
                  <a:lnTo>
                    <a:pt x="103" y="420"/>
                  </a:lnTo>
                  <a:lnTo>
                    <a:pt x="103" y="420"/>
                  </a:lnTo>
                  <a:lnTo>
                    <a:pt x="169" y="420"/>
                  </a:lnTo>
                  <a:lnTo>
                    <a:pt x="169" y="420"/>
                  </a:lnTo>
                  <a:lnTo>
                    <a:pt x="214" y="420"/>
                  </a:lnTo>
                  <a:lnTo>
                    <a:pt x="214" y="420"/>
                  </a:lnTo>
                  <a:lnTo>
                    <a:pt x="221" y="420"/>
                  </a:lnTo>
                  <a:lnTo>
                    <a:pt x="221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43" y="420"/>
                  </a:lnTo>
                  <a:lnTo>
                    <a:pt x="243" y="420"/>
                  </a:lnTo>
                  <a:lnTo>
                    <a:pt x="258" y="420"/>
                  </a:lnTo>
                  <a:lnTo>
                    <a:pt x="258" y="420"/>
                  </a:lnTo>
                  <a:lnTo>
                    <a:pt x="287" y="420"/>
                  </a:lnTo>
                  <a:lnTo>
                    <a:pt x="287" y="420"/>
                  </a:lnTo>
                  <a:lnTo>
                    <a:pt x="310" y="420"/>
                  </a:lnTo>
                  <a:lnTo>
                    <a:pt x="310" y="420"/>
                  </a:lnTo>
                  <a:lnTo>
                    <a:pt x="317" y="420"/>
                  </a:lnTo>
                  <a:lnTo>
                    <a:pt x="317" y="420"/>
                  </a:lnTo>
                  <a:lnTo>
                    <a:pt x="339" y="420"/>
                  </a:lnTo>
                  <a:lnTo>
                    <a:pt x="339" y="420"/>
                  </a:lnTo>
                  <a:lnTo>
                    <a:pt x="354" y="420"/>
                  </a:lnTo>
                  <a:lnTo>
                    <a:pt x="354" y="420"/>
                  </a:lnTo>
                  <a:lnTo>
                    <a:pt x="361" y="420"/>
                  </a:lnTo>
                  <a:lnTo>
                    <a:pt x="361" y="413"/>
                  </a:lnTo>
                  <a:lnTo>
                    <a:pt x="361" y="413"/>
                  </a:lnTo>
                  <a:lnTo>
                    <a:pt x="361" y="413"/>
                  </a:lnTo>
                  <a:lnTo>
                    <a:pt x="369" y="413"/>
                  </a:lnTo>
                  <a:lnTo>
                    <a:pt x="369" y="413"/>
                  </a:lnTo>
                  <a:lnTo>
                    <a:pt x="376" y="413"/>
                  </a:lnTo>
                  <a:lnTo>
                    <a:pt x="376" y="413"/>
                  </a:lnTo>
                  <a:lnTo>
                    <a:pt x="383" y="413"/>
                  </a:lnTo>
                  <a:lnTo>
                    <a:pt x="383" y="413"/>
                  </a:lnTo>
                  <a:lnTo>
                    <a:pt x="383" y="413"/>
                  </a:lnTo>
                  <a:lnTo>
                    <a:pt x="383" y="413"/>
                  </a:lnTo>
                  <a:lnTo>
                    <a:pt x="413" y="413"/>
                  </a:lnTo>
                  <a:lnTo>
                    <a:pt x="413" y="413"/>
                  </a:lnTo>
                  <a:lnTo>
                    <a:pt x="420" y="413"/>
                  </a:lnTo>
                  <a:lnTo>
                    <a:pt x="420" y="413"/>
                  </a:lnTo>
                  <a:lnTo>
                    <a:pt x="428" y="413"/>
                  </a:lnTo>
                  <a:lnTo>
                    <a:pt x="428" y="413"/>
                  </a:lnTo>
                  <a:lnTo>
                    <a:pt x="464" y="413"/>
                  </a:lnTo>
                  <a:lnTo>
                    <a:pt x="464" y="413"/>
                  </a:lnTo>
                  <a:lnTo>
                    <a:pt x="487" y="413"/>
                  </a:lnTo>
                  <a:lnTo>
                    <a:pt x="487" y="413"/>
                  </a:lnTo>
                  <a:lnTo>
                    <a:pt x="487" y="413"/>
                  </a:lnTo>
                  <a:lnTo>
                    <a:pt x="487" y="413"/>
                  </a:lnTo>
                  <a:lnTo>
                    <a:pt x="553" y="413"/>
                  </a:lnTo>
                  <a:lnTo>
                    <a:pt x="553" y="413"/>
                  </a:lnTo>
                  <a:lnTo>
                    <a:pt x="560" y="413"/>
                  </a:lnTo>
                  <a:lnTo>
                    <a:pt x="560" y="413"/>
                  </a:lnTo>
                  <a:lnTo>
                    <a:pt x="575" y="413"/>
                  </a:lnTo>
                  <a:lnTo>
                    <a:pt x="575" y="405"/>
                  </a:lnTo>
                  <a:lnTo>
                    <a:pt x="597" y="405"/>
                  </a:lnTo>
                  <a:lnTo>
                    <a:pt x="597" y="405"/>
                  </a:lnTo>
                  <a:lnTo>
                    <a:pt x="605" y="405"/>
                  </a:lnTo>
                  <a:lnTo>
                    <a:pt x="605" y="405"/>
                  </a:lnTo>
                  <a:lnTo>
                    <a:pt x="619" y="405"/>
                  </a:lnTo>
                  <a:lnTo>
                    <a:pt x="619" y="405"/>
                  </a:lnTo>
                  <a:lnTo>
                    <a:pt x="627" y="405"/>
                  </a:lnTo>
                  <a:lnTo>
                    <a:pt x="627" y="405"/>
                  </a:lnTo>
                  <a:lnTo>
                    <a:pt x="627" y="405"/>
                  </a:lnTo>
                  <a:lnTo>
                    <a:pt x="627" y="405"/>
                  </a:lnTo>
                  <a:lnTo>
                    <a:pt x="649" y="405"/>
                  </a:lnTo>
                  <a:lnTo>
                    <a:pt x="649" y="405"/>
                  </a:lnTo>
                  <a:lnTo>
                    <a:pt x="678" y="405"/>
                  </a:lnTo>
                  <a:lnTo>
                    <a:pt x="678" y="405"/>
                  </a:lnTo>
                  <a:lnTo>
                    <a:pt x="686" y="405"/>
                  </a:lnTo>
                  <a:lnTo>
                    <a:pt x="686" y="405"/>
                  </a:lnTo>
                  <a:lnTo>
                    <a:pt x="693" y="405"/>
                  </a:lnTo>
                  <a:lnTo>
                    <a:pt x="693" y="405"/>
                  </a:lnTo>
                  <a:lnTo>
                    <a:pt x="715" y="405"/>
                  </a:lnTo>
                  <a:lnTo>
                    <a:pt x="715" y="405"/>
                  </a:lnTo>
                  <a:lnTo>
                    <a:pt x="723" y="405"/>
                  </a:lnTo>
                  <a:lnTo>
                    <a:pt x="723" y="405"/>
                  </a:lnTo>
                  <a:lnTo>
                    <a:pt x="723" y="405"/>
                  </a:lnTo>
                  <a:lnTo>
                    <a:pt x="723" y="405"/>
                  </a:lnTo>
                  <a:lnTo>
                    <a:pt x="730" y="405"/>
                  </a:lnTo>
                  <a:lnTo>
                    <a:pt x="730" y="405"/>
                  </a:lnTo>
                  <a:lnTo>
                    <a:pt x="745" y="405"/>
                  </a:lnTo>
                  <a:lnTo>
                    <a:pt x="745" y="405"/>
                  </a:lnTo>
                  <a:lnTo>
                    <a:pt x="752" y="405"/>
                  </a:lnTo>
                  <a:lnTo>
                    <a:pt x="752" y="405"/>
                  </a:lnTo>
                  <a:lnTo>
                    <a:pt x="752" y="405"/>
                  </a:lnTo>
                  <a:lnTo>
                    <a:pt x="752" y="405"/>
                  </a:lnTo>
                  <a:lnTo>
                    <a:pt x="782" y="405"/>
                  </a:lnTo>
                  <a:lnTo>
                    <a:pt x="782" y="405"/>
                  </a:lnTo>
                  <a:lnTo>
                    <a:pt x="796" y="405"/>
                  </a:lnTo>
                  <a:lnTo>
                    <a:pt x="796" y="405"/>
                  </a:lnTo>
                  <a:lnTo>
                    <a:pt x="818" y="405"/>
                  </a:lnTo>
                  <a:lnTo>
                    <a:pt x="818" y="405"/>
                  </a:lnTo>
                  <a:lnTo>
                    <a:pt x="826" y="405"/>
                  </a:lnTo>
                  <a:lnTo>
                    <a:pt x="826" y="405"/>
                  </a:lnTo>
                  <a:lnTo>
                    <a:pt x="841" y="405"/>
                  </a:lnTo>
                  <a:lnTo>
                    <a:pt x="841" y="405"/>
                  </a:lnTo>
                  <a:lnTo>
                    <a:pt x="848" y="405"/>
                  </a:lnTo>
                  <a:lnTo>
                    <a:pt x="848" y="398"/>
                  </a:lnTo>
                  <a:lnTo>
                    <a:pt x="855" y="398"/>
                  </a:lnTo>
                  <a:lnTo>
                    <a:pt x="855" y="398"/>
                  </a:lnTo>
                  <a:lnTo>
                    <a:pt x="870" y="398"/>
                  </a:lnTo>
                  <a:lnTo>
                    <a:pt x="870" y="398"/>
                  </a:lnTo>
                  <a:lnTo>
                    <a:pt x="870" y="398"/>
                  </a:lnTo>
                  <a:lnTo>
                    <a:pt x="870" y="398"/>
                  </a:lnTo>
                  <a:lnTo>
                    <a:pt x="877" y="398"/>
                  </a:lnTo>
                  <a:lnTo>
                    <a:pt x="877" y="398"/>
                  </a:lnTo>
                  <a:lnTo>
                    <a:pt x="885" y="398"/>
                  </a:lnTo>
                  <a:lnTo>
                    <a:pt x="885" y="398"/>
                  </a:lnTo>
                  <a:lnTo>
                    <a:pt x="892" y="398"/>
                  </a:lnTo>
                  <a:lnTo>
                    <a:pt x="892" y="398"/>
                  </a:lnTo>
                  <a:lnTo>
                    <a:pt x="914" y="398"/>
                  </a:lnTo>
                  <a:lnTo>
                    <a:pt x="914" y="391"/>
                  </a:lnTo>
                  <a:lnTo>
                    <a:pt x="922" y="391"/>
                  </a:lnTo>
                  <a:lnTo>
                    <a:pt x="922" y="391"/>
                  </a:lnTo>
                  <a:lnTo>
                    <a:pt x="936" y="391"/>
                  </a:lnTo>
                  <a:lnTo>
                    <a:pt x="936" y="391"/>
                  </a:lnTo>
                  <a:lnTo>
                    <a:pt x="944" y="391"/>
                  </a:lnTo>
                  <a:lnTo>
                    <a:pt x="944" y="391"/>
                  </a:lnTo>
                  <a:lnTo>
                    <a:pt x="944" y="391"/>
                  </a:lnTo>
                  <a:lnTo>
                    <a:pt x="944" y="391"/>
                  </a:lnTo>
                  <a:lnTo>
                    <a:pt x="951" y="391"/>
                  </a:lnTo>
                  <a:lnTo>
                    <a:pt x="951" y="391"/>
                  </a:lnTo>
                  <a:lnTo>
                    <a:pt x="966" y="391"/>
                  </a:lnTo>
                  <a:lnTo>
                    <a:pt x="966" y="391"/>
                  </a:lnTo>
                  <a:lnTo>
                    <a:pt x="981" y="391"/>
                  </a:lnTo>
                  <a:lnTo>
                    <a:pt x="981" y="391"/>
                  </a:lnTo>
                  <a:lnTo>
                    <a:pt x="988" y="391"/>
                  </a:lnTo>
                  <a:lnTo>
                    <a:pt x="988" y="391"/>
                  </a:lnTo>
                  <a:lnTo>
                    <a:pt x="988" y="391"/>
                  </a:lnTo>
                  <a:lnTo>
                    <a:pt x="988" y="383"/>
                  </a:lnTo>
                  <a:lnTo>
                    <a:pt x="995" y="383"/>
                  </a:lnTo>
                  <a:lnTo>
                    <a:pt x="995" y="383"/>
                  </a:lnTo>
                  <a:lnTo>
                    <a:pt x="1003" y="383"/>
                  </a:lnTo>
                  <a:lnTo>
                    <a:pt x="1003" y="383"/>
                  </a:lnTo>
                  <a:lnTo>
                    <a:pt x="1018" y="383"/>
                  </a:lnTo>
                  <a:lnTo>
                    <a:pt x="1018" y="383"/>
                  </a:lnTo>
                  <a:lnTo>
                    <a:pt x="1025" y="383"/>
                  </a:lnTo>
                  <a:lnTo>
                    <a:pt x="1025" y="376"/>
                  </a:lnTo>
                  <a:lnTo>
                    <a:pt x="1032" y="376"/>
                  </a:lnTo>
                  <a:lnTo>
                    <a:pt x="1032" y="376"/>
                  </a:lnTo>
                  <a:lnTo>
                    <a:pt x="1040" y="376"/>
                  </a:lnTo>
                  <a:lnTo>
                    <a:pt x="1040" y="376"/>
                  </a:lnTo>
                  <a:lnTo>
                    <a:pt x="1062" y="376"/>
                  </a:lnTo>
                  <a:lnTo>
                    <a:pt x="1062" y="376"/>
                  </a:lnTo>
                  <a:lnTo>
                    <a:pt x="1062" y="376"/>
                  </a:lnTo>
                  <a:lnTo>
                    <a:pt x="1062" y="376"/>
                  </a:lnTo>
                  <a:lnTo>
                    <a:pt x="1084" y="376"/>
                  </a:lnTo>
                  <a:lnTo>
                    <a:pt x="1084" y="376"/>
                  </a:lnTo>
                  <a:lnTo>
                    <a:pt x="1091" y="376"/>
                  </a:lnTo>
                  <a:lnTo>
                    <a:pt x="1091" y="368"/>
                  </a:lnTo>
                  <a:lnTo>
                    <a:pt x="1099" y="368"/>
                  </a:lnTo>
                  <a:lnTo>
                    <a:pt x="1099" y="368"/>
                  </a:lnTo>
                  <a:lnTo>
                    <a:pt x="1106" y="368"/>
                  </a:lnTo>
                  <a:lnTo>
                    <a:pt x="1106" y="368"/>
                  </a:lnTo>
                  <a:lnTo>
                    <a:pt x="1113" y="368"/>
                  </a:lnTo>
                  <a:lnTo>
                    <a:pt x="1113" y="368"/>
                  </a:lnTo>
                  <a:lnTo>
                    <a:pt x="1113" y="368"/>
                  </a:lnTo>
                  <a:lnTo>
                    <a:pt x="1113" y="368"/>
                  </a:lnTo>
                  <a:lnTo>
                    <a:pt x="1121" y="368"/>
                  </a:lnTo>
                  <a:lnTo>
                    <a:pt x="1121" y="368"/>
                  </a:lnTo>
                  <a:lnTo>
                    <a:pt x="1136" y="368"/>
                  </a:lnTo>
                  <a:lnTo>
                    <a:pt x="1136" y="361"/>
                  </a:lnTo>
                  <a:lnTo>
                    <a:pt x="1150" y="361"/>
                  </a:lnTo>
                  <a:lnTo>
                    <a:pt x="1150" y="361"/>
                  </a:lnTo>
                  <a:lnTo>
                    <a:pt x="1158" y="361"/>
                  </a:lnTo>
                  <a:lnTo>
                    <a:pt x="1158" y="361"/>
                  </a:lnTo>
                  <a:lnTo>
                    <a:pt x="1158" y="361"/>
                  </a:lnTo>
                  <a:lnTo>
                    <a:pt x="1158" y="354"/>
                  </a:lnTo>
                  <a:lnTo>
                    <a:pt x="1172" y="354"/>
                  </a:lnTo>
                  <a:lnTo>
                    <a:pt x="1172" y="354"/>
                  </a:lnTo>
                  <a:lnTo>
                    <a:pt x="1180" y="354"/>
                  </a:lnTo>
                  <a:lnTo>
                    <a:pt x="1180" y="354"/>
                  </a:lnTo>
                  <a:lnTo>
                    <a:pt x="1187" y="354"/>
                  </a:lnTo>
                  <a:lnTo>
                    <a:pt x="1187" y="354"/>
                  </a:lnTo>
                  <a:lnTo>
                    <a:pt x="1209" y="354"/>
                  </a:lnTo>
                  <a:lnTo>
                    <a:pt x="1209" y="354"/>
                  </a:lnTo>
                  <a:lnTo>
                    <a:pt x="1239" y="354"/>
                  </a:lnTo>
                  <a:lnTo>
                    <a:pt x="1239" y="354"/>
                  </a:lnTo>
                  <a:lnTo>
                    <a:pt x="1254" y="354"/>
                  </a:lnTo>
                  <a:lnTo>
                    <a:pt x="1254" y="354"/>
                  </a:lnTo>
                  <a:lnTo>
                    <a:pt x="1283" y="354"/>
                  </a:lnTo>
                  <a:lnTo>
                    <a:pt x="1283" y="354"/>
                  </a:lnTo>
                  <a:lnTo>
                    <a:pt x="1298" y="354"/>
                  </a:lnTo>
                  <a:lnTo>
                    <a:pt x="1298" y="346"/>
                  </a:lnTo>
                  <a:lnTo>
                    <a:pt x="1305" y="346"/>
                  </a:lnTo>
                  <a:lnTo>
                    <a:pt x="1305" y="346"/>
                  </a:lnTo>
                  <a:lnTo>
                    <a:pt x="1305" y="346"/>
                  </a:lnTo>
                  <a:lnTo>
                    <a:pt x="1305" y="346"/>
                  </a:lnTo>
                  <a:lnTo>
                    <a:pt x="1349" y="346"/>
                  </a:lnTo>
                  <a:lnTo>
                    <a:pt x="1349" y="346"/>
                  </a:lnTo>
                  <a:lnTo>
                    <a:pt x="1357" y="346"/>
                  </a:lnTo>
                  <a:lnTo>
                    <a:pt x="1357" y="346"/>
                  </a:lnTo>
                  <a:lnTo>
                    <a:pt x="1364" y="346"/>
                  </a:lnTo>
                  <a:lnTo>
                    <a:pt x="1364" y="346"/>
                  </a:lnTo>
                  <a:lnTo>
                    <a:pt x="1386" y="346"/>
                  </a:lnTo>
                  <a:lnTo>
                    <a:pt x="1386" y="346"/>
                  </a:lnTo>
                  <a:lnTo>
                    <a:pt x="1401" y="346"/>
                  </a:lnTo>
                  <a:lnTo>
                    <a:pt x="1401" y="346"/>
                  </a:lnTo>
                  <a:lnTo>
                    <a:pt x="1401" y="346"/>
                  </a:lnTo>
                  <a:lnTo>
                    <a:pt x="1401" y="346"/>
                  </a:lnTo>
                  <a:lnTo>
                    <a:pt x="1438" y="346"/>
                  </a:lnTo>
                  <a:lnTo>
                    <a:pt x="1438" y="346"/>
                  </a:lnTo>
                  <a:lnTo>
                    <a:pt x="1453" y="346"/>
                  </a:lnTo>
                  <a:lnTo>
                    <a:pt x="1453" y="346"/>
                  </a:lnTo>
                  <a:lnTo>
                    <a:pt x="1453" y="346"/>
                  </a:lnTo>
                  <a:lnTo>
                    <a:pt x="1453" y="346"/>
                  </a:lnTo>
                  <a:lnTo>
                    <a:pt x="1460" y="346"/>
                  </a:lnTo>
                  <a:lnTo>
                    <a:pt x="1460" y="346"/>
                  </a:lnTo>
                  <a:lnTo>
                    <a:pt x="1475" y="346"/>
                  </a:lnTo>
                  <a:lnTo>
                    <a:pt x="1475" y="346"/>
                  </a:lnTo>
                  <a:lnTo>
                    <a:pt x="1482" y="346"/>
                  </a:lnTo>
                  <a:lnTo>
                    <a:pt x="1482" y="346"/>
                  </a:lnTo>
                  <a:lnTo>
                    <a:pt x="1490" y="346"/>
                  </a:lnTo>
                  <a:lnTo>
                    <a:pt x="1490" y="346"/>
                  </a:lnTo>
                  <a:lnTo>
                    <a:pt x="1497" y="346"/>
                  </a:lnTo>
                  <a:lnTo>
                    <a:pt x="1497" y="346"/>
                  </a:lnTo>
                  <a:lnTo>
                    <a:pt x="1497" y="346"/>
                  </a:lnTo>
                  <a:lnTo>
                    <a:pt x="1497" y="346"/>
                  </a:lnTo>
                  <a:lnTo>
                    <a:pt x="1512" y="346"/>
                  </a:lnTo>
                  <a:lnTo>
                    <a:pt x="1512" y="346"/>
                  </a:lnTo>
                  <a:lnTo>
                    <a:pt x="1526" y="346"/>
                  </a:lnTo>
                  <a:lnTo>
                    <a:pt x="1526" y="346"/>
                  </a:lnTo>
                  <a:lnTo>
                    <a:pt x="1534" y="346"/>
                  </a:lnTo>
                  <a:lnTo>
                    <a:pt x="1534" y="346"/>
                  </a:lnTo>
                  <a:lnTo>
                    <a:pt x="1541" y="346"/>
                  </a:lnTo>
                  <a:lnTo>
                    <a:pt x="1541" y="346"/>
                  </a:lnTo>
                  <a:lnTo>
                    <a:pt x="1549" y="346"/>
                  </a:lnTo>
                  <a:lnTo>
                    <a:pt x="1549" y="346"/>
                  </a:lnTo>
                  <a:lnTo>
                    <a:pt x="1549" y="346"/>
                  </a:lnTo>
                  <a:lnTo>
                    <a:pt x="1549" y="346"/>
                  </a:lnTo>
                  <a:lnTo>
                    <a:pt x="1556" y="346"/>
                  </a:lnTo>
                  <a:lnTo>
                    <a:pt x="1556" y="346"/>
                  </a:lnTo>
                  <a:lnTo>
                    <a:pt x="1593" y="346"/>
                  </a:lnTo>
                  <a:lnTo>
                    <a:pt x="1593" y="346"/>
                  </a:lnTo>
                  <a:lnTo>
                    <a:pt x="1600" y="346"/>
                  </a:lnTo>
                  <a:lnTo>
                    <a:pt x="1600" y="346"/>
                  </a:lnTo>
                  <a:lnTo>
                    <a:pt x="1622" y="346"/>
                  </a:lnTo>
                  <a:lnTo>
                    <a:pt x="1622" y="346"/>
                  </a:lnTo>
                  <a:lnTo>
                    <a:pt x="1622" y="346"/>
                  </a:lnTo>
                  <a:lnTo>
                    <a:pt x="1622" y="346"/>
                  </a:lnTo>
                  <a:lnTo>
                    <a:pt x="1645" y="346"/>
                  </a:lnTo>
                  <a:lnTo>
                    <a:pt x="1645" y="339"/>
                  </a:lnTo>
                  <a:lnTo>
                    <a:pt x="1645" y="339"/>
                  </a:lnTo>
                  <a:lnTo>
                    <a:pt x="1645" y="339"/>
                  </a:lnTo>
                  <a:lnTo>
                    <a:pt x="1674" y="339"/>
                  </a:lnTo>
                  <a:lnTo>
                    <a:pt x="1674" y="339"/>
                  </a:lnTo>
                  <a:lnTo>
                    <a:pt x="1696" y="339"/>
                  </a:lnTo>
                  <a:lnTo>
                    <a:pt x="1696" y="339"/>
                  </a:lnTo>
                  <a:lnTo>
                    <a:pt x="1718" y="339"/>
                  </a:lnTo>
                  <a:lnTo>
                    <a:pt x="1718" y="339"/>
                  </a:lnTo>
                  <a:lnTo>
                    <a:pt x="1740" y="339"/>
                  </a:lnTo>
                  <a:lnTo>
                    <a:pt x="1740" y="339"/>
                  </a:lnTo>
                  <a:lnTo>
                    <a:pt x="1748" y="339"/>
                  </a:lnTo>
                  <a:lnTo>
                    <a:pt x="1748" y="339"/>
                  </a:lnTo>
                  <a:lnTo>
                    <a:pt x="1755" y="339"/>
                  </a:lnTo>
                  <a:lnTo>
                    <a:pt x="1755" y="339"/>
                  </a:lnTo>
                  <a:lnTo>
                    <a:pt x="1763" y="339"/>
                  </a:lnTo>
                  <a:lnTo>
                    <a:pt x="1763" y="339"/>
                  </a:lnTo>
                  <a:lnTo>
                    <a:pt x="1792" y="339"/>
                  </a:lnTo>
                  <a:lnTo>
                    <a:pt x="1792" y="339"/>
                  </a:lnTo>
                  <a:lnTo>
                    <a:pt x="1792" y="339"/>
                  </a:lnTo>
                  <a:lnTo>
                    <a:pt x="1792" y="339"/>
                  </a:lnTo>
                  <a:lnTo>
                    <a:pt x="1799" y="339"/>
                  </a:lnTo>
                  <a:lnTo>
                    <a:pt x="1799" y="339"/>
                  </a:lnTo>
                  <a:lnTo>
                    <a:pt x="1814" y="339"/>
                  </a:lnTo>
                  <a:lnTo>
                    <a:pt x="1814" y="339"/>
                  </a:lnTo>
                  <a:lnTo>
                    <a:pt x="1814" y="339"/>
                  </a:lnTo>
                  <a:lnTo>
                    <a:pt x="1814" y="339"/>
                  </a:lnTo>
                  <a:lnTo>
                    <a:pt x="1822" y="339"/>
                  </a:lnTo>
                  <a:lnTo>
                    <a:pt x="1822" y="339"/>
                  </a:lnTo>
                  <a:lnTo>
                    <a:pt x="1829" y="339"/>
                  </a:lnTo>
                  <a:lnTo>
                    <a:pt x="1829" y="339"/>
                  </a:lnTo>
                  <a:lnTo>
                    <a:pt x="1836" y="339"/>
                  </a:lnTo>
                  <a:lnTo>
                    <a:pt x="1836" y="339"/>
                  </a:lnTo>
                  <a:lnTo>
                    <a:pt x="1836" y="339"/>
                  </a:lnTo>
                  <a:lnTo>
                    <a:pt x="1836" y="332"/>
                  </a:lnTo>
                  <a:lnTo>
                    <a:pt x="1866" y="332"/>
                  </a:lnTo>
                  <a:lnTo>
                    <a:pt x="1866" y="332"/>
                  </a:lnTo>
                  <a:lnTo>
                    <a:pt x="1866" y="332"/>
                  </a:lnTo>
                  <a:lnTo>
                    <a:pt x="1866" y="332"/>
                  </a:lnTo>
                  <a:lnTo>
                    <a:pt x="1873" y="332"/>
                  </a:lnTo>
                  <a:lnTo>
                    <a:pt x="1873" y="332"/>
                  </a:lnTo>
                  <a:lnTo>
                    <a:pt x="1881" y="332"/>
                  </a:lnTo>
                  <a:lnTo>
                    <a:pt x="1881" y="332"/>
                  </a:lnTo>
                  <a:lnTo>
                    <a:pt x="1888" y="332"/>
                  </a:lnTo>
                  <a:lnTo>
                    <a:pt x="1888" y="332"/>
                  </a:lnTo>
                  <a:lnTo>
                    <a:pt x="1888" y="332"/>
                  </a:lnTo>
                  <a:lnTo>
                    <a:pt x="1888" y="332"/>
                  </a:lnTo>
                  <a:lnTo>
                    <a:pt x="1895" y="332"/>
                  </a:lnTo>
                  <a:lnTo>
                    <a:pt x="1895" y="324"/>
                  </a:lnTo>
                  <a:lnTo>
                    <a:pt x="1903" y="324"/>
                  </a:lnTo>
                  <a:lnTo>
                    <a:pt x="1903" y="324"/>
                  </a:lnTo>
                  <a:lnTo>
                    <a:pt x="1910" y="324"/>
                  </a:lnTo>
                  <a:lnTo>
                    <a:pt x="1910" y="324"/>
                  </a:lnTo>
                  <a:lnTo>
                    <a:pt x="1910" y="324"/>
                  </a:lnTo>
                  <a:lnTo>
                    <a:pt x="1910" y="324"/>
                  </a:lnTo>
                  <a:lnTo>
                    <a:pt x="1917" y="324"/>
                  </a:lnTo>
                  <a:lnTo>
                    <a:pt x="1917" y="324"/>
                  </a:lnTo>
                  <a:lnTo>
                    <a:pt x="1925" y="324"/>
                  </a:lnTo>
                  <a:lnTo>
                    <a:pt x="1925" y="324"/>
                  </a:lnTo>
                  <a:lnTo>
                    <a:pt x="1932" y="324"/>
                  </a:lnTo>
                  <a:lnTo>
                    <a:pt x="1932" y="324"/>
                  </a:lnTo>
                  <a:lnTo>
                    <a:pt x="1932" y="324"/>
                  </a:lnTo>
                  <a:lnTo>
                    <a:pt x="1932" y="324"/>
                  </a:lnTo>
                  <a:lnTo>
                    <a:pt x="1940" y="324"/>
                  </a:lnTo>
                  <a:lnTo>
                    <a:pt x="1940" y="324"/>
                  </a:lnTo>
                  <a:lnTo>
                    <a:pt x="1947" y="324"/>
                  </a:lnTo>
                  <a:lnTo>
                    <a:pt x="1947" y="324"/>
                  </a:lnTo>
                  <a:lnTo>
                    <a:pt x="1954" y="324"/>
                  </a:lnTo>
                  <a:lnTo>
                    <a:pt x="1954" y="324"/>
                  </a:lnTo>
                  <a:lnTo>
                    <a:pt x="1962" y="324"/>
                  </a:lnTo>
                  <a:lnTo>
                    <a:pt x="1962" y="324"/>
                  </a:lnTo>
                  <a:lnTo>
                    <a:pt x="1962" y="324"/>
                  </a:lnTo>
                  <a:lnTo>
                    <a:pt x="1962" y="324"/>
                  </a:lnTo>
                  <a:lnTo>
                    <a:pt x="1969" y="324"/>
                  </a:lnTo>
                  <a:lnTo>
                    <a:pt x="1969" y="324"/>
                  </a:lnTo>
                  <a:lnTo>
                    <a:pt x="1976" y="324"/>
                  </a:lnTo>
                  <a:lnTo>
                    <a:pt x="1976" y="324"/>
                  </a:lnTo>
                  <a:lnTo>
                    <a:pt x="1984" y="324"/>
                  </a:lnTo>
                  <a:lnTo>
                    <a:pt x="1984" y="317"/>
                  </a:lnTo>
                  <a:lnTo>
                    <a:pt x="1984" y="317"/>
                  </a:lnTo>
                  <a:lnTo>
                    <a:pt x="1984" y="317"/>
                  </a:lnTo>
                  <a:lnTo>
                    <a:pt x="1991" y="317"/>
                  </a:lnTo>
                  <a:lnTo>
                    <a:pt x="1991" y="317"/>
                  </a:lnTo>
                  <a:lnTo>
                    <a:pt x="1999" y="317"/>
                  </a:lnTo>
                  <a:lnTo>
                    <a:pt x="1999" y="317"/>
                  </a:lnTo>
                  <a:lnTo>
                    <a:pt x="2006" y="317"/>
                  </a:lnTo>
                  <a:lnTo>
                    <a:pt x="2006" y="317"/>
                  </a:lnTo>
                  <a:lnTo>
                    <a:pt x="2006" y="317"/>
                  </a:lnTo>
                  <a:lnTo>
                    <a:pt x="2006" y="317"/>
                  </a:lnTo>
                  <a:lnTo>
                    <a:pt x="2013" y="317"/>
                  </a:lnTo>
                  <a:lnTo>
                    <a:pt x="2013" y="309"/>
                  </a:lnTo>
                  <a:lnTo>
                    <a:pt x="2021" y="309"/>
                  </a:lnTo>
                  <a:lnTo>
                    <a:pt x="2021" y="309"/>
                  </a:lnTo>
                  <a:lnTo>
                    <a:pt x="2028" y="309"/>
                  </a:lnTo>
                  <a:lnTo>
                    <a:pt x="2028" y="309"/>
                  </a:lnTo>
                  <a:lnTo>
                    <a:pt x="2035" y="309"/>
                  </a:lnTo>
                  <a:lnTo>
                    <a:pt x="2035" y="309"/>
                  </a:lnTo>
                  <a:lnTo>
                    <a:pt x="2035" y="309"/>
                  </a:lnTo>
                  <a:lnTo>
                    <a:pt x="2035" y="302"/>
                  </a:lnTo>
                  <a:lnTo>
                    <a:pt x="2043" y="302"/>
                  </a:lnTo>
                  <a:lnTo>
                    <a:pt x="2043" y="302"/>
                  </a:lnTo>
                  <a:lnTo>
                    <a:pt x="2058" y="302"/>
                  </a:lnTo>
                  <a:lnTo>
                    <a:pt x="2058" y="302"/>
                  </a:lnTo>
                  <a:lnTo>
                    <a:pt x="2058" y="302"/>
                  </a:lnTo>
                  <a:lnTo>
                    <a:pt x="2058" y="295"/>
                  </a:lnTo>
                  <a:lnTo>
                    <a:pt x="2065" y="295"/>
                  </a:lnTo>
                  <a:lnTo>
                    <a:pt x="2065" y="295"/>
                  </a:lnTo>
                  <a:lnTo>
                    <a:pt x="2072" y="295"/>
                  </a:lnTo>
                  <a:lnTo>
                    <a:pt x="2072" y="295"/>
                  </a:lnTo>
                  <a:lnTo>
                    <a:pt x="2080" y="295"/>
                  </a:lnTo>
                  <a:lnTo>
                    <a:pt x="2080" y="295"/>
                  </a:lnTo>
                  <a:lnTo>
                    <a:pt x="2080" y="295"/>
                  </a:lnTo>
                  <a:lnTo>
                    <a:pt x="2080" y="295"/>
                  </a:lnTo>
                  <a:lnTo>
                    <a:pt x="2087" y="295"/>
                  </a:lnTo>
                  <a:lnTo>
                    <a:pt x="2087" y="287"/>
                  </a:lnTo>
                  <a:lnTo>
                    <a:pt x="2094" y="287"/>
                  </a:lnTo>
                  <a:lnTo>
                    <a:pt x="2094" y="287"/>
                  </a:lnTo>
                  <a:lnTo>
                    <a:pt x="2102" y="287"/>
                  </a:lnTo>
                  <a:lnTo>
                    <a:pt x="2102" y="287"/>
                  </a:lnTo>
                  <a:lnTo>
                    <a:pt x="2102" y="287"/>
                  </a:lnTo>
                  <a:lnTo>
                    <a:pt x="2102" y="280"/>
                  </a:lnTo>
                  <a:lnTo>
                    <a:pt x="2109" y="280"/>
                  </a:lnTo>
                  <a:lnTo>
                    <a:pt x="2109" y="280"/>
                  </a:lnTo>
                  <a:lnTo>
                    <a:pt x="2117" y="280"/>
                  </a:lnTo>
                  <a:lnTo>
                    <a:pt x="2117" y="280"/>
                  </a:lnTo>
                  <a:lnTo>
                    <a:pt x="2124" y="280"/>
                  </a:lnTo>
                  <a:lnTo>
                    <a:pt x="2124" y="280"/>
                  </a:lnTo>
                  <a:lnTo>
                    <a:pt x="2131" y="280"/>
                  </a:lnTo>
                  <a:lnTo>
                    <a:pt x="2131" y="280"/>
                  </a:lnTo>
                  <a:lnTo>
                    <a:pt x="2131" y="280"/>
                  </a:lnTo>
                  <a:lnTo>
                    <a:pt x="2131" y="280"/>
                  </a:lnTo>
                  <a:lnTo>
                    <a:pt x="2139" y="280"/>
                  </a:lnTo>
                  <a:lnTo>
                    <a:pt x="2139" y="280"/>
                  </a:lnTo>
                  <a:lnTo>
                    <a:pt x="2146" y="280"/>
                  </a:lnTo>
                  <a:lnTo>
                    <a:pt x="2146" y="280"/>
                  </a:lnTo>
                  <a:lnTo>
                    <a:pt x="2153" y="280"/>
                  </a:lnTo>
                  <a:lnTo>
                    <a:pt x="2153" y="280"/>
                  </a:lnTo>
                  <a:lnTo>
                    <a:pt x="2153" y="280"/>
                  </a:lnTo>
                  <a:lnTo>
                    <a:pt x="2153" y="280"/>
                  </a:lnTo>
                  <a:lnTo>
                    <a:pt x="2161" y="280"/>
                  </a:lnTo>
                  <a:lnTo>
                    <a:pt x="2161" y="280"/>
                  </a:lnTo>
                  <a:lnTo>
                    <a:pt x="2168" y="280"/>
                  </a:lnTo>
                  <a:lnTo>
                    <a:pt x="2168" y="280"/>
                  </a:lnTo>
                  <a:lnTo>
                    <a:pt x="2176" y="280"/>
                  </a:lnTo>
                  <a:lnTo>
                    <a:pt x="2176" y="273"/>
                  </a:lnTo>
                  <a:lnTo>
                    <a:pt x="2176" y="273"/>
                  </a:lnTo>
                  <a:lnTo>
                    <a:pt x="2176" y="273"/>
                  </a:lnTo>
                  <a:lnTo>
                    <a:pt x="2183" y="273"/>
                  </a:lnTo>
                  <a:lnTo>
                    <a:pt x="2183" y="273"/>
                  </a:lnTo>
                  <a:lnTo>
                    <a:pt x="2190" y="273"/>
                  </a:lnTo>
                  <a:lnTo>
                    <a:pt x="2190" y="273"/>
                  </a:lnTo>
                  <a:lnTo>
                    <a:pt x="2198" y="273"/>
                  </a:lnTo>
                  <a:lnTo>
                    <a:pt x="2198" y="273"/>
                  </a:lnTo>
                  <a:lnTo>
                    <a:pt x="2205" y="273"/>
                  </a:lnTo>
                  <a:lnTo>
                    <a:pt x="2205" y="273"/>
                  </a:lnTo>
                  <a:lnTo>
                    <a:pt x="2205" y="273"/>
                  </a:lnTo>
                  <a:lnTo>
                    <a:pt x="2205" y="273"/>
                  </a:lnTo>
                  <a:lnTo>
                    <a:pt x="2212" y="273"/>
                  </a:lnTo>
                  <a:lnTo>
                    <a:pt x="2212" y="273"/>
                  </a:lnTo>
                  <a:lnTo>
                    <a:pt x="2220" y="273"/>
                  </a:lnTo>
                  <a:lnTo>
                    <a:pt x="2220" y="265"/>
                  </a:lnTo>
                  <a:lnTo>
                    <a:pt x="2227" y="265"/>
                  </a:lnTo>
                  <a:lnTo>
                    <a:pt x="2227" y="265"/>
                  </a:lnTo>
                  <a:lnTo>
                    <a:pt x="2227" y="265"/>
                  </a:lnTo>
                  <a:lnTo>
                    <a:pt x="2227" y="265"/>
                  </a:lnTo>
                  <a:lnTo>
                    <a:pt x="2235" y="265"/>
                  </a:lnTo>
                  <a:lnTo>
                    <a:pt x="2235" y="265"/>
                  </a:lnTo>
                  <a:lnTo>
                    <a:pt x="2242" y="265"/>
                  </a:lnTo>
                  <a:lnTo>
                    <a:pt x="2242" y="265"/>
                  </a:lnTo>
                  <a:lnTo>
                    <a:pt x="2249" y="265"/>
                  </a:lnTo>
                  <a:lnTo>
                    <a:pt x="2249" y="265"/>
                  </a:lnTo>
                  <a:lnTo>
                    <a:pt x="2249" y="265"/>
                  </a:lnTo>
                  <a:lnTo>
                    <a:pt x="2249" y="265"/>
                  </a:lnTo>
                  <a:lnTo>
                    <a:pt x="2257" y="265"/>
                  </a:lnTo>
                  <a:lnTo>
                    <a:pt x="2257" y="265"/>
                  </a:lnTo>
                  <a:lnTo>
                    <a:pt x="2264" y="265"/>
                  </a:lnTo>
                  <a:lnTo>
                    <a:pt x="2264" y="265"/>
                  </a:lnTo>
                  <a:lnTo>
                    <a:pt x="2271" y="265"/>
                  </a:lnTo>
                  <a:lnTo>
                    <a:pt x="2271" y="265"/>
                  </a:lnTo>
                  <a:lnTo>
                    <a:pt x="2286" y="265"/>
                  </a:lnTo>
                  <a:lnTo>
                    <a:pt x="2286" y="265"/>
                  </a:lnTo>
                  <a:lnTo>
                    <a:pt x="2294" y="265"/>
                  </a:lnTo>
                  <a:lnTo>
                    <a:pt x="2294" y="265"/>
                  </a:lnTo>
                  <a:lnTo>
                    <a:pt x="2301" y="265"/>
                  </a:lnTo>
                  <a:lnTo>
                    <a:pt x="2301" y="265"/>
                  </a:lnTo>
                  <a:lnTo>
                    <a:pt x="2301" y="265"/>
                  </a:lnTo>
                  <a:lnTo>
                    <a:pt x="2301" y="265"/>
                  </a:lnTo>
                  <a:lnTo>
                    <a:pt x="2308" y="265"/>
                  </a:lnTo>
                  <a:lnTo>
                    <a:pt x="2308" y="265"/>
                  </a:lnTo>
                  <a:lnTo>
                    <a:pt x="2316" y="265"/>
                  </a:lnTo>
                  <a:lnTo>
                    <a:pt x="2316" y="265"/>
                  </a:lnTo>
                  <a:lnTo>
                    <a:pt x="2323" y="265"/>
                  </a:lnTo>
                  <a:lnTo>
                    <a:pt x="2323" y="265"/>
                  </a:lnTo>
                  <a:lnTo>
                    <a:pt x="2323" y="265"/>
                  </a:lnTo>
                  <a:lnTo>
                    <a:pt x="2323" y="265"/>
                  </a:lnTo>
                  <a:lnTo>
                    <a:pt x="2330" y="265"/>
                  </a:lnTo>
                  <a:lnTo>
                    <a:pt x="2330" y="265"/>
                  </a:lnTo>
                  <a:lnTo>
                    <a:pt x="2338" y="265"/>
                  </a:lnTo>
                  <a:lnTo>
                    <a:pt x="2338" y="265"/>
                  </a:lnTo>
                  <a:lnTo>
                    <a:pt x="2345" y="265"/>
                  </a:lnTo>
                  <a:lnTo>
                    <a:pt x="2345" y="265"/>
                  </a:lnTo>
                  <a:lnTo>
                    <a:pt x="2345" y="265"/>
                  </a:lnTo>
                  <a:lnTo>
                    <a:pt x="2345" y="265"/>
                  </a:lnTo>
                  <a:lnTo>
                    <a:pt x="2353" y="265"/>
                  </a:lnTo>
                  <a:lnTo>
                    <a:pt x="2353" y="265"/>
                  </a:lnTo>
                  <a:lnTo>
                    <a:pt x="2360" y="265"/>
                  </a:lnTo>
                  <a:lnTo>
                    <a:pt x="2360" y="265"/>
                  </a:lnTo>
                  <a:lnTo>
                    <a:pt x="2367" y="265"/>
                  </a:lnTo>
                  <a:lnTo>
                    <a:pt x="2367" y="265"/>
                  </a:lnTo>
                  <a:lnTo>
                    <a:pt x="2375" y="265"/>
                  </a:lnTo>
                  <a:lnTo>
                    <a:pt x="2375" y="265"/>
                  </a:lnTo>
                  <a:lnTo>
                    <a:pt x="2375" y="265"/>
                  </a:lnTo>
                  <a:lnTo>
                    <a:pt x="2375" y="265"/>
                  </a:lnTo>
                  <a:lnTo>
                    <a:pt x="2382" y="265"/>
                  </a:lnTo>
                  <a:lnTo>
                    <a:pt x="2382" y="265"/>
                  </a:lnTo>
                  <a:lnTo>
                    <a:pt x="2389" y="265"/>
                  </a:lnTo>
                  <a:lnTo>
                    <a:pt x="2389" y="265"/>
                  </a:lnTo>
                  <a:lnTo>
                    <a:pt x="2397" y="265"/>
                  </a:lnTo>
                  <a:lnTo>
                    <a:pt x="2397" y="265"/>
                  </a:lnTo>
                  <a:lnTo>
                    <a:pt x="2397" y="265"/>
                  </a:lnTo>
                  <a:lnTo>
                    <a:pt x="2397" y="265"/>
                  </a:lnTo>
                  <a:lnTo>
                    <a:pt x="2404" y="265"/>
                  </a:lnTo>
                  <a:lnTo>
                    <a:pt x="2404" y="258"/>
                  </a:lnTo>
                  <a:lnTo>
                    <a:pt x="2412" y="258"/>
                  </a:lnTo>
                  <a:lnTo>
                    <a:pt x="2412" y="258"/>
                  </a:lnTo>
                  <a:lnTo>
                    <a:pt x="2419" y="258"/>
                  </a:lnTo>
                  <a:lnTo>
                    <a:pt x="2419" y="258"/>
                  </a:lnTo>
                  <a:lnTo>
                    <a:pt x="2419" y="258"/>
                  </a:lnTo>
                  <a:lnTo>
                    <a:pt x="2419" y="258"/>
                  </a:lnTo>
                  <a:lnTo>
                    <a:pt x="2426" y="258"/>
                  </a:lnTo>
                  <a:lnTo>
                    <a:pt x="2426" y="258"/>
                  </a:lnTo>
                  <a:lnTo>
                    <a:pt x="2434" y="258"/>
                  </a:lnTo>
                  <a:lnTo>
                    <a:pt x="2434" y="258"/>
                  </a:lnTo>
                  <a:lnTo>
                    <a:pt x="2441" y="258"/>
                  </a:lnTo>
                  <a:lnTo>
                    <a:pt x="2441" y="258"/>
                  </a:lnTo>
                  <a:lnTo>
                    <a:pt x="2441" y="258"/>
                  </a:lnTo>
                  <a:lnTo>
                    <a:pt x="2441" y="258"/>
                  </a:lnTo>
                  <a:lnTo>
                    <a:pt x="2448" y="258"/>
                  </a:lnTo>
                  <a:lnTo>
                    <a:pt x="2448" y="258"/>
                  </a:lnTo>
                  <a:lnTo>
                    <a:pt x="2456" y="258"/>
                  </a:lnTo>
                  <a:lnTo>
                    <a:pt x="2456" y="258"/>
                  </a:lnTo>
                  <a:lnTo>
                    <a:pt x="2463" y="258"/>
                  </a:lnTo>
                  <a:lnTo>
                    <a:pt x="2463" y="258"/>
                  </a:lnTo>
                  <a:lnTo>
                    <a:pt x="2471" y="258"/>
                  </a:lnTo>
                  <a:lnTo>
                    <a:pt x="2471" y="258"/>
                  </a:lnTo>
                  <a:lnTo>
                    <a:pt x="2471" y="258"/>
                  </a:lnTo>
                  <a:lnTo>
                    <a:pt x="2471" y="258"/>
                  </a:lnTo>
                  <a:lnTo>
                    <a:pt x="2478" y="258"/>
                  </a:lnTo>
                  <a:lnTo>
                    <a:pt x="2478" y="258"/>
                  </a:lnTo>
                  <a:lnTo>
                    <a:pt x="2485" y="258"/>
                  </a:lnTo>
                  <a:lnTo>
                    <a:pt x="2485" y="250"/>
                  </a:lnTo>
                  <a:lnTo>
                    <a:pt x="2493" y="250"/>
                  </a:lnTo>
                  <a:lnTo>
                    <a:pt x="2493" y="250"/>
                  </a:lnTo>
                  <a:lnTo>
                    <a:pt x="2493" y="250"/>
                  </a:lnTo>
                  <a:lnTo>
                    <a:pt x="2493" y="250"/>
                  </a:lnTo>
                  <a:lnTo>
                    <a:pt x="2500" y="250"/>
                  </a:lnTo>
                  <a:lnTo>
                    <a:pt x="2500" y="250"/>
                  </a:lnTo>
                  <a:lnTo>
                    <a:pt x="2507" y="250"/>
                  </a:lnTo>
                  <a:lnTo>
                    <a:pt x="2507" y="250"/>
                  </a:lnTo>
                  <a:lnTo>
                    <a:pt x="2515" y="250"/>
                  </a:lnTo>
                  <a:lnTo>
                    <a:pt x="2515" y="250"/>
                  </a:lnTo>
                  <a:lnTo>
                    <a:pt x="2515" y="250"/>
                  </a:lnTo>
                  <a:lnTo>
                    <a:pt x="2515" y="250"/>
                  </a:lnTo>
                  <a:lnTo>
                    <a:pt x="2522" y="250"/>
                  </a:lnTo>
                  <a:lnTo>
                    <a:pt x="2522" y="250"/>
                  </a:lnTo>
                  <a:lnTo>
                    <a:pt x="2530" y="250"/>
                  </a:lnTo>
                  <a:lnTo>
                    <a:pt x="2530" y="250"/>
                  </a:lnTo>
                  <a:lnTo>
                    <a:pt x="2537" y="250"/>
                  </a:lnTo>
                  <a:lnTo>
                    <a:pt x="2537" y="250"/>
                  </a:lnTo>
                  <a:lnTo>
                    <a:pt x="2537" y="250"/>
                  </a:lnTo>
                  <a:lnTo>
                    <a:pt x="2537" y="250"/>
                  </a:lnTo>
                  <a:lnTo>
                    <a:pt x="2544" y="250"/>
                  </a:lnTo>
                  <a:lnTo>
                    <a:pt x="2544" y="250"/>
                  </a:lnTo>
                  <a:lnTo>
                    <a:pt x="2552" y="250"/>
                  </a:lnTo>
                  <a:lnTo>
                    <a:pt x="2552" y="250"/>
                  </a:lnTo>
                  <a:lnTo>
                    <a:pt x="2559" y="250"/>
                  </a:lnTo>
                  <a:lnTo>
                    <a:pt x="2559" y="250"/>
                  </a:lnTo>
                  <a:lnTo>
                    <a:pt x="2566" y="250"/>
                  </a:lnTo>
                  <a:lnTo>
                    <a:pt x="2566" y="250"/>
                  </a:lnTo>
                  <a:lnTo>
                    <a:pt x="2566" y="250"/>
                  </a:lnTo>
                  <a:lnTo>
                    <a:pt x="2566" y="250"/>
                  </a:lnTo>
                  <a:lnTo>
                    <a:pt x="2574" y="250"/>
                  </a:lnTo>
                  <a:lnTo>
                    <a:pt x="2574" y="243"/>
                  </a:lnTo>
                  <a:lnTo>
                    <a:pt x="2581" y="243"/>
                  </a:lnTo>
                  <a:lnTo>
                    <a:pt x="2581" y="243"/>
                  </a:lnTo>
                  <a:lnTo>
                    <a:pt x="2589" y="243"/>
                  </a:lnTo>
                  <a:lnTo>
                    <a:pt x="2589" y="243"/>
                  </a:lnTo>
                  <a:lnTo>
                    <a:pt x="2589" y="243"/>
                  </a:lnTo>
                  <a:lnTo>
                    <a:pt x="2589" y="243"/>
                  </a:lnTo>
                  <a:lnTo>
                    <a:pt x="2596" y="243"/>
                  </a:lnTo>
                  <a:lnTo>
                    <a:pt x="2596" y="243"/>
                  </a:lnTo>
                  <a:lnTo>
                    <a:pt x="2603" y="243"/>
                  </a:lnTo>
                  <a:lnTo>
                    <a:pt x="2603" y="243"/>
                  </a:lnTo>
                  <a:lnTo>
                    <a:pt x="2611" y="243"/>
                  </a:lnTo>
                  <a:lnTo>
                    <a:pt x="2611" y="243"/>
                  </a:lnTo>
                  <a:lnTo>
                    <a:pt x="2611" y="243"/>
                  </a:lnTo>
                  <a:lnTo>
                    <a:pt x="2611" y="243"/>
                  </a:lnTo>
                  <a:lnTo>
                    <a:pt x="2618" y="243"/>
                  </a:lnTo>
                  <a:lnTo>
                    <a:pt x="2618" y="243"/>
                  </a:lnTo>
                  <a:lnTo>
                    <a:pt x="2625" y="243"/>
                  </a:lnTo>
                  <a:lnTo>
                    <a:pt x="2625" y="243"/>
                  </a:lnTo>
                  <a:lnTo>
                    <a:pt x="2633" y="243"/>
                  </a:lnTo>
                  <a:lnTo>
                    <a:pt x="2633" y="243"/>
                  </a:lnTo>
                  <a:lnTo>
                    <a:pt x="2640" y="243"/>
                  </a:lnTo>
                  <a:lnTo>
                    <a:pt x="2640" y="243"/>
                  </a:lnTo>
                  <a:lnTo>
                    <a:pt x="2640" y="243"/>
                  </a:lnTo>
                  <a:lnTo>
                    <a:pt x="2640" y="243"/>
                  </a:lnTo>
                  <a:lnTo>
                    <a:pt x="2648" y="243"/>
                  </a:lnTo>
                  <a:lnTo>
                    <a:pt x="2648" y="243"/>
                  </a:lnTo>
                  <a:lnTo>
                    <a:pt x="2655" y="243"/>
                  </a:lnTo>
                  <a:lnTo>
                    <a:pt x="2655" y="243"/>
                  </a:lnTo>
                  <a:lnTo>
                    <a:pt x="2662" y="243"/>
                  </a:lnTo>
                  <a:lnTo>
                    <a:pt x="2662" y="243"/>
                  </a:lnTo>
                  <a:lnTo>
                    <a:pt x="2662" y="243"/>
                  </a:lnTo>
                  <a:lnTo>
                    <a:pt x="2662" y="236"/>
                  </a:lnTo>
                  <a:lnTo>
                    <a:pt x="2670" y="236"/>
                  </a:lnTo>
                  <a:lnTo>
                    <a:pt x="2670" y="236"/>
                  </a:lnTo>
                  <a:lnTo>
                    <a:pt x="2677" y="236"/>
                  </a:lnTo>
                  <a:lnTo>
                    <a:pt x="2677" y="236"/>
                  </a:lnTo>
                  <a:lnTo>
                    <a:pt x="2684" y="236"/>
                  </a:lnTo>
                  <a:lnTo>
                    <a:pt x="2684" y="236"/>
                  </a:lnTo>
                  <a:lnTo>
                    <a:pt x="2684" y="236"/>
                  </a:lnTo>
                  <a:lnTo>
                    <a:pt x="2684" y="236"/>
                  </a:lnTo>
                  <a:lnTo>
                    <a:pt x="2692" y="236"/>
                  </a:lnTo>
                  <a:lnTo>
                    <a:pt x="2692" y="236"/>
                  </a:lnTo>
                  <a:lnTo>
                    <a:pt x="2699" y="236"/>
                  </a:lnTo>
                  <a:lnTo>
                    <a:pt x="2699" y="236"/>
                  </a:lnTo>
                  <a:lnTo>
                    <a:pt x="2707" y="236"/>
                  </a:lnTo>
                  <a:lnTo>
                    <a:pt x="2707" y="228"/>
                  </a:lnTo>
                  <a:lnTo>
                    <a:pt x="2707" y="228"/>
                  </a:lnTo>
                  <a:lnTo>
                    <a:pt x="2707" y="228"/>
                  </a:lnTo>
                  <a:lnTo>
                    <a:pt x="2714" y="228"/>
                  </a:lnTo>
                  <a:lnTo>
                    <a:pt x="2714" y="228"/>
                  </a:lnTo>
                  <a:lnTo>
                    <a:pt x="2721" y="228"/>
                  </a:lnTo>
                  <a:lnTo>
                    <a:pt x="2721" y="228"/>
                  </a:lnTo>
                  <a:lnTo>
                    <a:pt x="2729" y="228"/>
                  </a:lnTo>
                  <a:lnTo>
                    <a:pt x="2729" y="228"/>
                  </a:lnTo>
                  <a:lnTo>
                    <a:pt x="2736" y="228"/>
                  </a:lnTo>
                  <a:lnTo>
                    <a:pt x="2736" y="228"/>
                  </a:lnTo>
                  <a:lnTo>
                    <a:pt x="2736" y="228"/>
                  </a:lnTo>
                  <a:lnTo>
                    <a:pt x="2736" y="228"/>
                  </a:lnTo>
                  <a:lnTo>
                    <a:pt x="2743" y="228"/>
                  </a:lnTo>
                  <a:lnTo>
                    <a:pt x="2743" y="228"/>
                  </a:lnTo>
                  <a:lnTo>
                    <a:pt x="2751" y="228"/>
                  </a:lnTo>
                  <a:lnTo>
                    <a:pt x="2751" y="228"/>
                  </a:lnTo>
                  <a:lnTo>
                    <a:pt x="2758" y="228"/>
                  </a:lnTo>
                  <a:lnTo>
                    <a:pt x="2758" y="228"/>
                  </a:lnTo>
                  <a:lnTo>
                    <a:pt x="2758" y="228"/>
                  </a:lnTo>
                  <a:lnTo>
                    <a:pt x="2758" y="228"/>
                  </a:lnTo>
                  <a:lnTo>
                    <a:pt x="2766" y="228"/>
                  </a:lnTo>
                  <a:lnTo>
                    <a:pt x="2766" y="228"/>
                  </a:lnTo>
                  <a:lnTo>
                    <a:pt x="2773" y="228"/>
                  </a:lnTo>
                  <a:lnTo>
                    <a:pt x="2773" y="228"/>
                  </a:lnTo>
                  <a:lnTo>
                    <a:pt x="2780" y="228"/>
                  </a:lnTo>
                  <a:lnTo>
                    <a:pt x="2780" y="228"/>
                  </a:lnTo>
                  <a:lnTo>
                    <a:pt x="2780" y="228"/>
                  </a:lnTo>
                  <a:lnTo>
                    <a:pt x="2780" y="228"/>
                  </a:lnTo>
                  <a:lnTo>
                    <a:pt x="2788" y="228"/>
                  </a:lnTo>
                  <a:lnTo>
                    <a:pt x="2788" y="228"/>
                  </a:lnTo>
                  <a:lnTo>
                    <a:pt x="2795" y="228"/>
                  </a:lnTo>
                  <a:lnTo>
                    <a:pt x="2795" y="228"/>
                  </a:lnTo>
                  <a:lnTo>
                    <a:pt x="2802" y="228"/>
                  </a:lnTo>
                  <a:lnTo>
                    <a:pt x="2802" y="228"/>
                  </a:lnTo>
                  <a:lnTo>
                    <a:pt x="2810" y="228"/>
                  </a:lnTo>
                  <a:lnTo>
                    <a:pt x="2810" y="228"/>
                  </a:lnTo>
                  <a:lnTo>
                    <a:pt x="2810" y="228"/>
                  </a:lnTo>
                  <a:lnTo>
                    <a:pt x="2810" y="221"/>
                  </a:lnTo>
                  <a:lnTo>
                    <a:pt x="2817" y="221"/>
                  </a:lnTo>
                  <a:lnTo>
                    <a:pt x="2817" y="221"/>
                  </a:lnTo>
                  <a:lnTo>
                    <a:pt x="2825" y="221"/>
                  </a:lnTo>
                  <a:lnTo>
                    <a:pt x="2825" y="221"/>
                  </a:lnTo>
                  <a:lnTo>
                    <a:pt x="2832" y="221"/>
                  </a:lnTo>
                  <a:lnTo>
                    <a:pt x="2832" y="221"/>
                  </a:lnTo>
                  <a:lnTo>
                    <a:pt x="2832" y="221"/>
                  </a:lnTo>
                  <a:lnTo>
                    <a:pt x="2832" y="214"/>
                  </a:lnTo>
                  <a:lnTo>
                    <a:pt x="2839" y="214"/>
                  </a:lnTo>
                  <a:lnTo>
                    <a:pt x="2839" y="214"/>
                  </a:lnTo>
                  <a:lnTo>
                    <a:pt x="2847" y="214"/>
                  </a:lnTo>
                  <a:lnTo>
                    <a:pt x="2847" y="214"/>
                  </a:lnTo>
                  <a:lnTo>
                    <a:pt x="2854" y="214"/>
                  </a:lnTo>
                  <a:lnTo>
                    <a:pt x="2854" y="214"/>
                  </a:lnTo>
                  <a:lnTo>
                    <a:pt x="2854" y="214"/>
                  </a:lnTo>
                  <a:lnTo>
                    <a:pt x="2854" y="214"/>
                  </a:lnTo>
                  <a:lnTo>
                    <a:pt x="2861" y="214"/>
                  </a:lnTo>
                  <a:lnTo>
                    <a:pt x="2861" y="214"/>
                  </a:lnTo>
                  <a:lnTo>
                    <a:pt x="2869" y="214"/>
                  </a:lnTo>
                  <a:lnTo>
                    <a:pt x="2869" y="214"/>
                  </a:lnTo>
                  <a:lnTo>
                    <a:pt x="2876" y="214"/>
                  </a:lnTo>
                  <a:lnTo>
                    <a:pt x="2876" y="214"/>
                  </a:lnTo>
                  <a:lnTo>
                    <a:pt x="2876" y="214"/>
                  </a:lnTo>
                  <a:lnTo>
                    <a:pt x="2876" y="206"/>
                  </a:lnTo>
                  <a:lnTo>
                    <a:pt x="2884" y="206"/>
                  </a:lnTo>
                  <a:lnTo>
                    <a:pt x="2884" y="206"/>
                  </a:lnTo>
                  <a:lnTo>
                    <a:pt x="2891" y="206"/>
                  </a:lnTo>
                  <a:lnTo>
                    <a:pt x="2891" y="206"/>
                  </a:lnTo>
                  <a:lnTo>
                    <a:pt x="2898" y="206"/>
                  </a:lnTo>
                  <a:lnTo>
                    <a:pt x="2898" y="206"/>
                  </a:lnTo>
                  <a:lnTo>
                    <a:pt x="2906" y="206"/>
                  </a:lnTo>
                  <a:lnTo>
                    <a:pt x="2906" y="206"/>
                  </a:lnTo>
                  <a:lnTo>
                    <a:pt x="2906" y="206"/>
                  </a:lnTo>
                  <a:lnTo>
                    <a:pt x="2906" y="206"/>
                  </a:lnTo>
                  <a:lnTo>
                    <a:pt x="2913" y="206"/>
                  </a:lnTo>
                  <a:lnTo>
                    <a:pt x="2913" y="199"/>
                  </a:lnTo>
                  <a:lnTo>
                    <a:pt x="2920" y="199"/>
                  </a:lnTo>
                  <a:lnTo>
                    <a:pt x="2920" y="199"/>
                  </a:lnTo>
                  <a:lnTo>
                    <a:pt x="2928" y="199"/>
                  </a:lnTo>
                  <a:lnTo>
                    <a:pt x="2928" y="199"/>
                  </a:lnTo>
                  <a:lnTo>
                    <a:pt x="2928" y="199"/>
                  </a:lnTo>
                  <a:lnTo>
                    <a:pt x="2928" y="191"/>
                  </a:lnTo>
                  <a:lnTo>
                    <a:pt x="2935" y="191"/>
                  </a:lnTo>
                  <a:lnTo>
                    <a:pt x="2935" y="191"/>
                  </a:lnTo>
                  <a:lnTo>
                    <a:pt x="2943" y="191"/>
                  </a:lnTo>
                  <a:lnTo>
                    <a:pt x="2943" y="191"/>
                  </a:lnTo>
                  <a:lnTo>
                    <a:pt x="2950" y="191"/>
                  </a:lnTo>
                  <a:lnTo>
                    <a:pt x="2950" y="191"/>
                  </a:lnTo>
                  <a:lnTo>
                    <a:pt x="2950" y="191"/>
                  </a:lnTo>
                  <a:lnTo>
                    <a:pt x="2950" y="191"/>
                  </a:lnTo>
                  <a:lnTo>
                    <a:pt x="2957" y="191"/>
                  </a:lnTo>
                  <a:lnTo>
                    <a:pt x="2957" y="191"/>
                  </a:lnTo>
                  <a:lnTo>
                    <a:pt x="2965" y="191"/>
                  </a:lnTo>
                  <a:lnTo>
                    <a:pt x="2965" y="191"/>
                  </a:lnTo>
                  <a:lnTo>
                    <a:pt x="2972" y="191"/>
                  </a:lnTo>
                  <a:lnTo>
                    <a:pt x="2972" y="184"/>
                  </a:lnTo>
                  <a:lnTo>
                    <a:pt x="2979" y="184"/>
                  </a:lnTo>
                  <a:lnTo>
                    <a:pt x="2979" y="184"/>
                  </a:lnTo>
                  <a:lnTo>
                    <a:pt x="2979" y="184"/>
                  </a:lnTo>
                  <a:lnTo>
                    <a:pt x="2979" y="184"/>
                  </a:lnTo>
                  <a:lnTo>
                    <a:pt x="2987" y="184"/>
                  </a:lnTo>
                  <a:lnTo>
                    <a:pt x="2987" y="184"/>
                  </a:lnTo>
                  <a:lnTo>
                    <a:pt x="2994" y="184"/>
                  </a:lnTo>
                  <a:lnTo>
                    <a:pt x="2994" y="184"/>
                  </a:lnTo>
                  <a:lnTo>
                    <a:pt x="3002" y="184"/>
                  </a:lnTo>
                  <a:lnTo>
                    <a:pt x="3002" y="184"/>
                  </a:lnTo>
                  <a:lnTo>
                    <a:pt x="3002" y="184"/>
                  </a:lnTo>
                  <a:lnTo>
                    <a:pt x="3002" y="184"/>
                  </a:lnTo>
                  <a:lnTo>
                    <a:pt x="3009" y="184"/>
                  </a:lnTo>
                  <a:lnTo>
                    <a:pt x="3009" y="184"/>
                  </a:lnTo>
                  <a:lnTo>
                    <a:pt x="3016" y="184"/>
                  </a:lnTo>
                  <a:lnTo>
                    <a:pt x="3016" y="177"/>
                  </a:lnTo>
                  <a:lnTo>
                    <a:pt x="3024" y="177"/>
                  </a:lnTo>
                  <a:lnTo>
                    <a:pt x="3024" y="177"/>
                  </a:lnTo>
                  <a:lnTo>
                    <a:pt x="3024" y="177"/>
                  </a:lnTo>
                  <a:lnTo>
                    <a:pt x="3024" y="177"/>
                  </a:lnTo>
                  <a:lnTo>
                    <a:pt x="3031" y="177"/>
                  </a:lnTo>
                  <a:lnTo>
                    <a:pt x="3031" y="177"/>
                  </a:lnTo>
                  <a:lnTo>
                    <a:pt x="3038" y="177"/>
                  </a:lnTo>
                  <a:lnTo>
                    <a:pt x="3038" y="169"/>
                  </a:lnTo>
                  <a:lnTo>
                    <a:pt x="3046" y="169"/>
                  </a:lnTo>
                  <a:lnTo>
                    <a:pt x="3046" y="162"/>
                  </a:lnTo>
                  <a:lnTo>
                    <a:pt x="3046" y="162"/>
                  </a:lnTo>
                  <a:lnTo>
                    <a:pt x="3046" y="162"/>
                  </a:lnTo>
                  <a:lnTo>
                    <a:pt x="3053" y="162"/>
                  </a:lnTo>
                  <a:lnTo>
                    <a:pt x="3053" y="155"/>
                  </a:lnTo>
                  <a:lnTo>
                    <a:pt x="3061" y="155"/>
                  </a:lnTo>
                  <a:lnTo>
                    <a:pt x="3061" y="155"/>
                  </a:lnTo>
                  <a:lnTo>
                    <a:pt x="3068" y="155"/>
                  </a:lnTo>
                  <a:lnTo>
                    <a:pt x="3068" y="147"/>
                  </a:lnTo>
                  <a:lnTo>
                    <a:pt x="3075" y="147"/>
                  </a:lnTo>
                  <a:lnTo>
                    <a:pt x="3075" y="147"/>
                  </a:lnTo>
                  <a:lnTo>
                    <a:pt x="3075" y="147"/>
                  </a:lnTo>
                  <a:lnTo>
                    <a:pt x="3075" y="147"/>
                  </a:lnTo>
                  <a:lnTo>
                    <a:pt x="3083" y="147"/>
                  </a:lnTo>
                  <a:lnTo>
                    <a:pt x="3083" y="147"/>
                  </a:lnTo>
                  <a:lnTo>
                    <a:pt x="3090" y="147"/>
                  </a:lnTo>
                  <a:lnTo>
                    <a:pt x="3090" y="140"/>
                  </a:lnTo>
                  <a:lnTo>
                    <a:pt x="3097" y="140"/>
                  </a:lnTo>
                  <a:lnTo>
                    <a:pt x="3097" y="140"/>
                  </a:lnTo>
                  <a:lnTo>
                    <a:pt x="3097" y="140"/>
                  </a:lnTo>
                  <a:lnTo>
                    <a:pt x="3097" y="132"/>
                  </a:lnTo>
                  <a:lnTo>
                    <a:pt x="3105" y="132"/>
                  </a:lnTo>
                  <a:lnTo>
                    <a:pt x="3105" y="125"/>
                  </a:lnTo>
                  <a:lnTo>
                    <a:pt x="3112" y="125"/>
                  </a:lnTo>
                  <a:lnTo>
                    <a:pt x="3112" y="125"/>
                  </a:lnTo>
                  <a:lnTo>
                    <a:pt x="3120" y="125"/>
                  </a:lnTo>
                  <a:lnTo>
                    <a:pt x="3120" y="125"/>
                  </a:lnTo>
                  <a:lnTo>
                    <a:pt x="3120" y="125"/>
                  </a:lnTo>
                  <a:lnTo>
                    <a:pt x="3120" y="125"/>
                  </a:lnTo>
                  <a:lnTo>
                    <a:pt x="3127" y="125"/>
                  </a:lnTo>
                  <a:lnTo>
                    <a:pt x="3127" y="118"/>
                  </a:lnTo>
                  <a:lnTo>
                    <a:pt x="3134" y="118"/>
                  </a:lnTo>
                  <a:lnTo>
                    <a:pt x="3134" y="118"/>
                  </a:lnTo>
                  <a:lnTo>
                    <a:pt x="3142" y="118"/>
                  </a:lnTo>
                  <a:lnTo>
                    <a:pt x="3142" y="118"/>
                  </a:lnTo>
                  <a:lnTo>
                    <a:pt x="3149" y="118"/>
                  </a:lnTo>
                  <a:lnTo>
                    <a:pt x="3149" y="118"/>
                  </a:lnTo>
                  <a:lnTo>
                    <a:pt x="3149" y="118"/>
                  </a:lnTo>
                  <a:lnTo>
                    <a:pt x="3149" y="110"/>
                  </a:lnTo>
                  <a:lnTo>
                    <a:pt x="3156" y="110"/>
                  </a:lnTo>
                  <a:lnTo>
                    <a:pt x="3156" y="110"/>
                  </a:lnTo>
                  <a:lnTo>
                    <a:pt x="3164" y="110"/>
                  </a:lnTo>
                  <a:lnTo>
                    <a:pt x="3164" y="110"/>
                  </a:lnTo>
                  <a:lnTo>
                    <a:pt x="3171" y="110"/>
                  </a:lnTo>
                  <a:lnTo>
                    <a:pt x="3171" y="103"/>
                  </a:lnTo>
                  <a:lnTo>
                    <a:pt x="3171" y="103"/>
                  </a:lnTo>
                  <a:lnTo>
                    <a:pt x="3171" y="103"/>
                  </a:lnTo>
                  <a:lnTo>
                    <a:pt x="3179" y="103"/>
                  </a:lnTo>
                  <a:lnTo>
                    <a:pt x="3179" y="103"/>
                  </a:lnTo>
                  <a:lnTo>
                    <a:pt x="3186" y="103"/>
                  </a:lnTo>
                  <a:lnTo>
                    <a:pt x="3186" y="103"/>
                  </a:lnTo>
                  <a:lnTo>
                    <a:pt x="3193" y="103"/>
                  </a:lnTo>
                  <a:lnTo>
                    <a:pt x="3193" y="103"/>
                  </a:lnTo>
                  <a:lnTo>
                    <a:pt x="3193" y="103"/>
                  </a:lnTo>
                  <a:lnTo>
                    <a:pt x="3193" y="96"/>
                  </a:lnTo>
                  <a:lnTo>
                    <a:pt x="3201" y="96"/>
                  </a:lnTo>
                  <a:lnTo>
                    <a:pt x="3201" y="96"/>
                  </a:lnTo>
                  <a:lnTo>
                    <a:pt x="3208" y="96"/>
                  </a:lnTo>
                  <a:lnTo>
                    <a:pt x="3208" y="88"/>
                  </a:lnTo>
                  <a:lnTo>
                    <a:pt x="3215" y="88"/>
                  </a:lnTo>
                  <a:lnTo>
                    <a:pt x="3215" y="88"/>
                  </a:lnTo>
                  <a:lnTo>
                    <a:pt x="3215" y="88"/>
                  </a:lnTo>
                  <a:lnTo>
                    <a:pt x="3215" y="81"/>
                  </a:lnTo>
                  <a:lnTo>
                    <a:pt x="3223" y="81"/>
                  </a:lnTo>
                  <a:lnTo>
                    <a:pt x="3223" y="81"/>
                  </a:lnTo>
                  <a:lnTo>
                    <a:pt x="3230" y="81"/>
                  </a:lnTo>
                  <a:lnTo>
                    <a:pt x="3230" y="81"/>
                  </a:lnTo>
                  <a:lnTo>
                    <a:pt x="3238" y="81"/>
                  </a:lnTo>
                  <a:lnTo>
                    <a:pt x="3238" y="81"/>
                  </a:lnTo>
                  <a:lnTo>
                    <a:pt x="3245" y="81"/>
                  </a:lnTo>
                  <a:lnTo>
                    <a:pt x="3245" y="81"/>
                  </a:lnTo>
                  <a:lnTo>
                    <a:pt x="3245" y="81"/>
                  </a:lnTo>
                  <a:lnTo>
                    <a:pt x="3245" y="73"/>
                  </a:lnTo>
                  <a:lnTo>
                    <a:pt x="3252" y="73"/>
                  </a:lnTo>
                  <a:lnTo>
                    <a:pt x="3252" y="73"/>
                  </a:lnTo>
                  <a:lnTo>
                    <a:pt x="3260" y="73"/>
                  </a:lnTo>
                  <a:lnTo>
                    <a:pt x="3260" y="66"/>
                  </a:lnTo>
                  <a:lnTo>
                    <a:pt x="3267" y="66"/>
                  </a:lnTo>
                  <a:lnTo>
                    <a:pt x="3267" y="66"/>
                  </a:lnTo>
                  <a:lnTo>
                    <a:pt x="3267" y="66"/>
                  </a:lnTo>
                  <a:lnTo>
                    <a:pt x="3267" y="66"/>
                  </a:lnTo>
                  <a:lnTo>
                    <a:pt x="3274" y="66"/>
                  </a:lnTo>
                  <a:lnTo>
                    <a:pt x="3274" y="66"/>
                  </a:lnTo>
                  <a:lnTo>
                    <a:pt x="3282" y="66"/>
                  </a:lnTo>
                  <a:lnTo>
                    <a:pt x="3282" y="66"/>
                  </a:lnTo>
                  <a:lnTo>
                    <a:pt x="3289" y="66"/>
                  </a:lnTo>
                  <a:lnTo>
                    <a:pt x="3289" y="59"/>
                  </a:lnTo>
                  <a:lnTo>
                    <a:pt x="3289" y="59"/>
                  </a:lnTo>
                  <a:lnTo>
                    <a:pt x="3289" y="59"/>
                  </a:lnTo>
                  <a:lnTo>
                    <a:pt x="3297" y="59"/>
                  </a:lnTo>
                  <a:lnTo>
                    <a:pt x="3297" y="59"/>
                  </a:lnTo>
                  <a:lnTo>
                    <a:pt x="3304" y="59"/>
                  </a:lnTo>
                  <a:lnTo>
                    <a:pt x="3304" y="59"/>
                  </a:lnTo>
                  <a:lnTo>
                    <a:pt x="3311" y="59"/>
                  </a:lnTo>
                  <a:lnTo>
                    <a:pt x="3311" y="59"/>
                  </a:lnTo>
                  <a:lnTo>
                    <a:pt x="3311" y="59"/>
                  </a:lnTo>
                  <a:lnTo>
                    <a:pt x="3311" y="59"/>
                  </a:lnTo>
                  <a:lnTo>
                    <a:pt x="3319" y="59"/>
                  </a:lnTo>
                  <a:lnTo>
                    <a:pt x="3319" y="59"/>
                  </a:lnTo>
                  <a:lnTo>
                    <a:pt x="3326" y="59"/>
                  </a:lnTo>
                  <a:lnTo>
                    <a:pt x="3326" y="59"/>
                  </a:lnTo>
                  <a:lnTo>
                    <a:pt x="3333" y="59"/>
                  </a:lnTo>
                  <a:lnTo>
                    <a:pt x="3333" y="59"/>
                  </a:lnTo>
                  <a:lnTo>
                    <a:pt x="3341" y="59"/>
                  </a:lnTo>
                  <a:lnTo>
                    <a:pt x="3341" y="59"/>
                  </a:lnTo>
                  <a:lnTo>
                    <a:pt x="3341" y="59"/>
                  </a:lnTo>
                  <a:lnTo>
                    <a:pt x="3341" y="59"/>
                  </a:lnTo>
                  <a:lnTo>
                    <a:pt x="3348" y="59"/>
                  </a:lnTo>
                  <a:lnTo>
                    <a:pt x="3348" y="59"/>
                  </a:lnTo>
                  <a:lnTo>
                    <a:pt x="3356" y="59"/>
                  </a:lnTo>
                  <a:lnTo>
                    <a:pt x="3356" y="59"/>
                  </a:lnTo>
                  <a:lnTo>
                    <a:pt x="3363" y="59"/>
                  </a:lnTo>
                  <a:lnTo>
                    <a:pt x="3363" y="51"/>
                  </a:lnTo>
                  <a:lnTo>
                    <a:pt x="3363" y="51"/>
                  </a:lnTo>
                  <a:lnTo>
                    <a:pt x="3363" y="51"/>
                  </a:lnTo>
                  <a:lnTo>
                    <a:pt x="3370" y="51"/>
                  </a:lnTo>
                  <a:lnTo>
                    <a:pt x="3370" y="51"/>
                  </a:lnTo>
                  <a:lnTo>
                    <a:pt x="3378" y="51"/>
                  </a:lnTo>
                  <a:lnTo>
                    <a:pt x="3378" y="51"/>
                  </a:lnTo>
                  <a:lnTo>
                    <a:pt x="3385" y="51"/>
                  </a:lnTo>
                  <a:lnTo>
                    <a:pt x="3385" y="51"/>
                  </a:lnTo>
                  <a:lnTo>
                    <a:pt x="3385" y="51"/>
                  </a:lnTo>
                  <a:lnTo>
                    <a:pt x="3385" y="44"/>
                  </a:lnTo>
                  <a:lnTo>
                    <a:pt x="3392" y="44"/>
                  </a:lnTo>
                  <a:lnTo>
                    <a:pt x="3392" y="44"/>
                  </a:lnTo>
                  <a:lnTo>
                    <a:pt x="3400" y="44"/>
                  </a:lnTo>
                  <a:lnTo>
                    <a:pt x="3400" y="44"/>
                  </a:lnTo>
                  <a:lnTo>
                    <a:pt x="3407" y="44"/>
                  </a:lnTo>
                  <a:lnTo>
                    <a:pt x="3407" y="44"/>
                  </a:lnTo>
                  <a:lnTo>
                    <a:pt x="3415" y="44"/>
                  </a:lnTo>
                  <a:lnTo>
                    <a:pt x="3415" y="44"/>
                  </a:lnTo>
                  <a:lnTo>
                    <a:pt x="3415" y="44"/>
                  </a:lnTo>
                  <a:lnTo>
                    <a:pt x="3415" y="44"/>
                  </a:lnTo>
                  <a:lnTo>
                    <a:pt x="3422" y="44"/>
                  </a:lnTo>
                  <a:lnTo>
                    <a:pt x="3422" y="44"/>
                  </a:lnTo>
                  <a:lnTo>
                    <a:pt x="3429" y="44"/>
                  </a:lnTo>
                  <a:lnTo>
                    <a:pt x="3429" y="44"/>
                  </a:lnTo>
                  <a:lnTo>
                    <a:pt x="3437" y="44"/>
                  </a:lnTo>
                  <a:lnTo>
                    <a:pt x="3437" y="44"/>
                  </a:lnTo>
                  <a:lnTo>
                    <a:pt x="3437" y="44"/>
                  </a:lnTo>
                  <a:lnTo>
                    <a:pt x="3437" y="44"/>
                  </a:lnTo>
                  <a:lnTo>
                    <a:pt x="3444" y="44"/>
                  </a:lnTo>
                  <a:lnTo>
                    <a:pt x="3444" y="44"/>
                  </a:lnTo>
                  <a:lnTo>
                    <a:pt x="3451" y="44"/>
                  </a:lnTo>
                  <a:lnTo>
                    <a:pt x="3451" y="44"/>
                  </a:lnTo>
                  <a:lnTo>
                    <a:pt x="3459" y="44"/>
                  </a:lnTo>
                  <a:lnTo>
                    <a:pt x="3459" y="44"/>
                  </a:lnTo>
                  <a:lnTo>
                    <a:pt x="3459" y="44"/>
                  </a:lnTo>
                  <a:lnTo>
                    <a:pt x="3459" y="37"/>
                  </a:lnTo>
                  <a:lnTo>
                    <a:pt x="3466" y="37"/>
                  </a:lnTo>
                  <a:lnTo>
                    <a:pt x="3466" y="37"/>
                  </a:lnTo>
                  <a:lnTo>
                    <a:pt x="3474" y="37"/>
                  </a:lnTo>
                  <a:lnTo>
                    <a:pt x="3474" y="37"/>
                  </a:lnTo>
                  <a:lnTo>
                    <a:pt x="3481" y="37"/>
                  </a:lnTo>
                  <a:lnTo>
                    <a:pt x="3481" y="37"/>
                  </a:lnTo>
                  <a:lnTo>
                    <a:pt x="3481" y="37"/>
                  </a:lnTo>
                  <a:lnTo>
                    <a:pt x="3481" y="37"/>
                  </a:lnTo>
                  <a:lnTo>
                    <a:pt x="3488" y="37"/>
                  </a:lnTo>
                  <a:lnTo>
                    <a:pt x="3488" y="37"/>
                  </a:lnTo>
                  <a:lnTo>
                    <a:pt x="3496" y="37"/>
                  </a:lnTo>
                  <a:lnTo>
                    <a:pt x="3496" y="37"/>
                  </a:lnTo>
                  <a:lnTo>
                    <a:pt x="3503" y="37"/>
                  </a:lnTo>
                  <a:lnTo>
                    <a:pt x="3503" y="37"/>
                  </a:lnTo>
                  <a:lnTo>
                    <a:pt x="3510" y="37"/>
                  </a:lnTo>
                  <a:lnTo>
                    <a:pt x="3510" y="37"/>
                  </a:lnTo>
                  <a:lnTo>
                    <a:pt x="3510" y="37"/>
                  </a:lnTo>
                  <a:lnTo>
                    <a:pt x="3510" y="37"/>
                  </a:lnTo>
                  <a:lnTo>
                    <a:pt x="3518" y="37"/>
                  </a:lnTo>
                  <a:lnTo>
                    <a:pt x="3518" y="37"/>
                  </a:lnTo>
                  <a:lnTo>
                    <a:pt x="3525" y="37"/>
                  </a:lnTo>
                  <a:lnTo>
                    <a:pt x="3525" y="37"/>
                  </a:lnTo>
                  <a:lnTo>
                    <a:pt x="3533" y="37"/>
                  </a:lnTo>
                  <a:lnTo>
                    <a:pt x="3533" y="37"/>
                  </a:lnTo>
                  <a:lnTo>
                    <a:pt x="3533" y="37"/>
                  </a:lnTo>
                  <a:lnTo>
                    <a:pt x="3533" y="37"/>
                  </a:lnTo>
                  <a:lnTo>
                    <a:pt x="3540" y="37"/>
                  </a:lnTo>
                  <a:lnTo>
                    <a:pt x="3540" y="37"/>
                  </a:lnTo>
                  <a:lnTo>
                    <a:pt x="3547" y="37"/>
                  </a:lnTo>
                  <a:lnTo>
                    <a:pt x="3547" y="37"/>
                  </a:lnTo>
                  <a:lnTo>
                    <a:pt x="3555" y="37"/>
                  </a:lnTo>
                  <a:lnTo>
                    <a:pt x="3555" y="37"/>
                  </a:lnTo>
                  <a:lnTo>
                    <a:pt x="3555" y="37"/>
                  </a:lnTo>
                  <a:lnTo>
                    <a:pt x="3555" y="37"/>
                  </a:lnTo>
                  <a:lnTo>
                    <a:pt x="3562" y="37"/>
                  </a:lnTo>
                  <a:lnTo>
                    <a:pt x="3562" y="37"/>
                  </a:lnTo>
                  <a:lnTo>
                    <a:pt x="3569" y="37"/>
                  </a:lnTo>
                  <a:lnTo>
                    <a:pt x="3569" y="37"/>
                  </a:lnTo>
                  <a:lnTo>
                    <a:pt x="3577" y="37"/>
                  </a:lnTo>
                  <a:lnTo>
                    <a:pt x="3577" y="37"/>
                  </a:lnTo>
                  <a:lnTo>
                    <a:pt x="3584" y="37"/>
                  </a:lnTo>
                  <a:lnTo>
                    <a:pt x="3584" y="29"/>
                  </a:lnTo>
                  <a:lnTo>
                    <a:pt x="3584" y="29"/>
                  </a:lnTo>
                  <a:lnTo>
                    <a:pt x="3584" y="29"/>
                  </a:lnTo>
                  <a:lnTo>
                    <a:pt x="3592" y="29"/>
                  </a:lnTo>
                  <a:lnTo>
                    <a:pt x="3592" y="29"/>
                  </a:lnTo>
                  <a:lnTo>
                    <a:pt x="3599" y="29"/>
                  </a:lnTo>
                  <a:lnTo>
                    <a:pt x="3599" y="29"/>
                  </a:lnTo>
                  <a:lnTo>
                    <a:pt x="3606" y="29"/>
                  </a:lnTo>
                  <a:lnTo>
                    <a:pt x="3606" y="29"/>
                  </a:lnTo>
                  <a:lnTo>
                    <a:pt x="3606" y="29"/>
                  </a:lnTo>
                  <a:lnTo>
                    <a:pt x="3606" y="29"/>
                  </a:lnTo>
                  <a:lnTo>
                    <a:pt x="3614" y="29"/>
                  </a:lnTo>
                  <a:lnTo>
                    <a:pt x="3614" y="29"/>
                  </a:lnTo>
                  <a:lnTo>
                    <a:pt x="3621" y="29"/>
                  </a:lnTo>
                  <a:lnTo>
                    <a:pt x="3621" y="29"/>
                  </a:lnTo>
                  <a:lnTo>
                    <a:pt x="3628" y="29"/>
                  </a:lnTo>
                  <a:lnTo>
                    <a:pt x="3628" y="29"/>
                  </a:lnTo>
                  <a:lnTo>
                    <a:pt x="3628" y="29"/>
                  </a:lnTo>
                  <a:lnTo>
                    <a:pt x="3628" y="29"/>
                  </a:lnTo>
                  <a:lnTo>
                    <a:pt x="3636" y="29"/>
                  </a:lnTo>
                  <a:lnTo>
                    <a:pt x="3636" y="29"/>
                  </a:lnTo>
                  <a:lnTo>
                    <a:pt x="3643" y="29"/>
                  </a:lnTo>
                  <a:lnTo>
                    <a:pt x="3643" y="29"/>
                  </a:lnTo>
                  <a:lnTo>
                    <a:pt x="3651" y="29"/>
                  </a:lnTo>
                  <a:lnTo>
                    <a:pt x="3651" y="29"/>
                  </a:lnTo>
                  <a:lnTo>
                    <a:pt x="3651" y="29"/>
                  </a:lnTo>
                  <a:lnTo>
                    <a:pt x="3651" y="29"/>
                  </a:lnTo>
                  <a:lnTo>
                    <a:pt x="3658" y="29"/>
                  </a:lnTo>
                  <a:lnTo>
                    <a:pt x="3658" y="29"/>
                  </a:lnTo>
                  <a:lnTo>
                    <a:pt x="3665" y="29"/>
                  </a:lnTo>
                  <a:lnTo>
                    <a:pt x="3665" y="29"/>
                  </a:lnTo>
                  <a:lnTo>
                    <a:pt x="3673" y="29"/>
                  </a:lnTo>
                  <a:lnTo>
                    <a:pt x="3673" y="29"/>
                  </a:lnTo>
                  <a:lnTo>
                    <a:pt x="3680" y="29"/>
                  </a:lnTo>
                  <a:lnTo>
                    <a:pt x="3680" y="22"/>
                  </a:lnTo>
                  <a:lnTo>
                    <a:pt x="3680" y="22"/>
                  </a:lnTo>
                  <a:lnTo>
                    <a:pt x="3680" y="22"/>
                  </a:lnTo>
                  <a:lnTo>
                    <a:pt x="3687" y="22"/>
                  </a:lnTo>
                  <a:lnTo>
                    <a:pt x="3687" y="22"/>
                  </a:lnTo>
                  <a:lnTo>
                    <a:pt x="3695" y="22"/>
                  </a:lnTo>
                  <a:lnTo>
                    <a:pt x="3695" y="22"/>
                  </a:lnTo>
                  <a:lnTo>
                    <a:pt x="3702" y="22"/>
                  </a:lnTo>
                  <a:lnTo>
                    <a:pt x="3702" y="22"/>
                  </a:lnTo>
                  <a:lnTo>
                    <a:pt x="3702" y="22"/>
                  </a:lnTo>
                  <a:lnTo>
                    <a:pt x="3702" y="22"/>
                  </a:lnTo>
                  <a:lnTo>
                    <a:pt x="3710" y="22"/>
                  </a:lnTo>
                  <a:lnTo>
                    <a:pt x="3710" y="22"/>
                  </a:lnTo>
                  <a:lnTo>
                    <a:pt x="3717" y="22"/>
                  </a:lnTo>
                  <a:lnTo>
                    <a:pt x="3717" y="22"/>
                  </a:lnTo>
                  <a:lnTo>
                    <a:pt x="3724" y="22"/>
                  </a:lnTo>
                  <a:lnTo>
                    <a:pt x="3724" y="22"/>
                  </a:lnTo>
                  <a:lnTo>
                    <a:pt x="3724" y="22"/>
                  </a:lnTo>
                  <a:lnTo>
                    <a:pt x="3724" y="15"/>
                  </a:lnTo>
                  <a:lnTo>
                    <a:pt x="3732" y="15"/>
                  </a:lnTo>
                  <a:lnTo>
                    <a:pt x="3732" y="15"/>
                  </a:lnTo>
                  <a:lnTo>
                    <a:pt x="3739" y="15"/>
                  </a:lnTo>
                  <a:lnTo>
                    <a:pt x="3739" y="15"/>
                  </a:lnTo>
                  <a:lnTo>
                    <a:pt x="3746" y="15"/>
                  </a:lnTo>
                  <a:lnTo>
                    <a:pt x="3746" y="15"/>
                  </a:lnTo>
                  <a:lnTo>
                    <a:pt x="3754" y="15"/>
                  </a:lnTo>
                  <a:lnTo>
                    <a:pt x="3754" y="15"/>
                  </a:lnTo>
                  <a:lnTo>
                    <a:pt x="3754" y="15"/>
                  </a:lnTo>
                  <a:lnTo>
                    <a:pt x="3754" y="15"/>
                  </a:lnTo>
                  <a:lnTo>
                    <a:pt x="3761" y="15"/>
                  </a:lnTo>
                  <a:lnTo>
                    <a:pt x="3761" y="15"/>
                  </a:lnTo>
                  <a:lnTo>
                    <a:pt x="3769" y="15"/>
                  </a:lnTo>
                  <a:lnTo>
                    <a:pt x="3769" y="15"/>
                  </a:lnTo>
                  <a:lnTo>
                    <a:pt x="3776" y="15"/>
                  </a:lnTo>
                  <a:lnTo>
                    <a:pt x="3776" y="15"/>
                  </a:lnTo>
                  <a:lnTo>
                    <a:pt x="3776" y="15"/>
                  </a:lnTo>
                  <a:lnTo>
                    <a:pt x="3776" y="15"/>
                  </a:lnTo>
                  <a:lnTo>
                    <a:pt x="3783" y="15"/>
                  </a:lnTo>
                  <a:lnTo>
                    <a:pt x="3783" y="15"/>
                  </a:lnTo>
                  <a:lnTo>
                    <a:pt x="3791" y="15"/>
                  </a:lnTo>
                  <a:lnTo>
                    <a:pt x="3791" y="15"/>
                  </a:lnTo>
                  <a:lnTo>
                    <a:pt x="3798" y="15"/>
                  </a:lnTo>
                  <a:lnTo>
                    <a:pt x="3798" y="15"/>
                  </a:lnTo>
                  <a:lnTo>
                    <a:pt x="3798" y="15"/>
                  </a:lnTo>
                  <a:lnTo>
                    <a:pt x="3798" y="15"/>
                  </a:lnTo>
                  <a:lnTo>
                    <a:pt x="3805" y="15"/>
                  </a:lnTo>
                  <a:lnTo>
                    <a:pt x="3805" y="15"/>
                  </a:lnTo>
                  <a:lnTo>
                    <a:pt x="3813" y="15"/>
                  </a:lnTo>
                  <a:lnTo>
                    <a:pt x="3813" y="15"/>
                  </a:lnTo>
                  <a:lnTo>
                    <a:pt x="3820" y="15"/>
                  </a:lnTo>
                  <a:lnTo>
                    <a:pt x="3820" y="15"/>
                  </a:lnTo>
                  <a:lnTo>
                    <a:pt x="3820" y="15"/>
                  </a:lnTo>
                  <a:lnTo>
                    <a:pt x="3820" y="15"/>
                  </a:lnTo>
                  <a:lnTo>
                    <a:pt x="3828" y="15"/>
                  </a:lnTo>
                  <a:lnTo>
                    <a:pt x="3828" y="15"/>
                  </a:lnTo>
                  <a:lnTo>
                    <a:pt x="3835" y="15"/>
                  </a:lnTo>
                  <a:lnTo>
                    <a:pt x="3835" y="15"/>
                  </a:lnTo>
                  <a:lnTo>
                    <a:pt x="3842" y="15"/>
                  </a:lnTo>
                  <a:lnTo>
                    <a:pt x="3842" y="15"/>
                  </a:lnTo>
                  <a:lnTo>
                    <a:pt x="3850" y="15"/>
                  </a:lnTo>
                  <a:lnTo>
                    <a:pt x="3850" y="15"/>
                  </a:lnTo>
                  <a:lnTo>
                    <a:pt x="3850" y="15"/>
                  </a:lnTo>
                  <a:lnTo>
                    <a:pt x="3850" y="15"/>
                  </a:lnTo>
                  <a:lnTo>
                    <a:pt x="3857" y="15"/>
                  </a:lnTo>
                  <a:lnTo>
                    <a:pt x="3857" y="15"/>
                  </a:lnTo>
                  <a:lnTo>
                    <a:pt x="3864" y="15"/>
                  </a:lnTo>
                  <a:lnTo>
                    <a:pt x="3864" y="15"/>
                  </a:lnTo>
                  <a:lnTo>
                    <a:pt x="3872" y="15"/>
                  </a:lnTo>
                  <a:lnTo>
                    <a:pt x="3872" y="15"/>
                  </a:lnTo>
                  <a:lnTo>
                    <a:pt x="3879" y="15"/>
                  </a:lnTo>
                  <a:lnTo>
                    <a:pt x="3879" y="7"/>
                  </a:lnTo>
                  <a:lnTo>
                    <a:pt x="3887" y="7"/>
                  </a:lnTo>
                  <a:lnTo>
                    <a:pt x="3887" y="7"/>
                  </a:lnTo>
                  <a:lnTo>
                    <a:pt x="3894" y="7"/>
                  </a:lnTo>
                  <a:lnTo>
                    <a:pt x="3894" y="7"/>
                  </a:lnTo>
                  <a:lnTo>
                    <a:pt x="3894" y="7"/>
                  </a:lnTo>
                  <a:lnTo>
                    <a:pt x="3894" y="7"/>
                  </a:lnTo>
                  <a:lnTo>
                    <a:pt x="3901" y="7"/>
                  </a:lnTo>
                  <a:lnTo>
                    <a:pt x="3901" y="7"/>
                  </a:lnTo>
                  <a:lnTo>
                    <a:pt x="3909" y="7"/>
                  </a:lnTo>
                  <a:lnTo>
                    <a:pt x="3909" y="7"/>
                  </a:lnTo>
                  <a:lnTo>
                    <a:pt x="3916" y="7"/>
                  </a:lnTo>
                  <a:lnTo>
                    <a:pt x="3916" y="7"/>
                  </a:lnTo>
                  <a:lnTo>
                    <a:pt x="3923" y="7"/>
                  </a:lnTo>
                  <a:lnTo>
                    <a:pt x="3923" y="0"/>
                  </a:lnTo>
                  <a:lnTo>
                    <a:pt x="3923" y="0"/>
                  </a:lnTo>
                  <a:lnTo>
                    <a:pt x="3923" y="0"/>
                  </a:lnTo>
                </a:path>
              </a:pathLst>
            </a:custGeom>
            <a:noFill/>
            <a:ln w="25400" cap="sq">
              <a:solidFill>
                <a:srgbClr val="CC33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8766175" y="3886201"/>
              <a:ext cx="1955800" cy="585788"/>
            </a:xfrm>
            <a:custGeom>
              <a:avLst/>
              <a:gdLst>
                <a:gd name="T0" fmla="*/ 23 w 1232"/>
                <a:gd name="T1" fmla="*/ 369 h 369"/>
                <a:gd name="T2" fmla="*/ 45 w 1232"/>
                <a:gd name="T3" fmla="*/ 354 h 369"/>
                <a:gd name="T4" fmla="*/ 59 w 1232"/>
                <a:gd name="T5" fmla="*/ 354 h 369"/>
                <a:gd name="T6" fmla="*/ 82 w 1232"/>
                <a:gd name="T7" fmla="*/ 347 h 369"/>
                <a:gd name="T8" fmla="*/ 96 w 1232"/>
                <a:gd name="T9" fmla="*/ 339 h 369"/>
                <a:gd name="T10" fmla="*/ 118 w 1232"/>
                <a:gd name="T11" fmla="*/ 332 h 369"/>
                <a:gd name="T12" fmla="*/ 141 w 1232"/>
                <a:gd name="T13" fmla="*/ 332 h 369"/>
                <a:gd name="T14" fmla="*/ 163 w 1232"/>
                <a:gd name="T15" fmla="*/ 325 h 369"/>
                <a:gd name="T16" fmla="*/ 177 w 1232"/>
                <a:gd name="T17" fmla="*/ 325 h 369"/>
                <a:gd name="T18" fmla="*/ 200 w 1232"/>
                <a:gd name="T19" fmla="*/ 310 h 369"/>
                <a:gd name="T20" fmla="*/ 214 w 1232"/>
                <a:gd name="T21" fmla="*/ 302 h 369"/>
                <a:gd name="T22" fmla="*/ 236 w 1232"/>
                <a:gd name="T23" fmla="*/ 288 h 369"/>
                <a:gd name="T24" fmla="*/ 259 w 1232"/>
                <a:gd name="T25" fmla="*/ 280 h 369"/>
                <a:gd name="T26" fmla="*/ 281 w 1232"/>
                <a:gd name="T27" fmla="*/ 273 h 369"/>
                <a:gd name="T28" fmla="*/ 295 w 1232"/>
                <a:gd name="T29" fmla="*/ 266 h 369"/>
                <a:gd name="T30" fmla="*/ 318 w 1232"/>
                <a:gd name="T31" fmla="*/ 266 h 369"/>
                <a:gd name="T32" fmla="*/ 332 w 1232"/>
                <a:gd name="T33" fmla="*/ 258 h 369"/>
                <a:gd name="T34" fmla="*/ 362 w 1232"/>
                <a:gd name="T35" fmla="*/ 258 h 369"/>
                <a:gd name="T36" fmla="*/ 377 w 1232"/>
                <a:gd name="T37" fmla="*/ 251 h 369"/>
                <a:gd name="T38" fmla="*/ 399 w 1232"/>
                <a:gd name="T39" fmla="*/ 243 h 369"/>
                <a:gd name="T40" fmla="*/ 413 w 1232"/>
                <a:gd name="T41" fmla="*/ 243 h 369"/>
                <a:gd name="T42" fmla="*/ 436 w 1232"/>
                <a:gd name="T43" fmla="*/ 243 h 369"/>
                <a:gd name="T44" fmla="*/ 458 w 1232"/>
                <a:gd name="T45" fmla="*/ 236 h 369"/>
                <a:gd name="T46" fmla="*/ 480 w 1232"/>
                <a:gd name="T47" fmla="*/ 236 h 369"/>
                <a:gd name="T48" fmla="*/ 495 w 1232"/>
                <a:gd name="T49" fmla="*/ 236 h 369"/>
                <a:gd name="T50" fmla="*/ 517 w 1232"/>
                <a:gd name="T51" fmla="*/ 229 h 369"/>
                <a:gd name="T52" fmla="*/ 531 w 1232"/>
                <a:gd name="T53" fmla="*/ 229 h 369"/>
                <a:gd name="T54" fmla="*/ 554 w 1232"/>
                <a:gd name="T55" fmla="*/ 229 h 369"/>
                <a:gd name="T56" fmla="*/ 576 w 1232"/>
                <a:gd name="T57" fmla="*/ 221 h 369"/>
                <a:gd name="T58" fmla="*/ 598 w 1232"/>
                <a:gd name="T59" fmla="*/ 221 h 369"/>
                <a:gd name="T60" fmla="*/ 613 w 1232"/>
                <a:gd name="T61" fmla="*/ 214 h 369"/>
                <a:gd name="T62" fmla="*/ 635 w 1232"/>
                <a:gd name="T63" fmla="*/ 199 h 369"/>
                <a:gd name="T64" fmla="*/ 657 w 1232"/>
                <a:gd name="T65" fmla="*/ 199 h 369"/>
                <a:gd name="T66" fmla="*/ 679 w 1232"/>
                <a:gd name="T67" fmla="*/ 184 h 369"/>
                <a:gd name="T68" fmla="*/ 701 w 1232"/>
                <a:gd name="T69" fmla="*/ 184 h 369"/>
                <a:gd name="T70" fmla="*/ 723 w 1232"/>
                <a:gd name="T71" fmla="*/ 184 h 369"/>
                <a:gd name="T72" fmla="*/ 738 w 1232"/>
                <a:gd name="T73" fmla="*/ 184 h 369"/>
                <a:gd name="T74" fmla="*/ 760 w 1232"/>
                <a:gd name="T75" fmla="*/ 184 h 369"/>
                <a:gd name="T76" fmla="*/ 775 w 1232"/>
                <a:gd name="T77" fmla="*/ 184 h 369"/>
                <a:gd name="T78" fmla="*/ 797 w 1232"/>
                <a:gd name="T79" fmla="*/ 184 h 369"/>
                <a:gd name="T80" fmla="*/ 819 w 1232"/>
                <a:gd name="T81" fmla="*/ 177 h 369"/>
                <a:gd name="T82" fmla="*/ 841 w 1232"/>
                <a:gd name="T83" fmla="*/ 170 h 369"/>
                <a:gd name="T84" fmla="*/ 856 w 1232"/>
                <a:gd name="T85" fmla="*/ 155 h 369"/>
                <a:gd name="T86" fmla="*/ 878 w 1232"/>
                <a:gd name="T87" fmla="*/ 148 h 369"/>
                <a:gd name="T88" fmla="*/ 893 w 1232"/>
                <a:gd name="T89" fmla="*/ 140 h 369"/>
                <a:gd name="T90" fmla="*/ 915 w 1232"/>
                <a:gd name="T91" fmla="*/ 140 h 369"/>
                <a:gd name="T92" fmla="*/ 937 w 1232"/>
                <a:gd name="T93" fmla="*/ 125 h 369"/>
                <a:gd name="T94" fmla="*/ 959 w 1232"/>
                <a:gd name="T95" fmla="*/ 125 h 369"/>
                <a:gd name="T96" fmla="*/ 974 w 1232"/>
                <a:gd name="T97" fmla="*/ 118 h 369"/>
                <a:gd name="T98" fmla="*/ 996 w 1232"/>
                <a:gd name="T99" fmla="*/ 118 h 369"/>
                <a:gd name="T100" fmla="*/ 1011 w 1232"/>
                <a:gd name="T101" fmla="*/ 111 h 369"/>
                <a:gd name="T102" fmla="*/ 1040 w 1232"/>
                <a:gd name="T103" fmla="*/ 96 h 369"/>
                <a:gd name="T104" fmla="*/ 1055 w 1232"/>
                <a:gd name="T105" fmla="*/ 89 h 369"/>
                <a:gd name="T106" fmla="*/ 1077 w 1232"/>
                <a:gd name="T107" fmla="*/ 89 h 369"/>
                <a:gd name="T108" fmla="*/ 1092 w 1232"/>
                <a:gd name="T109" fmla="*/ 89 h 369"/>
                <a:gd name="T110" fmla="*/ 1114 w 1232"/>
                <a:gd name="T111" fmla="*/ 81 h 369"/>
                <a:gd name="T112" fmla="*/ 1136 w 1232"/>
                <a:gd name="T113" fmla="*/ 81 h 369"/>
                <a:gd name="T114" fmla="*/ 1158 w 1232"/>
                <a:gd name="T115" fmla="*/ 74 h 369"/>
                <a:gd name="T116" fmla="*/ 1173 w 1232"/>
                <a:gd name="T117" fmla="*/ 59 h 369"/>
                <a:gd name="T118" fmla="*/ 1195 w 1232"/>
                <a:gd name="T119" fmla="*/ 52 h 369"/>
                <a:gd name="T120" fmla="*/ 1210 w 1232"/>
                <a:gd name="T121" fmla="*/ 30 h 369"/>
                <a:gd name="T122" fmla="*/ 1232 w 1232"/>
                <a:gd name="T123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32" h="369">
                  <a:moveTo>
                    <a:pt x="0" y="369"/>
                  </a:moveTo>
                  <a:lnTo>
                    <a:pt x="8" y="369"/>
                  </a:lnTo>
                  <a:lnTo>
                    <a:pt x="8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23" y="369"/>
                  </a:lnTo>
                  <a:lnTo>
                    <a:pt x="23" y="369"/>
                  </a:lnTo>
                  <a:lnTo>
                    <a:pt x="23" y="369"/>
                  </a:lnTo>
                  <a:lnTo>
                    <a:pt x="23" y="361"/>
                  </a:lnTo>
                  <a:lnTo>
                    <a:pt x="30" y="361"/>
                  </a:lnTo>
                  <a:lnTo>
                    <a:pt x="30" y="354"/>
                  </a:lnTo>
                  <a:lnTo>
                    <a:pt x="37" y="354"/>
                  </a:lnTo>
                  <a:lnTo>
                    <a:pt x="37" y="354"/>
                  </a:lnTo>
                  <a:lnTo>
                    <a:pt x="45" y="354"/>
                  </a:lnTo>
                  <a:lnTo>
                    <a:pt x="45" y="354"/>
                  </a:lnTo>
                  <a:lnTo>
                    <a:pt x="45" y="354"/>
                  </a:lnTo>
                  <a:lnTo>
                    <a:pt x="45" y="354"/>
                  </a:lnTo>
                  <a:lnTo>
                    <a:pt x="52" y="354"/>
                  </a:lnTo>
                  <a:lnTo>
                    <a:pt x="52" y="354"/>
                  </a:lnTo>
                  <a:lnTo>
                    <a:pt x="59" y="354"/>
                  </a:lnTo>
                  <a:lnTo>
                    <a:pt x="59" y="354"/>
                  </a:lnTo>
                  <a:lnTo>
                    <a:pt x="67" y="354"/>
                  </a:lnTo>
                  <a:lnTo>
                    <a:pt x="67" y="354"/>
                  </a:lnTo>
                  <a:lnTo>
                    <a:pt x="67" y="354"/>
                  </a:lnTo>
                  <a:lnTo>
                    <a:pt x="67" y="347"/>
                  </a:lnTo>
                  <a:lnTo>
                    <a:pt x="74" y="347"/>
                  </a:lnTo>
                  <a:lnTo>
                    <a:pt x="74" y="347"/>
                  </a:lnTo>
                  <a:lnTo>
                    <a:pt x="82" y="347"/>
                  </a:lnTo>
                  <a:lnTo>
                    <a:pt x="82" y="347"/>
                  </a:lnTo>
                  <a:lnTo>
                    <a:pt x="89" y="347"/>
                  </a:lnTo>
                  <a:lnTo>
                    <a:pt x="89" y="339"/>
                  </a:lnTo>
                  <a:lnTo>
                    <a:pt x="96" y="339"/>
                  </a:lnTo>
                  <a:lnTo>
                    <a:pt x="96" y="339"/>
                  </a:lnTo>
                  <a:lnTo>
                    <a:pt x="96" y="339"/>
                  </a:lnTo>
                  <a:lnTo>
                    <a:pt x="96" y="339"/>
                  </a:lnTo>
                  <a:lnTo>
                    <a:pt x="104" y="339"/>
                  </a:lnTo>
                  <a:lnTo>
                    <a:pt x="104" y="339"/>
                  </a:lnTo>
                  <a:lnTo>
                    <a:pt x="111" y="339"/>
                  </a:lnTo>
                  <a:lnTo>
                    <a:pt x="111" y="339"/>
                  </a:lnTo>
                  <a:lnTo>
                    <a:pt x="118" y="339"/>
                  </a:lnTo>
                  <a:lnTo>
                    <a:pt x="118" y="332"/>
                  </a:lnTo>
                  <a:lnTo>
                    <a:pt x="118" y="332"/>
                  </a:lnTo>
                  <a:lnTo>
                    <a:pt x="118" y="332"/>
                  </a:lnTo>
                  <a:lnTo>
                    <a:pt x="126" y="332"/>
                  </a:lnTo>
                  <a:lnTo>
                    <a:pt x="126" y="332"/>
                  </a:lnTo>
                  <a:lnTo>
                    <a:pt x="133" y="332"/>
                  </a:lnTo>
                  <a:lnTo>
                    <a:pt x="133" y="332"/>
                  </a:lnTo>
                  <a:lnTo>
                    <a:pt x="141" y="332"/>
                  </a:lnTo>
                  <a:lnTo>
                    <a:pt x="141" y="332"/>
                  </a:lnTo>
                  <a:lnTo>
                    <a:pt x="141" y="332"/>
                  </a:lnTo>
                  <a:lnTo>
                    <a:pt x="141" y="332"/>
                  </a:lnTo>
                  <a:lnTo>
                    <a:pt x="148" y="332"/>
                  </a:lnTo>
                  <a:lnTo>
                    <a:pt x="148" y="325"/>
                  </a:lnTo>
                  <a:lnTo>
                    <a:pt x="155" y="325"/>
                  </a:lnTo>
                  <a:lnTo>
                    <a:pt x="155" y="325"/>
                  </a:lnTo>
                  <a:lnTo>
                    <a:pt x="163" y="325"/>
                  </a:lnTo>
                  <a:lnTo>
                    <a:pt x="163" y="325"/>
                  </a:lnTo>
                  <a:lnTo>
                    <a:pt x="163" y="325"/>
                  </a:lnTo>
                  <a:lnTo>
                    <a:pt x="163" y="325"/>
                  </a:lnTo>
                  <a:lnTo>
                    <a:pt x="170" y="325"/>
                  </a:lnTo>
                  <a:lnTo>
                    <a:pt x="170" y="325"/>
                  </a:lnTo>
                  <a:lnTo>
                    <a:pt x="177" y="325"/>
                  </a:lnTo>
                  <a:lnTo>
                    <a:pt x="177" y="325"/>
                  </a:lnTo>
                  <a:lnTo>
                    <a:pt x="185" y="325"/>
                  </a:lnTo>
                  <a:lnTo>
                    <a:pt x="185" y="317"/>
                  </a:lnTo>
                  <a:lnTo>
                    <a:pt x="192" y="317"/>
                  </a:lnTo>
                  <a:lnTo>
                    <a:pt x="192" y="317"/>
                  </a:lnTo>
                  <a:lnTo>
                    <a:pt x="192" y="317"/>
                  </a:lnTo>
                  <a:lnTo>
                    <a:pt x="192" y="310"/>
                  </a:lnTo>
                  <a:lnTo>
                    <a:pt x="200" y="310"/>
                  </a:lnTo>
                  <a:lnTo>
                    <a:pt x="200" y="310"/>
                  </a:lnTo>
                  <a:lnTo>
                    <a:pt x="207" y="310"/>
                  </a:lnTo>
                  <a:lnTo>
                    <a:pt x="207" y="302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22" y="302"/>
                  </a:lnTo>
                  <a:lnTo>
                    <a:pt x="222" y="295"/>
                  </a:lnTo>
                  <a:lnTo>
                    <a:pt x="229" y="295"/>
                  </a:lnTo>
                  <a:lnTo>
                    <a:pt x="229" y="295"/>
                  </a:lnTo>
                  <a:lnTo>
                    <a:pt x="236" y="295"/>
                  </a:lnTo>
                  <a:lnTo>
                    <a:pt x="236" y="288"/>
                  </a:lnTo>
                  <a:lnTo>
                    <a:pt x="236" y="288"/>
                  </a:lnTo>
                  <a:lnTo>
                    <a:pt x="236" y="288"/>
                  </a:lnTo>
                  <a:lnTo>
                    <a:pt x="244" y="288"/>
                  </a:lnTo>
                  <a:lnTo>
                    <a:pt x="244" y="288"/>
                  </a:lnTo>
                  <a:lnTo>
                    <a:pt x="251" y="288"/>
                  </a:lnTo>
                  <a:lnTo>
                    <a:pt x="251" y="280"/>
                  </a:lnTo>
                  <a:lnTo>
                    <a:pt x="259" y="280"/>
                  </a:lnTo>
                  <a:lnTo>
                    <a:pt x="259" y="280"/>
                  </a:lnTo>
                  <a:lnTo>
                    <a:pt x="266" y="280"/>
                  </a:lnTo>
                  <a:lnTo>
                    <a:pt x="266" y="273"/>
                  </a:lnTo>
                  <a:lnTo>
                    <a:pt x="266" y="273"/>
                  </a:lnTo>
                  <a:lnTo>
                    <a:pt x="266" y="273"/>
                  </a:lnTo>
                  <a:lnTo>
                    <a:pt x="273" y="273"/>
                  </a:lnTo>
                  <a:lnTo>
                    <a:pt x="273" y="273"/>
                  </a:lnTo>
                  <a:lnTo>
                    <a:pt x="281" y="273"/>
                  </a:lnTo>
                  <a:lnTo>
                    <a:pt x="281" y="266"/>
                  </a:lnTo>
                  <a:lnTo>
                    <a:pt x="288" y="266"/>
                  </a:lnTo>
                  <a:lnTo>
                    <a:pt x="288" y="266"/>
                  </a:lnTo>
                  <a:lnTo>
                    <a:pt x="288" y="266"/>
                  </a:lnTo>
                  <a:lnTo>
                    <a:pt x="288" y="266"/>
                  </a:lnTo>
                  <a:lnTo>
                    <a:pt x="295" y="266"/>
                  </a:lnTo>
                  <a:lnTo>
                    <a:pt x="295" y="266"/>
                  </a:lnTo>
                  <a:lnTo>
                    <a:pt x="303" y="266"/>
                  </a:lnTo>
                  <a:lnTo>
                    <a:pt x="303" y="266"/>
                  </a:lnTo>
                  <a:lnTo>
                    <a:pt x="310" y="266"/>
                  </a:lnTo>
                  <a:lnTo>
                    <a:pt x="310" y="266"/>
                  </a:lnTo>
                  <a:lnTo>
                    <a:pt x="310" y="266"/>
                  </a:lnTo>
                  <a:lnTo>
                    <a:pt x="310" y="266"/>
                  </a:lnTo>
                  <a:lnTo>
                    <a:pt x="318" y="266"/>
                  </a:lnTo>
                  <a:lnTo>
                    <a:pt x="318" y="266"/>
                  </a:lnTo>
                  <a:lnTo>
                    <a:pt x="325" y="266"/>
                  </a:lnTo>
                  <a:lnTo>
                    <a:pt x="325" y="266"/>
                  </a:lnTo>
                  <a:lnTo>
                    <a:pt x="332" y="266"/>
                  </a:lnTo>
                  <a:lnTo>
                    <a:pt x="332" y="266"/>
                  </a:lnTo>
                  <a:lnTo>
                    <a:pt x="332" y="266"/>
                  </a:lnTo>
                  <a:lnTo>
                    <a:pt x="332" y="258"/>
                  </a:lnTo>
                  <a:lnTo>
                    <a:pt x="340" y="258"/>
                  </a:lnTo>
                  <a:lnTo>
                    <a:pt x="340" y="258"/>
                  </a:lnTo>
                  <a:lnTo>
                    <a:pt x="347" y="258"/>
                  </a:lnTo>
                  <a:lnTo>
                    <a:pt x="347" y="258"/>
                  </a:lnTo>
                  <a:lnTo>
                    <a:pt x="354" y="258"/>
                  </a:lnTo>
                  <a:lnTo>
                    <a:pt x="354" y="258"/>
                  </a:lnTo>
                  <a:lnTo>
                    <a:pt x="362" y="258"/>
                  </a:lnTo>
                  <a:lnTo>
                    <a:pt x="362" y="251"/>
                  </a:lnTo>
                  <a:lnTo>
                    <a:pt x="362" y="251"/>
                  </a:lnTo>
                  <a:lnTo>
                    <a:pt x="362" y="251"/>
                  </a:lnTo>
                  <a:lnTo>
                    <a:pt x="369" y="251"/>
                  </a:lnTo>
                  <a:lnTo>
                    <a:pt x="369" y="251"/>
                  </a:lnTo>
                  <a:lnTo>
                    <a:pt x="377" y="251"/>
                  </a:lnTo>
                  <a:lnTo>
                    <a:pt x="377" y="251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91" y="251"/>
                  </a:lnTo>
                  <a:lnTo>
                    <a:pt x="391" y="243"/>
                  </a:lnTo>
                  <a:lnTo>
                    <a:pt x="399" y="243"/>
                  </a:lnTo>
                  <a:lnTo>
                    <a:pt x="399" y="243"/>
                  </a:lnTo>
                  <a:lnTo>
                    <a:pt x="406" y="243"/>
                  </a:lnTo>
                  <a:lnTo>
                    <a:pt x="406" y="243"/>
                  </a:lnTo>
                  <a:lnTo>
                    <a:pt x="406" y="243"/>
                  </a:lnTo>
                  <a:lnTo>
                    <a:pt x="406" y="243"/>
                  </a:lnTo>
                  <a:lnTo>
                    <a:pt x="413" y="243"/>
                  </a:lnTo>
                  <a:lnTo>
                    <a:pt x="413" y="243"/>
                  </a:lnTo>
                  <a:lnTo>
                    <a:pt x="421" y="243"/>
                  </a:lnTo>
                  <a:lnTo>
                    <a:pt x="421" y="243"/>
                  </a:lnTo>
                  <a:lnTo>
                    <a:pt x="428" y="243"/>
                  </a:lnTo>
                  <a:lnTo>
                    <a:pt x="428" y="243"/>
                  </a:lnTo>
                  <a:lnTo>
                    <a:pt x="436" y="243"/>
                  </a:lnTo>
                  <a:lnTo>
                    <a:pt x="436" y="243"/>
                  </a:lnTo>
                  <a:lnTo>
                    <a:pt x="436" y="243"/>
                  </a:lnTo>
                  <a:lnTo>
                    <a:pt x="436" y="243"/>
                  </a:lnTo>
                  <a:lnTo>
                    <a:pt x="443" y="243"/>
                  </a:lnTo>
                  <a:lnTo>
                    <a:pt x="443" y="243"/>
                  </a:lnTo>
                  <a:lnTo>
                    <a:pt x="450" y="243"/>
                  </a:lnTo>
                  <a:lnTo>
                    <a:pt x="450" y="236"/>
                  </a:lnTo>
                  <a:lnTo>
                    <a:pt x="458" y="236"/>
                  </a:lnTo>
                  <a:lnTo>
                    <a:pt x="458" y="236"/>
                  </a:lnTo>
                  <a:lnTo>
                    <a:pt x="458" y="236"/>
                  </a:lnTo>
                  <a:lnTo>
                    <a:pt x="458" y="236"/>
                  </a:lnTo>
                  <a:lnTo>
                    <a:pt x="465" y="236"/>
                  </a:lnTo>
                  <a:lnTo>
                    <a:pt x="465" y="236"/>
                  </a:lnTo>
                  <a:lnTo>
                    <a:pt x="472" y="236"/>
                  </a:lnTo>
                  <a:lnTo>
                    <a:pt x="472" y="236"/>
                  </a:lnTo>
                  <a:lnTo>
                    <a:pt x="480" y="236"/>
                  </a:lnTo>
                  <a:lnTo>
                    <a:pt x="480" y="236"/>
                  </a:lnTo>
                  <a:lnTo>
                    <a:pt x="480" y="236"/>
                  </a:lnTo>
                  <a:lnTo>
                    <a:pt x="480" y="236"/>
                  </a:lnTo>
                  <a:lnTo>
                    <a:pt x="487" y="236"/>
                  </a:lnTo>
                  <a:lnTo>
                    <a:pt x="487" y="236"/>
                  </a:lnTo>
                  <a:lnTo>
                    <a:pt x="495" y="236"/>
                  </a:lnTo>
                  <a:lnTo>
                    <a:pt x="495" y="236"/>
                  </a:lnTo>
                  <a:lnTo>
                    <a:pt x="502" y="236"/>
                  </a:lnTo>
                  <a:lnTo>
                    <a:pt x="502" y="236"/>
                  </a:lnTo>
                  <a:lnTo>
                    <a:pt x="502" y="236"/>
                  </a:lnTo>
                  <a:lnTo>
                    <a:pt x="502" y="236"/>
                  </a:lnTo>
                  <a:lnTo>
                    <a:pt x="509" y="236"/>
                  </a:lnTo>
                  <a:lnTo>
                    <a:pt x="509" y="229"/>
                  </a:lnTo>
                  <a:lnTo>
                    <a:pt x="517" y="229"/>
                  </a:lnTo>
                  <a:lnTo>
                    <a:pt x="517" y="229"/>
                  </a:lnTo>
                  <a:lnTo>
                    <a:pt x="524" y="229"/>
                  </a:lnTo>
                  <a:lnTo>
                    <a:pt x="524" y="229"/>
                  </a:lnTo>
                  <a:lnTo>
                    <a:pt x="531" y="229"/>
                  </a:lnTo>
                  <a:lnTo>
                    <a:pt x="531" y="229"/>
                  </a:lnTo>
                  <a:lnTo>
                    <a:pt x="531" y="229"/>
                  </a:lnTo>
                  <a:lnTo>
                    <a:pt x="531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46" y="229"/>
                  </a:lnTo>
                  <a:lnTo>
                    <a:pt x="546" y="229"/>
                  </a:lnTo>
                  <a:lnTo>
                    <a:pt x="554" y="229"/>
                  </a:lnTo>
                  <a:lnTo>
                    <a:pt x="554" y="229"/>
                  </a:lnTo>
                  <a:lnTo>
                    <a:pt x="554" y="229"/>
                  </a:lnTo>
                  <a:lnTo>
                    <a:pt x="554" y="221"/>
                  </a:lnTo>
                  <a:lnTo>
                    <a:pt x="561" y="221"/>
                  </a:lnTo>
                  <a:lnTo>
                    <a:pt x="561" y="221"/>
                  </a:lnTo>
                  <a:lnTo>
                    <a:pt x="568" y="221"/>
                  </a:lnTo>
                  <a:lnTo>
                    <a:pt x="568" y="221"/>
                  </a:lnTo>
                  <a:lnTo>
                    <a:pt x="576" y="221"/>
                  </a:lnTo>
                  <a:lnTo>
                    <a:pt x="576" y="221"/>
                  </a:lnTo>
                  <a:lnTo>
                    <a:pt x="576" y="221"/>
                  </a:lnTo>
                  <a:lnTo>
                    <a:pt x="576" y="221"/>
                  </a:lnTo>
                  <a:lnTo>
                    <a:pt x="583" y="221"/>
                  </a:lnTo>
                  <a:lnTo>
                    <a:pt x="583" y="221"/>
                  </a:lnTo>
                  <a:lnTo>
                    <a:pt x="590" y="221"/>
                  </a:lnTo>
                  <a:lnTo>
                    <a:pt x="590" y="221"/>
                  </a:lnTo>
                  <a:lnTo>
                    <a:pt x="598" y="221"/>
                  </a:lnTo>
                  <a:lnTo>
                    <a:pt x="598" y="214"/>
                  </a:lnTo>
                  <a:lnTo>
                    <a:pt x="605" y="214"/>
                  </a:lnTo>
                  <a:lnTo>
                    <a:pt x="605" y="214"/>
                  </a:lnTo>
                  <a:lnTo>
                    <a:pt x="605" y="214"/>
                  </a:lnTo>
                  <a:lnTo>
                    <a:pt x="605" y="214"/>
                  </a:lnTo>
                  <a:lnTo>
                    <a:pt x="613" y="214"/>
                  </a:lnTo>
                  <a:lnTo>
                    <a:pt x="613" y="214"/>
                  </a:lnTo>
                  <a:lnTo>
                    <a:pt x="620" y="214"/>
                  </a:lnTo>
                  <a:lnTo>
                    <a:pt x="620" y="214"/>
                  </a:lnTo>
                  <a:lnTo>
                    <a:pt x="627" y="214"/>
                  </a:lnTo>
                  <a:lnTo>
                    <a:pt x="627" y="214"/>
                  </a:lnTo>
                  <a:lnTo>
                    <a:pt x="627" y="214"/>
                  </a:lnTo>
                  <a:lnTo>
                    <a:pt x="627" y="199"/>
                  </a:lnTo>
                  <a:lnTo>
                    <a:pt x="635" y="199"/>
                  </a:lnTo>
                  <a:lnTo>
                    <a:pt x="635" y="199"/>
                  </a:lnTo>
                  <a:lnTo>
                    <a:pt x="642" y="199"/>
                  </a:lnTo>
                  <a:lnTo>
                    <a:pt x="642" y="199"/>
                  </a:lnTo>
                  <a:lnTo>
                    <a:pt x="649" y="199"/>
                  </a:lnTo>
                  <a:lnTo>
                    <a:pt x="649" y="199"/>
                  </a:lnTo>
                  <a:lnTo>
                    <a:pt x="657" y="199"/>
                  </a:lnTo>
                  <a:lnTo>
                    <a:pt x="657" y="199"/>
                  </a:lnTo>
                  <a:lnTo>
                    <a:pt x="664" y="199"/>
                  </a:lnTo>
                  <a:lnTo>
                    <a:pt x="664" y="192"/>
                  </a:lnTo>
                  <a:lnTo>
                    <a:pt x="672" y="192"/>
                  </a:lnTo>
                  <a:lnTo>
                    <a:pt x="672" y="192"/>
                  </a:lnTo>
                  <a:lnTo>
                    <a:pt x="672" y="192"/>
                  </a:lnTo>
                  <a:lnTo>
                    <a:pt x="672" y="184"/>
                  </a:lnTo>
                  <a:lnTo>
                    <a:pt x="679" y="184"/>
                  </a:lnTo>
                  <a:lnTo>
                    <a:pt x="679" y="184"/>
                  </a:lnTo>
                  <a:lnTo>
                    <a:pt x="686" y="184"/>
                  </a:lnTo>
                  <a:lnTo>
                    <a:pt x="686" y="184"/>
                  </a:lnTo>
                  <a:lnTo>
                    <a:pt x="694" y="184"/>
                  </a:lnTo>
                  <a:lnTo>
                    <a:pt x="694" y="184"/>
                  </a:lnTo>
                  <a:lnTo>
                    <a:pt x="701" y="184"/>
                  </a:lnTo>
                  <a:lnTo>
                    <a:pt x="701" y="184"/>
                  </a:lnTo>
                  <a:lnTo>
                    <a:pt x="701" y="184"/>
                  </a:lnTo>
                  <a:lnTo>
                    <a:pt x="701" y="184"/>
                  </a:lnTo>
                  <a:lnTo>
                    <a:pt x="708" y="184"/>
                  </a:lnTo>
                  <a:lnTo>
                    <a:pt x="708" y="184"/>
                  </a:lnTo>
                  <a:lnTo>
                    <a:pt x="716" y="184"/>
                  </a:lnTo>
                  <a:lnTo>
                    <a:pt x="716" y="184"/>
                  </a:lnTo>
                  <a:lnTo>
                    <a:pt x="723" y="184"/>
                  </a:lnTo>
                  <a:lnTo>
                    <a:pt x="723" y="184"/>
                  </a:lnTo>
                  <a:lnTo>
                    <a:pt x="723" y="184"/>
                  </a:lnTo>
                  <a:lnTo>
                    <a:pt x="723" y="184"/>
                  </a:lnTo>
                  <a:lnTo>
                    <a:pt x="731" y="184"/>
                  </a:lnTo>
                  <a:lnTo>
                    <a:pt x="731" y="184"/>
                  </a:lnTo>
                  <a:lnTo>
                    <a:pt x="738" y="184"/>
                  </a:lnTo>
                  <a:lnTo>
                    <a:pt x="738" y="184"/>
                  </a:lnTo>
                  <a:lnTo>
                    <a:pt x="745" y="184"/>
                  </a:lnTo>
                  <a:lnTo>
                    <a:pt x="745" y="184"/>
                  </a:lnTo>
                  <a:lnTo>
                    <a:pt x="745" y="184"/>
                  </a:lnTo>
                  <a:lnTo>
                    <a:pt x="745" y="184"/>
                  </a:lnTo>
                  <a:lnTo>
                    <a:pt x="753" y="184"/>
                  </a:lnTo>
                  <a:lnTo>
                    <a:pt x="753" y="184"/>
                  </a:lnTo>
                  <a:lnTo>
                    <a:pt x="760" y="184"/>
                  </a:lnTo>
                  <a:lnTo>
                    <a:pt x="760" y="184"/>
                  </a:lnTo>
                  <a:lnTo>
                    <a:pt x="767" y="184"/>
                  </a:lnTo>
                  <a:lnTo>
                    <a:pt x="767" y="184"/>
                  </a:lnTo>
                  <a:lnTo>
                    <a:pt x="775" y="184"/>
                  </a:lnTo>
                  <a:lnTo>
                    <a:pt x="775" y="184"/>
                  </a:lnTo>
                  <a:lnTo>
                    <a:pt x="775" y="184"/>
                  </a:lnTo>
                  <a:lnTo>
                    <a:pt x="775" y="184"/>
                  </a:lnTo>
                  <a:lnTo>
                    <a:pt x="782" y="184"/>
                  </a:lnTo>
                  <a:lnTo>
                    <a:pt x="782" y="184"/>
                  </a:lnTo>
                  <a:lnTo>
                    <a:pt x="790" y="184"/>
                  </a:lnTo>
                  <a:lnTo>
                    <a:pt x="790" y="184"/>
                  </a:lnTo>
                  <a:lnTo>
                    <a:pt x="797" y="184"/>
                  </a:lnTo>
                  <a:lnTo>
                    <a:pt x="797" y="184"/>
                  </a:lnTo>
                  <a:lnTo>
                    <a:pt x="797" y="184"/>
                  </a:lnTo>
                  <a:lnTo>
                    <a:pt x="797" y="177"/>
                  </a:lnTo>
                  <a:lnTo>
                    <a:pt x="804" y="177"/>
                  </a:lnTo>
                  <a:lnTo>
                    <a:pt x="804" y="177"/>
                  </a:lnTo>
                  <a:lnTo>
                    <a:pt x="812" y="177"/>
                  </a:lnTo>
                  <a:lnTo>
                    <a:pt x="812" y="177"/>
                  </a:lnTo>
                  <a:lnTo>
                    <a:pt x="819" y="177"/>
                  </a:lnTo>
                  <a:lnTo>
                    <a:pt x="819" y="177"/>
                  </a:lnTo>
                  <a:lnTo>
                    <a:pt x="819" y="177"/>
                  </a:lnTo>
                  <a:lnTo>
                    <a:pt x="819" y="170"/>
                  </a:lnTo>
                  <a:lnTo>
                    <a:pt x="826" y="170"/>
                  </a:lnTo>
                  <a:lnTo>
                    <a:pt x="826" y="170"/>
                  </a:lnTo>
                  <a:lnTo>
                    <a:pt x="834" y="170"/>
                  </a:lnTo>
                  <a:lnTo>
                    <a:pt x="834" y="170"/>
                  </a:lnTo>
                  <a:lnTo>
                    <a:pt x="841" y="170"/>
                  </a:lnTo>
                  <a:lnTo>
                    <a:pt x="841" y="170"/>
                  </a:lnTo>
                  <a:lnTo>
                    <a:pt x="841" y="170"/>
                  </a:lnTo>
                  <a:lnTo>
                    <a:pt x="841" y="162"/>
                  </a:lnTo>
                  <a:lnTo>
                    <a:pt x="849" y="162"/>
                  </a:lnTo>
                  <a:lnTo>
                    <a:pt x="849" y="155"/>
                  </a:lnTo>
                  <a:lnTo>
                    <a:pt x="856" y="155"/>
                  </a:lnTo>
                  <a:lnTo>
                    <a:pt x="856" y="155"/>
                  </a:lnTo>
                  <a:lnTo>
                    <a:pt x="863" y="155"/>
                  </a:lnTo>
                  <a:lnTo>
                    <a:pt x="863" y="155"/>
                  </a:lnTo>
                  <a:lnTo>
                    <a:pt x="871" y="155"/>
                  </a:lnTo>
                  <a:lnTo>
                    <a:pt x="871" y="148"/>
                  </a:lnTo>
                  <a:lnTo>
                    <a:pt x="871" y="148"/>
                  </a:lnTo>
                  <a:lnTo>
                    <a:pt x="871" y="148"/>
                  </a:lnTo>
                  <a:lnTo>
                    <a:pt x="878" y="148"/>
                  </a:lnTo>
                  <a:lnTo>
                    <a:pt x="878" y="148"/>
                  </a:lnTo>
                  <a:lnTo>
                    <a:pt x="885" y="148"/>
                  </a:lnTo>
                  <a:lnTo>
                    <a:pt x="885" y="148"/>
                  </a:lnTo>
                  <a:lnTo>
                    <a:pt x="893" y="148"/>
                  </a:lnTo>
                  <a:lnTo>
                    <a:pt x="893" y="148"/>
                  </a:lnTo>
                  <a:lnTo>
                    <a:pt x="893" y="148"/>
                  </a:lnTo>
                  <a:lnTo>
                    <a:pt x="893" y="140"/>
                  </a:lnTo>
                  <a:lnTo>
                    <a:pt x="900" y="140"/>
                  </a:lnTo>
                  <a:lnTo>
                    <a:pt x="900" y="140"/>
                  </a:lnTo>
                  <a:lnTo>
                    <a:pt x="908" y="140"/>
                  </a:lnTo>
                  <a:lnTo>
                    <a:pt x="908" y="140"/>
                  </a:lnTo>
                  <a:lnTo>
                    <a:pt x="915" y="140"/>
                  </a:lnTo>
                  <a:lnTo>
                    <a:pt x="915" y="140"/>
                  </a:lnTo>
                  <a:lnTo>
                    <a:pt x="915" y="140"/>
                  </a:lnTo>
                  <a:lnTo>
                    <a:pt x="915" y="140"/>
                  </a:lnTo>
                  <a:lnTo>
                    <a:pt x="922" y="140"/>
                  </a:lnTo>
                  <a:lnTo>
                    <a:pt x="922" y="140"/>
                  </a:lnTo>
                  <a:lnTo>
                    <a:pt x="930" y="140"/>
                  </a:lnTo>
                  <a:lnTo>
                    <a:pt x="930" y="125"/>
                  </a:lnTo>
                  <a:lnTo>
                    <a:pt x="937" y="125"/>
                  </a:lnTo>
                  <a:lnTo>
                    <a:pt x="937" y="125"/>
                  </a:lnTo>
                  <a:lnTo>
                    <a:pt x="937" y="125"/>
                  </a:lnTo>
                  <a:lnTo>
                    <a:pt x="937" y="125"/>
                  </a:lnTo>
                  <a:lnTo>
                    <a:pt x="944" y="125"/>
                  </a:lnTo>
                  <a:lnTo>
                    <a:pt x="944" y="125"/>
                  </a:lnTo>
                  <a:lnTo>
                    <a:pt x="952" y="125"/>
                  </a:lnTo>
                  <a:lnTo>
                    <a:pt x="952" y="125"/>
                  </a:lnTo>
                  <a:lnTo>
                    <a:pt x="959" y="125"/>
                  </a:lnTo>
                  <a:lnTo>
                    <a:pt x="959" y="118"/>
                  </a:lnTo>
                  <a:lnTo>
                    <a:pt x="967" y="118"/>
                  </a:lnTo>
                  <a:lnTo>
                    <a:pt x="967" y="118"/>
                  </a:lnTo>
                  <a:lnTo>
                    <a:pt x="967" y="118"/>
                  </a:lnTo>
                  <a:lnTo>
                    <a:pt x="967" y="118"/>
                  </a:lnTo>
                  <a:lnTo>
                    <a:pt x="974" y="118"/>
                  </a:lnTo>
                  <a:lnTo>
                    <a:pt x="974" y="118"/>
                  </a:lnTo>
                  <a:lnTo>
                    <a:pt x="981" y="118"/>
                  </a:lnTo>
                  <a:lnTo>
                    <a:pt x="981" y="118"/>
                  </a:lnTo>
                  <a:lnTo>
                    <a:pt x="989" y="118"/>
                  </a:lnTo>
                  <a:lnTo>
                    <a:pt x="989" y="118"/>
                  </a:lnTo>
                  <a:lnTo>
                    <a:pt x="989" y="118"/>
                  </a:lnTo>
                  <a:lnTo>
                    <a:pt x="989" y="118"/>
                  </a:lnTo>
                  <a:lnTo>
                    <a:pt x="996" y="118"/>
                  </a:lnTo>
                  <a:lnTo>
                    <a:pt x="996" y="118"/>
                  </a:lnTo>
                  <a:lnTo>
                    <a:pt x="1003" y="118"/>
                  </a:lnTo>
                  <a:lnTo>
                    <a:pt x="1003" y="118"/>
                  </a:lnTo>
                  <a:lnTo>
                    <a:pt x="1011" y="118"/>
                  </a:lnTo>
                  <a:lnTo>
                    <a:pt x="1011" y="118"/>
                  </a:lnTo>
                  <a:lnTo>
                    <a:pt x="1011" y="118"/>
                  </a:lnTo>
                  <a:lnTo>
                    <a:pt x="1011" y="111"/>
                  </a:lnTo>
                  <a:lnTo>
                    <a:pt x="1018" y="111"/>
                  </a:lnTo>
                  <a:lnTo>
                    <a:pt x="1018" y="111"/>
                  </a:lnTo>
                  <a:lnTo>
                    <a:pt x="1026" y="111"/>
                  </a:lnTo>
                  <a:lnTo>
                    <a:pt x="1026" y="96"/>
                  </a:lnTo>
                  <a:lnTo>
                    <a:pt x="1033" y="96"/>
                  </a:lnTo>
                  <a:lnTo>
                    <a:pt x="1033" y="96"/>
                  </a:lnTo>
                  <a:lnTo>
                    <a:pt x="1040" y="96"/>
                  </a:lnTo>
                  <a:lnTo>
                    <a:pt x="1040" y="96"/>
                  </a:lnTo>
                  <a:lnTo>
                    <a:pt x="1040" y="96"/>
                  </a:lnTo>
                  <a:lnTo>
                    <a:pt x="1040" y="96"/>
                  </a:lnTo>
                  <a:lnTo>
                    <a:pt x="1048" y="96"/>
                  </a:lnTo>
                  <a:lnTo>
                    <a:pt x="1048" y="89"/>
                  </a:lnTo>
                  <a:lnTo>
                    <a:pt x="1055" y="89"/>
                  </a:lnTo>
                  <a:lnTo>
                    <a:pt x="1055" y="89"/>
                  </a:lnTo>
                  <a:lnTo>
                    <a:pt x="1062" y="89"/>
                  </a:lnTo>
                  <a:lnTo>
                    <a:pt x="1062" y="89"/>
                  </a:lnTo>
                  <a:lnTo>
                    <a:pt x="1062" y="89"/>
                  </a:lnTo>
                  <a:lnTo>
                    <a:pt x="1062" y="89"/>
                  </a:lnTo>
                  <a:lnTo>
                    <a:pt x="1070" y="89"/>
                  </a:lnTo>
                  <a:lnTo>
                    <a:pt x="1070" y="89"/>
                  </a:lnTo>
                  <a:lnTo>
                    <a:pt x="1077" y="89"/>
                  </a:lnTo>
                  <a:lnTo>
                    <a:pt x="1077" y="89"/>
                  </a:lnTo>
                  <a:lnTo>
                    <a:pt x="1085" y="89"/>
                  </a:lnTo>
                  <a:lnTo>
                    <a:pt x="1085" y="89"/>
                  </a:lnTo>
                  <a:lnTo>
                    <a:pt x="1085" y="89"/>
                  </a:lnTo>
                  <a:lnTo>
                    <a:pt x="1085" y="89"/>
                  </a:lnTo>
                  <a:lnTo>
                    <a:pt x="1092" y="89"/>
                  </a:lnTo>
                  <a:lnTo>
                    <a:pt x="1092" y="89"/>
                  </a:lnTo>
                  <a:lnTo>
                    <a:pt x="1099" y="89"/>
                  </a:lnTo>
                  <a:lnTo>
                    <a:pt x="1099" y="89"/>
                  </a:lnTo>
                  <a:lnTo>
                    <a:pt x="1107" y="89"/>
                  </a:lnTo>
                  <a:lnTo>
                    <a:pt x="1107" y="81"/>
                  </a:lnTo>
                  <a:lnTo>
                    <a:pt x="1107" y="81"/>
                  </a:lnTo>
                  <a:lnTo>
                    <a:pt x="1107" y="81"/>
                  </a:lnTo>
                  <a:lnTo>
                    <a:pt x="1114" y="81"/>
                  </a:lnTo>
                  <a:lnTo>
                    <a:pt x="1114" y="81"/>
                  </a:lnTo>
                  <a:lnTo>
                    <a:pt x="1121" y="81"/>
                  </a:lnTo>
                  <a:lnTo>
                    <a:pt x="1121" y="81"/>
                  </a:lnTo>
                  <a:lnTo>
                    <a:pt x="1129" y="81"/>
                  </a:lnTo>
                  <a:lnTo>
                    <a:pt x="1129" y="81"/>
                  </a:lnTo>
                  <a:lnTo>
                    <a:pt x="1136" y="81"/>
                  </a:lnTo>
                  <a:lnTo>
                    <a:pt x="1136" y="81"/>
                  </a:lnTo>
                  <a:lnTo>
                    <a:pt x="1136" y="81"/>
                  </a:lnTo>
                  <a:lnTo>
                    <a:pt x="1136" y="81"/>
                  </a:lnTo>
                  <a:lnTo>
                    <a:pt x="1144" y="81"/>
                  </a:lnTo>
                  <a:lnTo>
                    <a:pt x="1144" y="74"/>
                  </a:lnTo>
                  <a:lnTo>
                    <a:pt x="1151" y="74"/>
                  </a:lnTo>
                  <a:lnTo>
                    <a:pt x="1151" y="74"/>
                  </a:lnTo>
                  <a:lnTo>
                    <a:pt x="1158" y="74"/>
                  </a:lnTo>
                  <a:lnTo>
                    <a:pt x="1158" y="74"/>
                  </a:lnTo>
                  <a:lnTo>
                    <a:pt x="1158" y="74"/>
                  </a:lnTo>
                  <a:lnTo>
                    <a:pt x="1158" y="74"/>
                  </a:lnTo>
                  <a:lnTo>
                    <a:pt x="1166" y="74"/>
                  </a:lnTo>
                  <a:lnTo>
                    <a:pt x="1166" y="66"/>
                  </a:lnTo>
                  <a:lnTo>
                    <a:pt x="1173" y="66"/>
                  </a:lnTo>
                  <a:lnTo>
                    <a:pt x="1173" y="59"/>
                  </a:lnTo>
                  <a:lnTo>
                    <a:pt x="1181" y="59"/>
                  </a:lnTo>
                  <a:lnTo>
                    <a:pt x="1181" y="52"/>
                  </a:lnTo>
                  <a:lnTo>
                    <a:pt x="1181" y="52"/>
                  </a:lnTo>
                  <a:lnTo>
                    <a:pt x="1181" y="52"/>
                  </a:lnTo>
                  <a:lnTo>
                    <a:pt x="1188" y="52"/>
                  </a:lnTo>
                  <a:lnTo>
                    <a:pt x="1188" y="52"/>
                  </a:lnTo>
                  <a:lnTo>
                    <a:pt x="1195" y="52"/>
                  </a:lnTo>
                  <a:lnTo>
                    <a:pt x="1195" y="37"/>
                  </a:lnTo>
                  <a:lnTo>
                    <a:pt x="1203" y="37"/>
                  </a:lnTo>
                  <a:lnTo>
                    <a:pt x="1203" y="37"/>
                  </a:lnTo>
                  <a:lnTo>
                    <a:pt x="1210" y="37"/>
                  </a:lnTo>
                  <a:lnTo>
                    <a:pt x="1210" y="30"/>
                  </a:lnTo>
                  <a:lnTo>
                    <a:pt x="1210" y="30"/>
                  </a:lnTo>
                  <a:lnTo>
                    <a:pt x="1210" y="30"/>
                  </a:lnTo>
                  <a:lnTo>
                    <a:pt x="1217" y="30"/>
                  </a:lnTo>
                  <a:lnTo>
                    <a:pt x="1217" y="30"/>
                  </a:lnTo>
                  <a:lnTo>
                    <a:pt x="1225" y="30"/>
                  </a:lnTo>
                  <a:lnTo>
                    <a:pt x="1225" y="0"/>
                  </a:lnTo>
                  <a:lnTo>
                    <a:pt x="1232" y="0"/>
                  </a:lnTo>
                  <a:lnTo>
                    <a:pt x="1232" y="0"/>
                  </a:lnTo>
                  <a:lnTo>
                    <a:pt x="1232" y="0"/>
                  </a:lnTo>
                  <a:lnTo>
                    <a:pt x="1232" y="0"/>
                  </a:lnTo>
                </a:path>
              </a:pathLst>
            </a:custGeom>
            <a:noFill/>
            <a:ln w="25400" cap="sq">
              <a:solidFill>
                <a:srgbClr val="CC338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auto">
            <a:xfrm>
              <a:off x="9083675" y="4729163"/>
              <a:ext cx="12259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DF536B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52" name="Group 4"/>
          <p:cNvGrpSpPr>
            <a:grpSpLocks noChangeAspect="1"/>
          </p:cNvGrpSpPr>
          <p:nvPr/>
        </p:nvGrpSpPr>
        <p:grpSpPr bwMode="auto">
          <a:xfrm>
            <a:off x="6027621" y="1974996"/>
            <a:ext cx="5176888" cy="4521200"/>
            <a:chOff x="512" y="1003"/>
            <a:chExt cx="6645" cy="2848"/>
          </a:xfrm>
        </p:grpSpPr>
        <p:sp>
          <p:nvSpPr>
            <p:cNvPr id="53" name="AutoShape 3"/>
            <p:cNvSpPr>
              <a:spLocks noChangeAspect="1" noChangeArrowheads="1" noTextEdit="1"/>
            </p:cNvSpPr>
            <p:nvPr/>
          </p:nvSpPr>
          <p:spPr bwMode="auto">
            <a:xfrm>
              <a:off x="512" y="1003"/>
              <a:ext cx="6645" cy="28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54" name="Line 5"/>
            <p:cNvSpPr>
              <a:spLocks noChangeShapeType="1"/>
            </p:cNvSpPr>
            <p:nvPr/>
          </p:nvSpPr>
          <p:spPr bwMode="auto">
            <a:xfrm>
              <a:off x="1509" y="3310"/>
              <a:ext cx="5362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55" name="Line 6"/>
            <p:cNvSpPr>
              <a:spLocks noChangeShapeType="1"/>
            </p:cNvSpPr>
            <p:nvPr/>
          </p:nvSpPr>
          <p:spPr bwMode="auto">
            <a:xfrm flipV="1">
              <a:off x="1509" y="1348"/>
              <a:ext cx="0" cy="1962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56" name="Line 7"/>
            <p:cNvSpPr>
              <a:spLocks noChangeShapeType="1"/>
            </p:cNvSpPr>
            <p:nvPr/>
          </p:nvSpPr>
          <p:spPr bwMode="auto">
            <a:xfrm>
              <a:off x="1509" y="3310"/>
              <a:ext cx="5362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57" name="Line 8"/>
            <p:cNvSpPr>
              <a:spLocks noChangeShapeType="1"/>
            </p:cNvSpPr>
            <p:nvPr/>
          </p:nvSpPr>
          <p:spPr bwMode="auto">
            <a:xfrm>
              <a:off x="1509" y="3310"/>
              <a:ext cx="0" cy="61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58" name="Line 9"/>
            <p:cNvSpPr>
              <a:spLocks noChangeShapeType="1"/>
            </p:cNvSpPr>
            <p:nvPr/>
          </p:nvSpPr>
          <p:spPr bwMode="auto">
            <a:xfrm>
              <a:off x="2583" y="3310"/>
              <a:ext cx="0" cy="61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59" name="Line 10"/>
            <p:cNvSpPr>
              <a:spLocks noChangeShapeType="1"/>
            </p:cNvSpPr>
            <p:nvPr/>
          </p:nvSpPr>
          <p:spPr bwMode="auto">
            <a:xfrm>
              <a:off x="2583" y="3310"/>
              <a:ext cx="0" cy="61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3657" y="3310"/>
              <a:ext cx="0" cy="61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1" name="Line 12"/>
            <p:cNvSpPr>
              <a:spLocks noChangeShapeType="1"/>
            </p:cNvSpPr>
            <p:nvPr/>
          </p:nvSpPr>
          <p:spPr bwMode="auto">
            <a:xfrm>
              <a:off x="3657" y="3310"/>
              <a:ext cx="0" cy="61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2" name="Line 13"/>
            <p:cNvSpPr>
              <a:spLocks noChangeShapeType="1"/>
            </p:cNvSpPr>
            <p:nvPr/>
          </p:nvSpPr>
          <p:spPr bwMode="auto">
            <a:xfrm>
              <a:off x="4731" y="3310"/>
              <a:ext cx="0" cy="61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3" name="Line 14"/>
            <p:cNvSpPr>
              <a:spLocks noChangeShapeType="1"/>
            </p:cNvSpPr>
            <p:nvPr/>
          </p:nvSpPr>
          <p:spPr bwMode="auto">
            <a:xfrm>
              <a:off x="4731" y="3310"/>
              <a:ext cx="0" cy="61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4" name="Line 15"/>
            <p:cNvSpPr>
              <a:spLocks noChangeShapeType="1"/>
            </p:cNvSpPr>
            <p:nvPr/>
          </p:nvSpPr>
          <p:spPr bwMode="auto">
            <a:xfrm>
              <a:off x="5797" y="3310"/>
              <a:ext cx="0" cy="61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5" name="Line 16"/>
            <p:cNvSpPr>
              <a:spLocks noChangeShapeType="1"/>
            </p:cNvSpPr>
            <p:nvPr/>
          </p:nvSpPr>
          <p:spPr bwMode="auto">
            <a:xfrm>
              <a:off x="5797" y="3310"/>
              <a:ext cx="0" cy="61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6" name="Line 17"/>
            <p:cNvSpPr>
              <a:spLocks noChangeShapeType="1"/>
            </p:cNvSpPr>
            <p:nvPr/>
          </p:nvSpPr>
          <p:spPr bwMode="auto">
            <a:xfrm>
              <a:off x="6871" y="3310"/>
              <a:ext cx="0" cy="61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7" name="Line 18"/>
            <p:cNvSpPr>
              <a:spLocks noChangeShapeType="1"/>
            </p:cNvSpPr>
            <p:nvPr/>
          </p:nvSpPr>
          <p:spPr bwMode="auto">
            <a:xfrm flipV="1">
              <a:off x="1509" y="1348"/>
              <a:ext cx="0" cy="1962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8" name="Line 19"/>
            <p:cNvSpPr>
              <a:spLocks noChangeShapeType="1"/>
            </p:cNvSpPr>
            <p:nvPr/>
          </p:nvSpPr>
          <p:spPr bwMode="auto">
            <a:xfrm flipH="1">
              <a:off x="1448" y="3310"/>
              <a:ext cx="61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9" name="Line 20"/>
            <p:cNvSpPr>
              <a:spLocks noChangeShapeType="1"/>
            </p:cNvSpPr>
            <p:nvPr/>
          </p:nvSpPr>
          <p:spPr bwMode="auto">
            <a:xfrm flipH="1">
              <a:off x="1448" y="2819"/>
              <a:ext cx="61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70" name="Line 21"/>
            <p:cNvSpPr>
              <a:spLocks noChangeShapeType="1"/>
            </p:cNvSpPr>
            <p:nvPr/>
          </p:nvSpPr>
          <p:spPr bwMode="auto">
            <a:xfrm flipH="1">
              <a:off x="1448" y="2329"/>
              <a:ext cx="61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71" name="Line 22"/>
            <p:cNvSpPr>
              <a:spLocks noChangeShapeType="1"/>
            </p:cNvSpPr>
            <p:nvPr/>
          </p:nvSpPr>
          <p:spPr bwMode="auto">
            <a:xfrm flipH="1">
              <a:off x="1448" y="1838"/>
              <a:ext cx="61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72" name="Line 23"/>
            <p:cNvSpPr>
              <a:spLocks noChangeShapeType="1"/>
            </p:cNvSpPr>
            <p:nvPr/>
          </p:nvSpPr>
          <p:spPr bwMode="auto">
            <a:xfrm flipH="1">
              <a:off x="1448" y="1348"/>
              <a:ext cx="61" cy="0"/>
            </a:xfrm>
            <a:prstGeom prst="line">
              <a:avLst/>
            </a:prstGeom>
            <a:noFill/>
            <a:ln w="23813" cap="sq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73" name="Rectangle 72"/>
            <p:cNvSpPr>
              <a:spLocks noChangeArrowheads="1"/>
            </p:cNvSpPr>
            <p:nvPr/>
          </p:nvSpPr>
          <p:spPr bwMode="auto">
            <a:xfrm>
              <a:off x="1383" y="3394"/>
              <a:ext cx="156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74" name="Rectangle 73"/>
            <p:cNvSpPr>
              <a:spLocks noChangeArrowheads="1"/>
            </p:cNvSpPr>
            <p:nvPr/>
          </p:nvSpPr>
          <p:spPr bwMode="auto">
            <a:xfrm>
              <a:off x="2372" y="3394"/>
              <a:ext cx="377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.5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75" name="Rectangle 74"/>
            <p:cNvSpPr>
              <a:spLocks noChangeArrowheads="1"/>
            </p:cNvSpPr>
            <p:nvPr/>
          </p:nvSpPr>
          <p:spPr bwMode="auto">
            <a:xfrm>
              <a:off x="3530" y="3394"/>
              <a:ext cx="156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76" name="Rectangle 75"/>
            <p:cNvSpPr>
              <a:spLocks noChangeArrowheads="1"/>
            </p:cNvSpPr>
            <p:nvPr/>
          </p:nvSpPr>
          <p:spPr bwMode="auto">
            <a:xfrm>
              <a:off x="4520" y="3394"/>
              <a:ext cx="377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.5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77" name="Rectangle 76"/>
            <p:cNvSpPr>
              <a:spLocks noChangeArrowheads="1"/>
            </p:cNvSpPr>
            <p:nvPr/>
          </p:nvSpPr>
          <p:spPr bwMode="auto">
            <a:xfrm>
              <a:off x="5678" y="3394"/>
              <a:ext cx="156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78" name="Rectangle 77"/>
            <p:cNvSpPr>
              <a:spLocks noChangeArrowheads="1"/>
            </p:cNvSpPr>
            <p:nvPr/>
          </p:nvSpPr>
          <p:spPr bwMode="auto">
            <a:xfrm>
              <a:off x="6668" y="3394"/>
              <a:ext cx="377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.5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79" name="Rectangle 78"/>
            <p:cNvSpPr>
              <a:spLocks noChangeArrowheads="1"/>
            </p:cNvSpPr>
            <p:nvPr/>
          </p:nvSpPr>
          <p:spPr bwMode="auto">
            <a:xfrm>
              <a:off x="1118" y="3180"/>
              <a:ext cx="156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80" name="Rectangle 79"/>
            <p:cNvSpPr>
              <a:spLocks noChangeArrowheads="1"/>
            </p:cNvSpPr>
            <p:nvPr/>
          </p:nvSpPr>
          <p:spPr bwMode="auto">
            <a:xfrm>
              <a:off x="1003" y="2689"/>
              <a:ext cx="31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0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81" name="Rectangle 80"/>
            <p:cNvSpPr>
              <a:spLocks noChangeArrowheads="1"/>
            </p:cNvSpPr>
            <p:nvPr/>
          </p:nvSpPr>
          <p:spPr bwMode="auto">
            <a:xfrm>
              <a:off x="1003" y="2199"/>
              <a:ext cx="31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0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82" name="Rectangle 81"/>
            <p:cNvSpPr>
              <a:spLocks noChangeArrowheads="1"/>
            </p:cNvSpPr>
            <p:nvPr/>
          </p:nvSpPr>
          <p:spPr bwMode="auto">
            <a:xfrm>
              <a:off x="1003" y="1708"/>
              <a:ext cx="31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83" name="Rectangle 82"/>
            <p:cNvSpPr>
              <a:spLocks noChangeArrowheads="1"/>
            </p:cNvSpPr>
            <p:nvPr/>
          </p:nvSpPr>
          <p:spPr bwMode="auto">
            <a:xfrm>
              <a:off x="1003" y="1218"/>
              <a:ext cx="31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40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84" name="Rectangle 83"/>
            <p:cNvSpPr>
              <a:spLocks noChangeArrowheads="1"/>
            </p:cNvSpPr>
            <p:nvPr/>
          </p:nvSpPr>
          <p:spPr bwMode="auto">
            <a:xfrm>
              <a:off x="3231" y="3540"/>
              <a:ext cx="23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Years of Follow-up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auto">
            <a:xfrm>
              <a:off x="1509" y="3195"/>
              <a:ext cx="4511" cy="115"/>
            </a:xfrm>
            <a:custGeom>
              <a:avLst/>
              <a:gdLst>
                <a:gd name="T0" fmla="*/ 376 w 4511"/>
                <a:gd name="T1" fmla="*/ 107 h 115"/>
                <a:gd name="T2" fmla="*/ 599 w 4511"/>
                <a:gd name="T3" fmla="*/ 107 h 115"/>
                <a:gd name="T4" fmla="*/ 744 w 4511"/>
                <a:gd name="T5" fmla="*/ 100 h 115"/>
                <a:gd name="T6" fmla="*/ 905 w 4511"/>
                <a:gd name="T7" fmla="*/ 100 h 115"/>
                <a:gd name="T8" fmla="*/ 1082 w 4511"/>
                <a:gd name="T9" fmla="*/ 92 h 115"/>
                <a:gd name="T10" fmla="*/ 1335 w 4511"/>
                <a:gd name="T11" fmla="*/ 92 h 115"/>
                <a:gd name="T12" fmla="*/ 1458 w 4511"/>
                <a:gd name="T13" fmla="*/ 92 h 115"/>
                <a:gd name="T14" fmla="*/ 1649 w 4511"/>
                <a:gd name="T15" fmla="*/ 84 h 115"/>
                <a:gd name="T16" fmla="*/ 1795 w 4511"/>
                <a:gd name="T17" fmla="*/ 84 h 115"/>
                <a:gd name="T18" fmla="*/ 1910 w 4511"/>
                <a:gd name="T19" fmla="*/ 84 h 115"/>
                <a:gd name="T20" fmla="*/ 2010 w 4511"/>
                <a:gd name="T21" fmla="*/ 77 h 115"/>
                <a:gd name="T22" fmla="*/ 2094 w 4511"/>
                <a:gd name="T23" fmla="*/ 77 h 115"/>
                <a:gd name="T24" fmla="*/ 2156 w 4511"/>
                <a:gd name="T25" fmla="*/ 69 h 115"/>
                <a:gd name="T26" fmla="*/ 2202 w 4511"/>
                <a:gd name="T27" fmla="*/ 69 h 115"/>
                <a:gd name="T28" fmla="*/ 2248 w 4511"/>
                <a:gd name="T29" fmla="*/ 69 h 115"/>
                <a:gd name="T30" fmla="*/ 2301 w 4511"/>
                <a:gd name="T31" fmla="*/ 69 h 115"/>
                <a:gd name="T32" fmla="*/ 2355 w 4511"/>
                <a:gd name="T33" fmla="*/ 69 h 115"/>
                <a:gd name="T34" fmla="*/ 2417 w 4511"/>
                <a:gd name="T35" fmla="*/ 61 h 115"/>
                <a:gd name="T36" fmla="*/ 2463 w 4511"/>
                <a:gd name="T37" fmla="*/ 61 h 115"/>
                <a:gd name="T38" fmla="*/ 2509 w 4511"/>
                <a:gd name="T39" fmla="*/ 61 h 115"/>
                <a:gd name="T40" fmla="*/ 2555 w 4511"/>
                <a:gd name="T41" fmla="*/ 61 h 115"/>
                <a:gd name="T42" fmla="*/ 2601 w 4511"/>
                <a:gd name="T43" fmla="*/ 61 h 115"/>
                <a:gd name="T44" fmla="*/ 2647 w 4511"/>
                <a:gd name="T45" fmla="*/ 61 h 115"/>
                <a:gd name="T46" fmla="*/ 2693 w 4511"/>
                <a:gd name="T47" fmla="*/ 61 h 115"/>
                <a:gd name="T48" fmla="*/ 2746 w 4511"/>
                <a:gd name="T49" fmla="*/ 61 h 115"/>
                <a:gd name="T50" fmla="*/ 2792 w 4511"/>
                <a:gd name="T51" fmla="*/ 61 h 115"/>
                <a:gd name="T52" fmla="*/ 2838 w 4511"/>
                <a:gd name="T53" fmla="*/ 54 h 115"/>
                <a:gd name="T54" fmla="*/ 2884 w 4511"/>
                <a:gd name="T55" fmla="*/ 54 h 115"/>
                <a:gd name="T56" fmla="*/ 2930 w 4511"/>
                <a:gd name="T57" fmla="*/ 54 h 115"/>
                <a:gd name="T58" fmla="*/ 2976 w 4511"/>
                <a:gd name="T59" fmla="*/ 54 h 115"/>
                <a:gd name="T60" fmla="*/ 3023 w 4511"/>
                <a:gd name="T61" fmla="*/ 46 h 115"/>
                <a:gd name="T62" fmla="*/ 3069 w 4511"/>
                <a:gd name="T63" fmla="*/ 46 h 115"/>
                <a:gd name="T64" fmla="*/ 3122 w 4511"/>
                <a:gd name="T65" fmla="*/ 46 h 115"/>
                <a:gd name="T66" fmla="*/ 3168 w 4511"/>
                <a:gd name="T67" fmla="*/ 46 h 115"/>
                <a:gd name="T68" fmla="*/ 3214 w 4511"/>
                <a:gd name="T69" fmla="*/ 46 h 115"/>
                <a:gd name="T70" fmla="*/ 3260 w 4511"/>
                <a:gd name="T71" fmla="*/ 46 h 115"/>
                <a:gd name="T72" fmla="*/ 3306 w 4511"/>
                <a:gd name="T73" fmla="*/ 38 h 115"/>
                <a:gd name="T74" fmla="*/ 3352 w 4511"/>
                <a:gd name="T75" fmla="*/ 38 h 115"/>
                <a:gd name="T76" fmla="*/ 3398 w 4511"/>
                <a:gd name="T77" fmla="*/ 38 h 115"/>
                <a:gd name="T78" fmla="*/ 3444 w 4511"/>
                <a:gd name="T79" fmla="*/ 31 h 115"/>
                <a:gd name="T80" fmla="*/ 3498 w 4511"/>
                <a:gd name="T81" fmla="*/ 31 h 115"/>
                <a:gd name="T82" fmla="*/ 3544 w 4511"/>
                <a:gd name="T83" fmla="*/ 31 h 115"/>
                <a:gd name="T84" fmla="*/ 3590 w 4511"/>
                <a:gd name="T85" fmla="*/ 31 h 115"/>
                <a:gd name="T86" fmla="*/ 3636 w 4511"/>
                <a:gd name="T87" fmla="*/ 31 h 115"/>
                <a:gd name="T88" fmla="*/ 3682 w 4511"/>
                <a:gd name="T89" fmla="*/ 31 h 115"/>
                <a:gd name="T90" fmla="*/ 3728 w 4511"/>
                <a:gd name="T91" fmla="*/ 31 h 115"/>
                <a:gd name="T92" fmla="*/ 3774 w 4511"/>
                <a:gd name="T93" fmla="*/ 31 h 115"/>
                <a:gd name="T94" fmla="*/ 3828 w 4511"/>
                <a:gd name="T95" fmla="*/ 23 h 115"/>
                <a:gd name="T96" fmla="*/ 3874 w 4511"/>
                <a:gd name="T97" fmla="*/ 23 h 115"/>
                <a:gd name="T98" fmla="*/ 3920 w 4511"/>
                <a:gd name="T99" fmla="*/ 15 h 115"/>
                <a:gd name="T100" fmla="*/ 3966 w 4511"/>
                <a:gd name="T101" fmla="*/ 15 h 115"/>
                <a:gd name="T102" fmla="*/ 4012 w 4511"/>
                <a:gd name="T103" fmla="*/ 15 h 115"/>
                <a:gd name="T104" fmla="*/ 4058 w 4511"/>
                <a:gd name="T105" fmla="*/ 15 h 115"/>
                <a:gd name="T106" fmla="*/ 4112 w 4511"/>
                <a:gd name="T107" fmla="*/ 15 h 115"/>
                <a:gd name="T108" fmla="*/ 4158 w 4511"/>
                <a:gd name="T109" fmla="*/ 15 h 115"/>
                <a:gd name="T110" fmla="*/ 4204 w 4511"/>
                <a:gd name="T111" fmla="*/ 15 h 115"/>
                <a:gd name="T112" fmla="*/ 4250 w 4511"/>
                <a:gd name="T113" fmla="*/ 8 h 115"/>
                <a:gd name="T114" fmla="*/ 4304 w 4511"/>
                <a:gd name="T115" fmla="*/ 8 h 115"/>
                <a:gd name="T116" fmla="*/ 4350 w 4511"/>
                <a:gd name="T117" fmla="*/ 8 h 115"/>
                <a:gd name="T118" fmla="*/ 4396 w 4511"/>
                <a:gd name="T119" fmla="*/ 8 h 115"/>
                <a:gd name="T120" fmla="*/ 4442 w 4511"/>
                <a:gd name="T121" fmla="*/ 0 h 115"/>
                <a:gd name="T122" fmla="*/ 4488 w 4511"/>
                <a:gd name="T123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1" h="115">
                  <a:moveTo>
                    <a:pt x="0" y="115"/>
                  </a:moveTo>
                  <a:lnTo>
                    <a:pt x="108" y="115"/>
                  </a:lnTo>
                  <a:lnTo>
                    <a:pt x="108" y="107"/>
                  </a:lnTo>
                  <a:lnTo>
                    <a:pt x="177" y="107"/>
                  </a:lnTo>
                  <a:lnTo>
                    <a:pt x="177" y="107"/>
                  </a:lnTo>
                  <a:lnTo>
                    <a:pt x="223" y="107"/>
                  </a:lnTo>
                  <a:lnTo>
                    <a:pt x="223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53" y="107"/>
                  </a:lnTo>
                  <a:lnTo>
                    <a:pt x="253" y="107"/>
                  </a:lnTo>
                  <a:lnTo>
                    <a:pt x="330" y="107"/>
                  </a:lnTo>
                  <a:lnTo>
                    <a:pt x="330" y="107"/>
                  </a:lnTo>
                  <a:lnTo>
                    <a:pt x="353" y="107"/>
                  </a:lnTo>
                  <a:lnTo>
                    <a:pt x="353" y="107"/>
                  </a:lnTo>
                  <a:lnTo>
                    <a:pt x="376" y="107"/>
                  </a:lnTo>
                  <a:lnTo>
                    <a:pt x="376" y="107"/>
                  </a:lnTo>
                  <a:lnTo>
                    <a:pt x="399" y="107"/>
                  </a:lnTo>
                  <a:lnTo>
                    <a:pt x="399" y="107"/>
                  </a:lnTo>
                  <a:lnTo>
                    <a:pt x="422" y="107"/>
                  </a:lnTo>
                  <a:lnTo>
                    <a:pt x="422" y="107"/>
                  </a:lnTo>
                  <a:lnTo>
                    <a:pt x="445" y="107"/>
                  </a:lnTo>
                  <a:lnTo>
                    <a:pt x="445" y="107"/>
                  </a:lnTo>
                  <a:lnTo>
                    <a:pt x="483" y="107"/>
                  </a:lnTo>
                  <a:lnTo>
                    <a:pt x="483" y="107"/>
                  </a:lnTo>
                  <a:lnTo>
                    <a:pt x="507" y="107"/>
                  </a:lnTo>
                  <a:lnTo>
                    <a:pt x="507" y="107"/>
                  </a:lnTo>
                  <a:lnTo>
                    <a:pt x="576" y="107"/>
                  </a:lnTo>
                  <a:lnTo>
                    <a:pt x="576" y="107"/>
                  </a:lnTo>
                  <a:lnTo>
                    <a:pt x="583" y="107"/>
                  </a:lnTo>
                  <a:lnTo>
                    <a:pt x="583" y="107"/>
                  </a:lnTo>
                  <a:lnTo>
                    <a:pt x="599" y="107"/>
                  </a:lnTo>
                  <a:lnTo>
                    <a:pt x="599" y="107"/>
                  </a:lnTo>
                  <a:lnTo>
                    <a:pt x="629" y="107"/>
                  </a:lnTo>
                  <a:lnTo>
                    <a:pt x="629" y="100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45" y="100"/>
                  </a:lnTo>
                  <a:lnTo>
                    <a:pt x="645" y="100"/>
                  </a:lnTo>
                  <a:lnTo>
                    <a:pt x="652" y="100"/>
                  </a:lnTo>
                  <a:lnTo>
                    <a:pt x="652" y="100"/>
                  </a:lnTo>
                  <a:lnTo>
                    <a:pt x="675" y="100"/>
                  </a:lnTo>
                  <a:lnTo>
                    <a:pt x="675" y="100"/>
                  </a:lnTo>
                  <a:lnTo>
                    <a:pt x="714" y="100"/>
                  </a:lnTo>
                  <a:lnTo>
                    <a:pt x="714" y="100"/>
                  </a:lnTo>
                  <a:lnTo>
                    <a:pt x="721" y="100"/>
                  </a:lnTo>
                  <a:lnTo>
                    <a:pt x="721" y="100"/>
                  </a:lnTo>
                  <a:lnTo>
                    <a:pt x="744" y="100"/>
                  </a:lnTo>
                  <a:lnTo>
                    <a:pt x="744" y="100"/>
                  </a:lnTo>
                  <a:lnTo>
                    <a:pt x="752" y="100"/>
                  </a:lnTo>
                  <a:lnTo>
                    <a:pt x="752" y="100"/>
                  </a:lnTo>
                  <a:lnTo>
                    <a:pt x="775" y="100"/>
                  </a:lnTo>
                  <a:lnTo>
                    <a:pt x="775" y="100"/>
                  </a:lnTo>
                  <a:lnTo>
                    <a:pt x="783" y="100"/>
                  </a:lnTo>
                  <a:lnTo>
                    <a:pt x="783" y="100"/>
                  </a:lnTo>
                  <a:lnTo>
                    <a:pt x="783" y="100"/>
                  </a:lnTo>
                  <a:lnTo>
                    <a:pt x="783" y="100"/>
                  </a:lnTo>
                  <a:lnTo>
                    <a:pt x="813" y="100"/>
                  </a:lnTo>
                  <a:lnTo>
                    <a:pt x="813" y="100"/>
                  </a:lnTo>
                  <a:lnTo>
                    <a:pt x="859" y="100"/>
                  </a:lnTo>
                  <a:lnTo>
                    <a:pt x="859" y="100"/>
                  </a:lnTo>
                  <a:lnTo>
                    <a:pt x="890" y="100"/>
                  </a:lnTo>
                  <a:lnTo>
                    <a:pt x="890" y="100"/>
                  </a:lnTo>
                  <a:lnTo>
                    <a:pt x="905" y="100"/>
                  </a:lnTo>
                  <a:lnTo>
                    <a:pt x="905" y="100"/>
                  </a:lnTo>
                  <a:lnTo>
                    <a:pt x="928" y="100"/>
                  </a:lnTo>
                  <a:lnTo>
                    <a:pt x="928" y="100"/>
                  </a:lnTo>
                  <a:lnTo>
                    <a:pt x="1005" y="100"/>
                  </a:lnTo>
                  <a:lnTo>
                    <a:pt x="1005" y="100"/>
                  </a:lnTo>
                  <a:lnTo>
                    <a:pt x="1020" y="100"/>
                  </a:lnTo>
                  <a:lnTo>
                    <a:pt x="1020" y="100"/>
                  </a:lnTo>
                  <a:lnTo>
                    <a:pt x="1028" y="100"/>
                  </a:lnTo>
                  <a:lnTo>
                    <a:pt x="1028" y="92"/>
                  </a:lnTo>
                  <a:lnTo>
                    <a:pt x="1028" y="92"/>
                  </a:lnTo>
                  <a:lnTo>
                    <a:pt x="1028" y="92"/>
                  </a:lnTo>
                  <a:lnTo>
                    <a:pt x="1043" y="92"/>
                  </a:lnTo>
                  <a:lnTo>
                    <a:pt x="1043" y="92"/>
                  </a:lnTo>
                  <a:lnTo>
                    <a:pt x="1074" y="92"/>
                  </a:lnTo>
                  <a:lnTo>
                    <a:pt x="1074" y="92"/>
                  </a:lnTo>
                  <a:lnTo>
                    <a:pt x="1082" y="92"/>
                  </a:lnTo>
                  <a:lnTo>
                    <a:pt x="1082" y="92"/>
                  </a:lnTo>
                  <a:lnTo>
                    <a:pt x="1105" y="92"/>
                  </a:lnTo>
                  <a:lnTo>
                    <a:pt x="1105" y="92"/>
                  </a:lnTo>
                  <a:lnTo>
                    <a:pt x="1159" y="92"/>
                  </a:lnTo>
                  <a:lnTo>
                    <a:pt x="1159" y="92"/>
                  </a:lnTo>
                  <a:lnTo>
                    <a:pt x="1166" y="92"/>
                  </a:lnTo>
                  <a:lnTo>
                    <a:pt x="1166" y="92"/>
                  </a:lnTo>
                  <a:lnTo>
                    <a:pt x="1197" y="92"/>
                  </a:lnTo>
                  <a:lnTo>
                    <a:pt x="1197" y="92"/>
                  </a:lnTo>
                  <a:lnTo>
                    <a:pt x="1235" y="92"/>
                  </a:lnTo>
                  <a:lnTo>
                    <a:pt x="1235" y="92"/>
                  </a:lnTo>
                  <a:lnTo>
                    <a:pt x="1289" y="92"/>
                  </a:lnTo>
                  <a:lnTo>
                    <a:pt x="1289" y="92"/>
                  </a:lnTo>
                  <a:lnTo>
                    <a:pt x="1304" y="92"/>
                  </a:lnTo>
                  <a:lnTo>
                    <a:pt x="1304" y="92"/>
                  </a:lnTo>
                  <a:lnTo>
                    <a:pt x="1335" y="92"/>
                  </a:lnTo>
                  <a:lnTo>
                    <a:pt x="1335" y="92"/>
                  </a:lnTo>
                  <a:lnTo>
                    <a:pt x="1358" y="92"/>
                  </a:lnTo>
                  <a:lnTo>
                    <a:pt x="1358" y="92"/>
                  </a:lnTo>
                  <a:lnTo>
                    <a:pt x="1358" y="92"/>
                  </a:lnTo>
                  <a:lnTo>
                    <a:pt x="1358" y="92"/>
                  </a:lnTo>
                  <a:lnTo>
                    <a:pt x="1404" y="92"/>
                  </a:lnTo>
                  <a:lnTo>
                    <a:pt x="1404" y="92"/>
                  </a:lnTo>
                  <a:lnTo>
                    <a:pt x="1412" y="92"/>
                  </a:lnTo>
                  <a:lnTo>
                    <a:pt x="1412" y="92"/>
                  </a:lnTo>
                  <a:lnTo>
                    <a:pt x="1419" y="92"/>
                  </a:lnTo>
                  <a:lnTo>
                    <a:pt x="1419" y="92"/>
                  </a:lnTo>
                  <a:lnTo>
                    <a:pt x="1442" y="92"/>
                  </a:lnTo>
                  <a:lnTo>
                    <a:pt x="1442" y="92"/>
                  </a:lnTo>
                  <a:lnTo>
                    <a:pt x="1458" y="92"/>
                  </a:lnTo>
                  <a:lnTo>
                    <a:pt x="1458" y="92"/>
                  </a:lnTo>
                  <a:lnTo>
                    <a:pt x="1458" y="92"/>
                  </a:lnTo>
                  <a:lnTo>
                    <a:pt x="1458" y="84"/>
                  </a:lnTo>
                  <a:lnTo>
                    <a:pt x="1511" y="84"/>
                  </a:lnTo>
                  <a:lnTo>
                    <a:pt x="1511" y="84"/>
                  </a:lnTo>
                  <a:lnTo>
                    <a:pt x="1519" y="84"/>
                  </a:lnTo>
                  <a:lnTo>
                    <a:pt x="1519" y="84"/>
                  </a:lnTo>
                  <a:lnTo>
                    <a:pt x="1542" y="84"/>
                  </a:lnTo>
                  <a:lnTo>
                    <a:pt x="1542" y="84"/>
                  </a:lnTo>
                  <a:lnTo>
                    <a:pt x="1550" y="84"/>
                  </a:lnTo>
                  <a:lnTo>
                    <a:pt x="1550" y="84"/>
                  </a:lnTo>
                  <a:lnTo>
                    <a:pt x="1603" y="84"/>
                  </a:lnTo>
                  <a:lnTo>
                    <a:pt x="1603" y="84"/>
                  </a:lnTo>
                  <a:lnTo>
                    <a:pt x="1611" y="84"/>
                  </a:lnTo>
                  <a:lnTo>
                    <a:pt x="1611" y="84"/>
                  </a:lnTo>
                  <a:lnTo>
                    <a:pt x="1611" y="84"/>
                  </a:lnTo>
                  <a:lnTo>
                    <a:pt x="1611" y="84"/>
                  </a:lnTo>
                  <a:lnTo>
                    <a:pt x="1649" y="84"/>
                  </a:lnTo>
                  <a:lnTo>
                    <a:pt x="1649" y="84"/>
                  </a:lnTo>
                  <a:lnTo>
                    <a:pt x="1657" y="84"/>
                  </a:lnTo>
                  <a:lnTo>
                    <a:pt x="1657" y="84"/>
                  </a:lnTo>
                  <a:lnTo>
                    <a:pt x="1688" y="84"/>
                  </a:lnTo>
                  <a:lnTo>
                    <a:pt x="1688" y="84"/>
                  </a:lnTo>
                  <a:lnTo>
                    <a:pt x="1695" y="84"/>
                  </a:lnTo>
                  <a:lnTo>
                    <a:pt x="1695" y="84"/>
                  </a:lnTo>
                  <a:lnTo>
                    <a:pt x="1711" y="84"/>
                  </a:lnTo>
                  <a:lnTo>
                    <a:pt x="1711" y="84"/>
                  </a:lnTo>
                  <a:lnTo>
                    <a:pt x="1726" y="84"/>
                  </a:lnTo>
                  <a:lnTo>
                    <a:pt x="1726" y="84"/>
                  </a:lnTo>
                  <a:lnTo>
                    <a:pt x="1765" y="84"/>
                  </a:lnTo>
                  <a:lnTo>
                    <a:pt x="1765" y="84"/>
                  </a:lnTo>
                  <a:lnTo>
                    <a:pt x="1788" y="84"/>
                  </a:lnTo>
                  <a:lnTo>
                    <a:pt x="1788" y="84"/>
                  </a:lnTo>
                  <a:lnTo>
                    <a:pt x="1795" y="84"/>
                  </a:lnTo>
                  <a:lnTo>
                    <a:pt x="1795" y="84"/>
                  </a:lnTo>
                  <a:lnTo>
                    <a:pt x="1811" y="84"/>
                  </a:lnTo>
                  <a:lnTo>
                    <a:pt x="1811" y="84"/>
                  </a:lnTo>
                  <a:lnTo>
                    <a:pt x="1811" y="84"/>
                  </a:lnTo>
                  <a:lnTo>
                    <a:pt x="1811" y="84"/>
                  </a:lnTo>
                  <a:lnTo>
                    <a:pt x="1818" y="84"/>
                  </a:lnTo>
                  <a:lnTo>
                    <a:pt x="1818" y="84"/>
                  </a:lnTo>
                  <a:lnTo>
                    <a:pt x="1826" y="84"/>
                  </a:lnTo>
                  <a:lnTo>
                    <a:pt x="1826" y="84"/>
                  </a:lnTo>
                  <a:lnTo>
                    <a:pt x="1834" y="84"/>
                  </a:lnTo>
                  <a:lnTo>
                    <a:pt x="1834" y="84"/>
                  </a:lnTo>
                  <a:lnTo>
                    <a:pt x="1864" y="84"/>
                  </a:lnTo>
                  <a:lnTo>
                    <a:pt x="1864" y="84"/>
                  </a:lnTo>
                  <a:lnTo>
                    <a:pt x="1903" y="84"/>
                  </a:lnTo>
                  <a:lnTo>
                    <a:pt x="1903" y="84"/>
                  </a:lnTo>
                  <a:lnTo>
                    <a:pt x="1910" y="84"/>
                  </a:lnTo>
                  <a:lnTo>
                    <a:pt x="1910" y="77"/>
                  </a:lnTo>
                  <a:lnTo>
                    <a:pt x="1933" y="77"/>
                  </a:lnTo>
                  <a:lnTo>
                    <a:pt x="1933" y="77"/>
                  </a:lnTo>
                  <a:lnTo>
                    <a:pt x="1941" y="77"/>
                  </a:lnTo>
                  <a:lnTo>
                    <a:pt x="1941" y="77"/>
                  </a:lnTo>
                  <a:lnTo>
                    <a:pt x="1949" y="77"/>
                  </a:lnTo>
                  <a:lnTo>
                    <a:pt x="1949" y="77"/>
                  </a:lnTo>
                  <a:lnTo>
                    <a:pt x="1964" y="77"/>
                  </a:lnTo>
                  <a:lnTo>
                    <a:pt x="1964" y="77"/>
                  </a:lnTo>
                  <a:lnTo>
                    <a:pt x="1979" y="77"/>
                  </a:lnTo>
                  <a:lnTo>
                    <a:pt x="1979" y="77"/>
                  </a:lnTo>
                  <a:lnTo>
                    <a:pt x="1987" y="77"/>
                  </a:lnTo>
                  <a:lnTo>
                    <a:pt x="1987" y="77"/>
                  </a:lnTo>
                  <a:lnTo>
                    <a:pt x="1995" y="77"/>
                  </a:lnTo>
                  <a:lnTo>
                    <a:pt x="1995" y="77"/>
                  </a:lnTo>
                  <a:lnTo>
                    <a:pt x="2010" y="77"/>
                  </a:lnTo>
                  <a:lnTo>
                    <a:pt x="2010" y="77"/>
                  </a:lnTo>
                  <a:lnTo>
                    <a:pt x="2018" y="77"/>
                  </a:lnTo>
                  <a:lnTo>
                    <a:pt x="2018" y="77"/>
                  </a:lnTo>
                  <a:lnTo>
                    <a:pt x="2025" y="77"/>
                  </a:lnTo>
                  <a:lnTo>
                    <a:pt x="2025" y="77"/>
                  </a:lnTo>
                  <a:lnTo>
                    <a:pt x="2033" y="77"/>
                  </a:lnTo>
                  <a:lnTo>
                    <a:pt x="2033" y="77"/>
                  </a:lnTo>
                  <a:lnTo>
                    <a:pt x="2041" y="77"/>
                  </a:lnTo>
                  <a:lnTo>
                    <a:pt x="2041" y="77"/>
                  </a:lnTo>
                  <a:lnTo>
                    <a:pt x="2041" y="77"/>
                  </a:lnTo>
                  <a:lnTo>
                    <a:pt x="2041" y="77"/>
                  </a:lnTo>
                  <a:lnTo>
                    <a:pt x="2064" y="77"/>
                  </a:lnTo>
                  <a:lnTo>
                    <a:pt x="2064" y="77"/>
                  </a:lnTo>
                  <a:lnTo>
                    <a:pt x="2087" y="77"/>
                  </a:lnTo>
                  <a:lnTo>
                    <a:pt x="2087" y="77"/>
                  </a:lnTo>
                  <a:lnTo>
                    <a:pt x="2094" y="77"/>
                  </a:lnTo>
                  <a:lnTo>
                    <a:pt x="2094" y="69"/>
                  </a:lnTo>
                  <a:lnTo>
                    <a:pt x="2102" y="69"/>
                  </a:lnTo>
                  <a:lnTo>
                    <a:pt x="2102" y="69"/>
                  </a:lnTo>
                  <a:lnTo>
                    <a:pt x="2117" y="69"/>
                  </a:lnTo>
                  <a:lnTo>
                    <a:pt x="2117" y="69"/>
                  </a:lnTo>
                  <a:lnTo>
                    <a:pt x="2117" y="69"/>
                  </a:lnTo>
                  <a:lnTo>
                    <a:pt x="2117" y="69"/>
                  </a:lnTo>
                  <a:lnTo>
                    <a:pt x="2125" y="69"/>
                  </a:lnTo>
                  <a:lnTo>
                    <a:pt x="2125" y="69"/>
                  </a:lnTo>
                  <a:lnTo>
                    <a:pt x="2140" y="69"/>
                  </a:lnTo>
                  <a:lnTo>
                    <a:pt x="2140" y="69"/>
                  </a:lnTo>
                  <a:lnTo>
                    <a:pt x="2140" y="69"/>
                  </a:lnTo>
                  <a:lnTo>
                    <a:pt x="2140" y="69"/>
                  </a:lnTo>
                  <a:lnTo>
                    <a:pt x="2148" y="69"/>
                  </a:lnTo>
                  <a:lnTo>
                    <a:pt x="2148" y="69"/>
                  </a:lnTo>
                  <a:lnTo>
                    <a:pt x="2156" y="69"/>
                  </a:lnTo>
                  <a:lnTo>
                    <a:pt x="2156" y="69"/>
                  </a:lnTo>
                  <a:lnTo>
                    <a:pt x="2163" y="69"/>
                  </a:lnTo>
                  <a:lnTo>
                    <a:pt x="2163" y="69"/>
                  </a:lnTo>
                  <a:lnTo>
                    <a:pt x="2163" y="69"/>
                  </a:lnTo>
                  <a:lnTo>
                    <a:pt x="2163" y="69"/>
                  </a:lnTo>
                  <a:lnTo>
                    <a:pt x="2171" y="69"/>
                  </a:lnTo>
                  <a:lnTo>
                    <a:pt x="2171" y="69"/>
                  </a:lnTo>
                  <a:lnTo>
                    <a:pt x="2179" y="69"/>
                  </a:lnTo>
                  <a:lnTo>
                    <a:pt x="2179" y="69"/>
                  </a:lnTo>
                  <a:lnTo>
                    <a:pt x="2186" y="69"/>
                  </a:lnTo>
                  <a:lnTo>
                    <a:pt x="2186" y="69"/>
                  </a:lnTo>
                  <a:lnTo>
                    <a:pt x="2186" y="69"/>
                  </a:lnTo>
                  <a:lnTo>
                    <a:pt x="2186" y="69"/>
                  </a:lnTo>
                  <a:lnTo>
                    <a:pt x="2194" y="69"/>
                  </a:lnTo>
                  <a:lnTo>
                    <a:pt x="2194" y="69"/>
                  </a:lnTo>
                  <a:lnTo>
                    <a:pt x="2202" y="69"/>
                  </a:lnTo>
                  <a:lnTo>
                    <a:pt x="2202" y="69"/>
                  </a:lnTo>
                  <a:lnTo>
                    <a:pt x="2209" y="69"/>
                  </a:lnTo>
                  <a:lnTo>
                    <a:pt x="2209" y="69"/>
                  </a:lnTo>
                  <a:lnTo>
                    <a:pt x="2217" y="69"/>
                  </a:lnTo>
                  <a:lnTo>
                    <a:pt x="2217" y="69"/>
                  </a:lnTo>
                  <a:lnTo>
                    <a:pt x="2217" y="69"/>
                  </a:lnTo>
                  <a:lnTo>
                    <a:pt x="2217" y="69"/>
                  </a:lnTo>
                  <a:lnTo>
                    <a:pt x="2225" y="69"/>
                  </a:lnTo>
                  <a:lnTo>
                    <a:pt x="2225" y="69"/>
                  </a:lnTo>
                  <a:lnTo>
                    <a:pt x="2232" y="69"/>
                  </a:lnTo>
                  <a:lnTo>
                    <a:pt x="2232" y="69"/>
                  </a:lnTo>
                  <a:lnTo>
                    <a:pt x="2240" y="69"/>
                  </a:lnTo>
                  <a:lnTo>
                    <a:pt x="2240" y="69"/>
                  </a:lnTo>
                  <a:lnTo>
                    <a:pt x="2240" y="69"/>
                  </a:lnTo>
                  <a:lnTo>
                    <a:pt x="2240" y="69"/>
                  </a:lnTo>
                  <a:lnTo>
                    <a:pt x="2248" y="69"/>
                  </a:lnTo>
                  <a:lnTo>
                    <a:pt x="2248" y="69"/>
                  </a:lnTo>
                  <a:lnTo>
                    <a:pt x="2263" y="69"/>
                  </a:lnTo>
                  <a:lnTo>
                    <a:pt x="2263" y="69"/>
                  </a:lnTo>
                  <a:lnTo>
                    <a:pt x="2263" y="69"/>
                  </a:lnTo>
                  <a:lnTo>
                    <a:pt x="2263" y="69"/>
                  </a:lnTo>
                  <a:lnTo>
                    <a:pt x="2271" y="69"/>
                  </a:lnTo>
                  <a:lnTo>
                    <a:pt x="2271" y="69"/>
                  </a:lnTo>
                  <a:lnTo>
                    <a:pt x="2278" y="69"/>
                  </a:lnTo>
                  <a:lnTo>
                    <a:pt x="2278" y="69"/>
                  </a:lnTo>
                  <a:lnTo>
                    <a:pt x="2286" y="69"/>
                  </a:lnTo>
                  <a:lnTo>
                    <a:pt x="2286" y="69"/>
                  </a:lnTo>
                  <a:lnTo>
                    <a:pt x="2294" y="69"/>
                  </a:lnTo>
                  <a:lnTo>
                    <a:pt x="2294" y="69"/>
                  </a:lnTo>
                  <a:lnTo>
                    <a:pt x="2294" y="69"/>
                  </a:lnTo>
                  <a:lnTo>
                    <a:pt x="2294" y="69"/>
                  </a:lnTo>
                  <a:lnTo>
                    <a:pt x="2301" y="69"/>
                  </a:lnTo>
                  <a:lnTo>
                    <a:pt x="2301" y="69"/>
                  </a:lnTo>
                  <a:lnTo>
                    <a:pt x="2309" y="69"/>
                  </a:lnTo>
                  <a:lnTo>
                    <a:pt x="2309" y="69"/>
                  </a:lnTo>
                  <a:lnTo>
                    <a:pt x="2317" y="69"/>
                  </a:lnTo>
                  <a:lnTo>
                    <a:pt x="2317" y="69"/>
                  </a:lnTo>
                  <a:lnTo>
                    <a:pt x="2317" y="69"/>
                  </a:lnTo>
                  <a:lnTo>
                    <a:pt x="2317" y="69"/>
                  </a:lnTo>
                  <a:lnTo>
                    <a:pt x="2332" y="69"/>
                  </a:lnTo>
                  <a:lnTo>
                    <a:pt x="2332" y="69"/>
                  </a:lnTo>
                  <a:lnTo>
                    <a:pt x="2340" y="69"/>
                  </a:lnTo>
                  <a:lnTo>
                    <a:pt x="2340" y="69"/>
                  </a:lnTo>
                  <a:lnTo>
                    <a:pt x="2340" y="69"/>
                  </a:lnTo>
                  <a:lnTo>
                    <a:pt x="2340" y="69"/>
                  </a:lnTo>
                  <a:lnTo>
                    <a:pt x="2347" y="69"/>
                  </a:lnTo>
                  <a:lnTo>
                    <a:pt x="2347" y="69"/>
                  </a:lnTo>
                  <a:lnTo>
                    <a:pt x="2355" y="69"/>
                  </a:lnTo>
                  <a:lnTo>
                    <a:pt x="2355" y="69"/>
                  </a:lnTo>
                  <a:lnTo>
                    <a:pt x="2363" y="69"/>
                  </a:lnTo>
                  <a:lnTo>
                    <a:pt x="2363" y="69"/>
                  </a:lnTo>
                  <a:lnTo>
                    <a:pt x="2378" y="69"/>
                  </a:lnTo>
                  <a:lnTo>
                    <a:pt x="2378" y="69"/>
                  </a:lnTo>
                  <a:lnTo>
                    <a:pt x="2386" y="69"/>
                  </a:lnTo>
                  <a:lnTo>
                    <a:pt x="2386" y="61"/>
                  </a:lnTo>
                  <a:lnTo>
                    <a:pt x="2394" y="61"/>
                  </a:lnTo>
                  <a:lnTo>
                    <a:pt x="2394" y="61"/>
                  </a:lnTo>
                  <a:lnTo>
                    <a:pt x="2394" y="61"/>
                  </a:lnTo>
                  <a:lnTo>
                    <a:pt x="2394" y="61"/>
                  </a:lnTo>
                  <a:lnTo>
                    <a:pt x="2401" y="61"/>
                  </a:lnTo>
                  <a:lnTo>
                    <a:pt x="2401" y="61"/>
                  </a:lnTo>
                  <a:lnTo>
                    <a:pt x="2409" y="61"/>
                  </a:lnTo>
                  <a:lnTo>
                    <a:pt x="2409" y="61"/>
                  </a:lnTo>
                  <a:lnTo>
                    <a:pt x="2417" y="61"/>
                  </a:lnTo>
                  <a:lnTo>
                    <a:pt x="2417" y="61"/>
                  </a:lnTo>
                  <a:lnTo>
                    <a:pt x="2417" y="61"/>
                  </a:lnTo>
                  <a:lnTo>
                    <a:pt x="2417" y="61"/>
                  </a:lnTo>
                  <a:lnTo>
                    <a:pt x="2424" y="61"/>
                  </a:lnTo>
                  <a:lnTo>
                    <a:pt x="2424" y="61"/>
                  </a:lnTo>
                  <a:lnTo>
                    <a:pt x="2432" y="61"/>
                  </a:lnTo>
                  <a:lnTo>
                    <a:pt x="2432" y="61"/>
                  </a:lnTo>
                  <a:lnTo>
                    <a:pt x="2440" y="61"/>
                  </a:lnTo>
                  <a:lnTo>
                    <a:pt x="2440" y="61"/>
                  </a:lnTo>
                  <a:lnTo>
                    <a:pt x="2440" y="61"/>
                  </a:lnTo>
                  <a:lnTo>
                    <a:pt x="2440" y="61"/>
                  </a:lnTo>
                  <a:lnTo>
                    <a:pt x="2447" y="61"/>
                  </a:lnTo>
                  <a:lnTo>
                    <a:pt x="2447" y="61"/>
                  </a:lnTo>
                  <a:lnTo>
                    <a:pt x="2455" y="61"/>
                  </a:lnTo>
                  <a:lnTo>
                    <a:pt x="2455" y="61"/>
                  </a:lnTo>
                  <a:lnTo>
                    <a:pt x="2463" y="61"/>
                  </a:lnTo>
                  <a:lnTo>
                    <a:pt x="2463" y="61"/>
                  </a:lnTo>
                  <a:lnTo>
                    <a:pt x="2470" y="61"/>
                  </a:lnTo>
                  <a:lnTo>
                    <a:pt x="2470" y="61"/>
                  </a:lnTo>
                  <a:lnTo>
                    <a:pt x="2470" y="61"/>
                  </a:lnTo>
                  <a:lnTo>
                    <a:pt x="2470" y="61"/>
                  </a:lnTo>
                  <a:lnTo>
                    <a:pt x="2478" y="61"/>
                  </a:lnTo>
                  <a:lnTo>
                    <a:pt x="2478" y="61"/>
                  </a:lnTo>
                  <a:lnTo>
                    <a:pt x="2486" y="61"/>
                  </a:lnTo>
                  <a:lnTo>
                    <a:pt x="2486" y="61"/>
                  </a:lnTo>
                  <a:lnTo>
                    <a:pt x="2493" y="61"/>
                  </a:lnTo>
                  <a:lnTo>
                    <a:pt x="2493" y="61"/>
                  </a:lnTo>
                  <a:lnTo>
                    <a:pt x="2493" y="61"/>
                  </a:lnTo>
                  <a:lnTo>
                    <a:pt x="2493" y="61"/>
                  </a:lnTo>
                  <a:lnTo>
                    <a:pt x="2501" y="61"/>
                  </a:lnTo>
                  <a:lnTo>
                    <a:pt x="2501" y="61"/>
                  </a:lnTo>
                  <a:lnTo>
                    <a:pt x="2509" y="61"/>
                  </a:lnTo>
                  <a:lnTo>
                    <a:pt x="2509" y="61"/>
                  </a:lnTo>
                  <a:lnTo>
                    <a:pt x="2516" y="61"/>
                  </a:lnTo>
                  <a:lnTo>
                    <a:pt x="2516" y="61"/>
                  </a:lnTo>
                  <a:lnTo>
                    <a:pt x="2516" y="61"/>
                  </a:lnTo>
                  <a:lnTo>
                    <a:pt x="2516" y="61"/>
                  </a:lnTo>
                  <a:lnTo>
                    <a:pt x="2524" y="61"/>
                  </a:lnTo>
                  <a:lnTo>
                    <a:pt x="2524" y="61"/>
                  </a:lnTo>
                  <a:lnTo>
                    <a:pt x="2532" y="61"/>
                  </a:lnTo>
                  <a:lnTo>
                    <a:pt x="2532" y="61"/>
                  </a:lnTo>
                  <a:lnTo>
                    <a:pt x="2539" y="61"/>
                  </a:lnTo>
                  <a:lnTo>
                    <a:pt x="2539" y="61"/>
                  </a:lnTo>
                  <a:lnTo>
                    <a:pt x="2539" y="61"/>
                  </a:lnTo>
                  <a:lnTo>
                    <a:pt x="2539" y="61"/>
                  </a:lnTo>
                  <a:lnTo>
                    <a:pt x="2547" y="61"/>
                  </a:lnTo>
                  <a:lnTo>
                    <a:pt x="2547" y="61"/>
                  </a:lnTo>
                  <a:lnTo>
                    <a:pt x="2555" y="61"/>
                  </a:lnTo>
                  <a:lnTo>
                    <a:pt x="2555" y="61"/>
                  </a:lnTo>
                  <a:lnTo>
                    <a:pt x="2562" y="61"/>
                  </a:lnTo>
                  <a:lnTo>
                    <a:pt x="2562" y="61"/>
                  </a:lnTo>
                  <a:lnTo>
                    <a:pt x="2570" y="61"/>
                  </a:lnTo>
                  <a:lnTo>
                    <a:pt x="2570" y="61"/>
                  </a:lnTo>
                  <a:lnTo>
                    <a:pt x="2570" y="61"/>
                  </a:lnTo>
                  <a:lnTo>
                    <a:pt x="2570" y="61"/>
                  </a:lnTo>
                  <a:lnTo>
                    <a:pt x="2578" y="61"/>
                  </a:lnTo>
                  <a:lnTo>
                    <a:pt x="2578" y="61"/>
                  </a:lnTo>
                  <a:lnTo>
                    <a:pt x="2585" y="61"/>
                  </a:lnTo>
                  <a:lnTo>
                    <a:pt x="2585" y="61"/>
                  </a:lnTo>
                  <a:lnTo>
                    <a:pt x="2593" y="61"/>
                  </a:lnTo>
                  <a:lnTo>
                    <a:pt x="2593" y="61"/>
                  </a:lnTo>
                  <a:lnTo>
                    <a:pt x="2593" y="61"/>
                  </a:lnTo>
                  <a:lnTo>
                    <a:pt x="2593" y="61"/>
                  </a:lnTo>
                  <a:lnTo>
                    <a:pt x="2601" y="61"/>
                  </a:lnTo>
                  <a:lnTo>
                    <a:pt x="2601" y="61"/>
                  </a:lnTo>
                  <a:lnTo>
                    <a:pt x="2608" y="61"/>
                  </a:lnTo>
                  <a:lnTo>
                    <a:pt x="2608" y="61"/>
                  </a:lnTo>
                  <a:lnTo>
                    <a:pt x="2616" y="61"/>
                  </a:lnTo>
                  <a:lnTo>
                    <a:pt x="2616" y="61"/>
                  </a:lnTo>
                  <a:lnTo>
                    <a:pt x="2616" y="61"/>
                  </a:lnTo>
                  <a:lnTo>
                    <a:pt x="2616" y="61"/>
                  </a:lnTo>
                  <a:lnTo>
                    <a:pt x="2624" y="61"/>
                  </a:lnTo>
                  <a:lnTo>
                    <a:pt x="2624" y="61"/>
                  </a:lnTo>
                  <a:lnTo>
                    <a:pt x="2631" y="61"/>
                  </a:lnTo>
                  <a:lnTo>
                    <a:pt x="2631" y="61"/>
                  </a:lnTo>
                  <a:lnTo>
                    <a:pt x="2639" y="61"/>
                  </a:lnTo>
                  <a:lnTo>
                    <a:pt x="2639" y="61"/>
                  </a:lnTo>
                  <a:lnTo>
                    <a:pt x="2639" y="61"/>
                  </a:lnTo>
                  <a:lnTo>
                    <a:pt x="2639" y="61"/>
                  </a:lnTo>
                  <a:lnTo>
                    <a:pt x="2647" y="61"/>
                  </a:lnTo>
                  <a:lnTo>
                    <a:pt x="2647" y="61"/>
                  </a:lnTo>
                  <a:lnTo>
                    <a:pt x="2654" y="61"/>
                  </a:lnTo>
                  <a:lnTo>
                    <a:pt x="2654" y="61"/>
                  </a:lnTo>
                  <a:lnTo>
                    <a:pt x="2662" y="61"/>
                  </a:lnTo>
                  <a:lnTo>
                    <a:pt x="2662" y="61"/>
                  </a:lnTo>
                  <a:lnTo>
                    <a:pt x="2670" y="61"/>
                  </a:lnTo>
                  <a:lnTo>
                    <a:pt x="2670" y="61"/>
                  </a:lnTo>
                  <a:lnTo>
                    <a:pt x="2670" y="61"/>
                  </a:lnTo>
                  <a:lnTo>
                    <a:pt x="2670" y="61"/>
                  </a:lnTo>
                  <a:lnTo>
                    <a:pt x="2677" y="61"/>
                  </a:lnTo>
                  <a:lnTo>
                    <a:pt x="2677" y="61"/>
                  </a:lnTo>
                  <a:lnTo>
                    <a:pt x="2685" y="61"/>
                  </a:lnTo>
                  <a:lnTo>
                    <a:pt x="2685" y="61"/>
                  </a:lnTo>
                  <a:lnTo>
                    <a:pt x="2693" y="61"/>
                  </a:lnTo>
                  <a:lnTo>
                    <a:pt x="2693" y="61"/>
                  </a:lnTo>
                  <a:lnTo>
                    <a:pt x="2693" y="61"/>
                  </a:lnTo>
                  <a:lnTo>
                    <a:pt x="2693" y="61"/>
                  </a:lnTo>
                  <a:lnTo>
                    <a:pt x="2700" y="61"/>
                  </a:lnTo>
                  <a:lnTo>
                    <a:pt x="2700" y="61"/>
                  </a:lnTo>
                  <a:lnTo>
                    <a:pt x="2708" y="61"/>
                  </a:lnTo>
                  <a:lnTo>
                    <a:pt x="2708" y="61"/>
                  </a:lnTo>
                  <a:lnTo>
                    <a:pt x="2716" y="61"/>
                  </a:lnTo>
                  <a:lnTo>
                    <a:pt x="2716" y="61"/>
                  </a:lnTo>
                  <a:lnTo>
                    <a:pt x="2716" y="61"/>
                  </a:lnTo>
                  <a:lnTo>
                    <a:pt x="2716" y="61"/>
                  </a:lnTo>
                  <a:lnTo>
                    <a:pt x="2723" y="61"/>
                  </a:lnTo>
                  <a:lnTo>
                    <a:pt x="2723" y="61"/>
                  </a:lnTo>
                  <a:lnTo>
                    <a:pt x="2731" y="61"/>
                  </a:lnTo>
                  <a:lnTo>
                    <a:pt x="2731" y="61"/>
                  </a:lnTo>
                  <a:lnTo>
                    <a:pt x="2739" y="61"/>
                  </a:lnTo>
                  <a:lnTo>
                    <a:pt x="2739" y="61"/>
                  </a:lnTo>
                  <a:lnTo>
                    <a:pt x="2746" y="61"/>
                  </a:lnTo>
                  <a:lnTo>
                    <a:pt x="2746" y="61"/>
                  </a:lnTo>
                  <a:lnTo>
                    <a:pt x="2746" y="61"/>
                  </a:lnTo>
                  <a:lnTo>
                    <a:pt x="2746" y="61"/>
                  </a:lnTo>
                  <a:lnTo>
                    <a:pt x="2754" y="61"/>
                  </a:lnTo>
                  <a:lnTo>
                    <a:pt x="2754" y="61"/>
                  </a:lnTo>
                  <a:lnTo>
                    <a:pt x="2762" y="61"/>
                  </a:lnTo>
                  <a:lnTo>
                    <a:pt x="2762" y="61"/>
                  </a:lnTo>
                  <a:lnTo>
                    <a:pt x="2769" y="61"/>
                  </a:lnTo>
                  <a:lnTo>
                    <a:pt x="2769" y="61"/>
                  </a:lnTo>
                  <a:lnTo>
                    <a:pt x="2769" y="61"/>
                  </a:lnTo>
                  <a:lnTo>
                    <a:pt x="2769" y="61"/>
                  </a:lnTo>
                  <a:lnTo>
                    <a:pt x="2777" y="61"/>
                  </a:lnTo>
                  <a:lnTo>
                    <a:pt x="2777" y="61"/>
                  </a:lnTo>
                  <a:lnTo>
                    <a:pt x="2785" y="61"/>
                  </a:lnTo>
                  <a:lnTo>
                    <a:pt x="2785" y="61"/>
                  </a:lnTo>
                  <a:lnTo>
                    <a:pt x="2792" y="61"/>
                  </a:lnTo>
                  <a:lnTo>
                    <a:pt x="2792" y="61"/>
                  </a:lnTo>
                  <a:lnTo>
                    <a:pt x="2792" y="61"/>
                  </a:lnTo>
                  <a:lnTo>
                    <a:pt x="2792" y="61"/>
                  </a:lnTo>
                  <a:lnTo>
                    <a:pt x="2800" y="61"/>
                  </a:lnTo>
                  <a:lnTo>
                    <a:pt x="2800" y="54"/>
                  </a:lnTo>
                  <a:lnTo>
                    <a:pt x="2808" y="54"/>
                  </a:lnTo>
                  <a:lnTo>
                    <a:pt x="2808" y="54"/>
                  </a:lnTo>
                  <a:lnTo>
                    <a:pt x="2815" y="54"/>
                  </a:lnTo>
                  <a:lnTo>
                    <a:pt x="2815" y="54"/>
                  </a:lnTo>
                  <a:lnTo>
                    <a:pt x="2815" y="54"/>
                  </a:lnTo>
                  <a:lnTo>
                    <a:pt x="2815" y="54"/>
                  </a:lnTo>
                  <a:lnTo>
                    <a:pt x="2823" y="54"/>
                  </a:lnTo>
                  <a:lnTo>
                    <a:pt x="2823" y="54"/>
                  </a:lnTo>
                  <a:lnTo>
                    <a:pt x="2831" y="54"/>
                  </a:lnTo>
                  <a:lnTo>
                    <a:pt x="2831" y="54"/>
                  </a:lnTo>
                  <a:lnTo>
                    <a:pt x="2838" y="54"/>
                  </a:lnTo>
                  <a:lnTo>
                    <a:pt x="2838" y="54"/>
                  </a:lnTo>
                  <a:lnTo>
                    <a:pt x="2846" y="54"/>
                  </a:lnTo>
                  <a:lnTo>
                    <a:pt x="2846" y="54"/>
                  </a:lnTo>
                  <a:lnTo>
                    <a:pt x="2846" y="54"/>
                  </a:lnTo>
                  <a:lnTo>
                    <a:pt x="2846" y="54"/>
                  </a:lnTo>
                  <a:lnTo>
                    <a:pt x="2854" y="54"/>
                  </a:lnTo>
                  <a:lnTo>
                    <a:pt x="2854" y="54"/>
                  </a:lnTo>
                  <a:lnTo>
                    <a:pt x="2861" y="54"/>
                  </a:lnTo>
                  <a:lnTo>
                    <a:pt x="2861" y="54"/>
                  </a:lnTo>
                  <a:lnTo>
                    <a:pt x="2869" y="54"/>
                  </a:lnTo>
                  <a:lnTo>
                    <a:pt x="2869" y="54"/>
                  </a:lnTo>
                  <a:lnTo>
                    <a:pt x="2869" y="54"/>
                  </a:lnTo>
                  <a:lnTo>
                    <a:pt x="2869" y="54"/>
                  </a:lnTo>
                  <a:lnTo>
                    <a:pt x="2877" y="54"/>
                  </a:lnTo>
                  <a:lnTo>
                    <a:pt x="2877" y="54"/>
                  </a:lnTo>
                  <a:lnTo>
                    <a:pt x="2884" y="54"/>
                  </a:lnTo>
                  <a:lnTo>
                    <a:pt x="2884" y="54"/>
                  </a:lnTo>
                  <a:lnTo>
                    <a:pt x="2892" y="54"/>
                  </a:lnTo>
                  <a:lnTo>
                    <a:pt x="2892" y="54"/>
                  </a:lnTo>
                  <a:lnTo>
                    <a:pt x="2892" y="54"/>
                  </a:lnTo>
                  <a:lnTo>
                    <a:pt x="2892" y="54"/>
                  </a:lnTo>
                  <a:lnTo>
                    <a:pt x="2900" y="54"/>
                  </a:lnTo>
                  <a:lnTo>
                    <a:pt x="2900" y="54"/>
                  </a:lnTo>
                  <a:lnTo>
                    <a:pt x="2907" y="54"/>
                  </a:lnTo>
                  <a:lnTo>
                    <a:pt x="2907" y="54"/>
                  </a:lnTo>
                  <a:lnTo>
                    <a:pt x="2915" y="54"/>
                  </a:lnTo>
                  <a:lnTo>
                    <a:pt x="2915" y="54"/>
                  </a:lnTo>
                  <a:lnTo>
                    <a:pt x="2923" y="54"/>
                  </a:lnTo>
                  <a:lnTo>
                    <a:pt x="2923" y="54"/>
                  </a:lnTo>
                  <a:lnTo>
                    <a:pt x="2923" y="54"/>
                  </a:lnTo>
                  <a:lnTo>
                    <a:pt x="2923" y="54"/>
                  </a:lnTo>
                  <a:lnTo>
                    <a:pt x="2930" y="54"/>
                  </a:lnTo>
                  <a:lnTo>
                    <a:pt x="2930" y="54"/>
                  </a:lnTo>
                  <a:lnTo>
                    <a:pt x="2938" y="54"/>
                  </a:lnTo>
                  <a:lnTo>
                    <a:pt x="2938" y="54"/>
                  </a:lnTo>
                  <a:lnTo>
                    <a:pt x="2946" y="54"/>
                  </a:lnTo>
                  <a:lnTo>
                    <a:pt x="2946" y="54"/>
                  </a:lnTo>
                  <a:lnTo>
                    <a:pt x="2946" y="54"/>
                  </a:lnTo>
                  <a:lnTo>
                    <a:pt x="2946" y="54"/>
                  </a:lnTo>
                  <a:lnTo>
                    <a:pt x="2953" y="54"/>
                  </a:lnTo>
                  <a:lnTo>
                    <a:pt x="2953" y="54"/>
                  </a:lnTo>
                  <a:lnTo>
                    <a:pt x="2961" y="54"/>
                  </a:lnTo>
                  <a:lnTo>
                    <a:pt x="2961" y="54"/>
                  </a:lnTo>
                  <a:lnTo>
                    <a:pt x="2969" y="54"/>
                  </a:lnTo>
                  <a:lnTo>
                    <a:pt x="2969" y="54"/>
                  </a:lnTo>
                  <a:lnTo>
                    <a:pt x="2969" y="54"/>
                  </a:lnTo>
                  <a:lnTo>
                    <a:pt x="2969" y="54"/>
                  </a:lnTo>
                  <a:lnTo>
                    <a:pt x="2976" y="54"/>
                  </a:lnTo>
                  <a:lnTo>
                    <a:pt x="2976" y="54"/>
                  </a:lnTo>
                  <a:lnTo>
                    <a:pt x="2984" y="54"/>
                  </a:lnTo>
                  <a:lnTo>
                    <a:pt x="2984" y="54"/>
                  </a:lnTo>
                  <a:lnTo>
                    <a:pt x="2992" y="54"/>
                  </a:lnTo>
                  <a:lnTo>
                    <a:pt x="2992" y="54"/>
                  </a:lnTo>
                  <a:lnTo>
                    <a:pt x="2992" y="54"/>
                  </a:lnTo>
                  <a:lnTo>
                    <a:pt x="2992" y="46"/>
                  </a:lnTo>
                  <a:lnTo>
                    <a:pt x="3000" y="46"/>
                  </a:lnTo>
                  <a:lnTo>
                    <a:pt x="3000" y="46"/>
                  </a:lnTo>
                  <a:lnTo>
                    <a:pt x="3007" y="46"/>
                  </a:lnTo>
                  <a:lnTo>
                    <a:pt x="3007" y="46"/>
                  </a:lnTo>
                  <a:lnTo>
                    <a:pt x="3015" y="46"/>
                  </a:lnTo>
                  <a:lnTo>
                    <a:pt x="3015" y="46"/>
                  </a:lnTo>
                  <a:lnTo>
                    <a:pt x="3023" y="46"/>
                  </a:lnTo>
                  <a:lnTo>
                    <a:pt x="3023" y="46"/>
                  </a:lnTo>
                  <a:lnTo>
                    <a:pt x="3023" y="46"/>
                  </a:lnTo>
                  <a:lnTo>
                    <a:pt x="3023" y="46"/>
                  </a:lnTo>
                  <a:lnTo>
                    <a:pt x="3030" y="46"/>
                  </a:lnTo>
                  <a:lnTo>
                    <a:pt x="3030" y="46"/>
                  </a:lnTo>
                  <a:lnTo>
                    <a:pt x="3038" y="46"/>
                  </a:lnTo>
                  <a:lnTo>
                    <a:pt x="3038" y="46"/>
                  </a:lnTo>
                  <a:lnTo>
                    <a:pt x="3046" y="46"/>
                  </a:lnTo>
                  <a:lnTo>
                    <a:pt x="3046" y="46"/>
                  </a:lnTo>
                  <a:lnTo>
                    <a:pt x="3046" y="46"/>
                  </a:lnTo>
                  <a:lnTo>
                    <a:pt x="3046" y="46"/>
                  </a:lnTo>
                  <a:lnTo>
                    <a:pt x="3053" y="46"/>
                  </a:lnTo>
                  <a:lnTo>
                    <a:pt x="3053" y="46"/>
                  </a:lnTo>
                  <a:lnTo>
                    <a:pt x="3061" y="46"/>
                  </a:lnTo>
                  <a:lnTo>
                    <a:pt x="3061" y="46"/>
                  </a:lnTo>
                  <a:lnTo>
                    <a:pt x="3069" y="46"/>
                  </a:lnTo>
                  <a:lnTo>
                    <a:pt x="3069" y="46"/>
                  </a:lnTo>
                  <a:lnTo>
                    <a:pt x="3069" y="46"/>
                  </a:lnTo>
                  <a:lnTo>
                    <a:pt x="3069" y="46"/>
                  </a:lnTo>
                  <a:lnTo>
                    <a:pt x="3076" y="46"/>
                  </a:lnTo>
                  <a:lnTo>
                    <a:pt x="3076" y="46"/>
                  </a:lnTo>
                  <a:lnTo>
                    <a:pt x="3084" y="46"/>
                  </a:lnTo>
                  <a:lnTo>
                    <a:pt x="3084" y="46"/>
                  </a:lnTo>
                  <a:lnTo>
                    <a:pt x="3092" y="46"/>
                  </a:lnTo>
                  <a:lnTo>
                    <a:pt x="3092" y="46"/>
                  </a:lnTo>
                  <a:lnTo>
                    <a:pt x="3099" y="46"/>
                  </a:lnTo>
                  <a:lnTo>
                    <a:pt x="3099" y="46"/>
                  </a:lnTo>
                  <a:lnTo>
                    <a:pt x="3099" y="46"/>
                  </a:lnTo>
                  <a:lnTo>
                    <a:pt x="3099" y="46"/>
                  </a:lnTo>
                  <a:lnTo>
                    <a:pt x="3107" y="46"/>
                  </a:lnTo>
                  <a:lnTo>
                    <a:pt x="3107" y="46"/>
                  </a:lnTo>
                  <a:lnTo>
                    <a:pt x="3115" y="46"/>
                  </a:lnTo>
                  <a:lnTo>
                    <a:pt x="3115" y="46"/>
                  </a:lnTo>
                  <a:lnTo>
                    <a:pt x="3122" y="46"/>
                  </a:lnTo>
                  <a:lnTo>
                    <a:pt x="3122" y="46"/>
                  </a:lnTo>
                  <a:lnTo>
                    <a:pt x="3122" y="46"/>
                  </a:lnTo>
                  <a:lnTo>
                    <a:pt x="3122" y="46"/>
                  </a:lnTo>
                  <a:lnTo>
                    <a:pt x="3130" y="46"/>
                  </a:lnTo>
                  <a:lnTo>
                    <a:pt x="3130" y="46"/>
                  </a:lnTo>
                  <a:lnTo>
                    <a:pt x="3138" y="46"/>
                  </a:lnTo>
                  <a:lnTo>
                    <a:pt x="3138" y="46"/>
                  </a:lnTo>
                  <a:lnTo>
                    <a:pt x="3145" y="46"/>
                  </a:lnTo>
                  <a:lnTo>
                    <a:pt x="3145" y="46"/>
                  </a:lnTo>
                  <a:lnTo>
                    <a:pt x="3145" y="46"/>
                  </a:lnTo>
                  <a:lnTo>
                    <a:pt x="3145" y="46"/>
                  </a:lnTo>
                  <a:lnTo>
                    <a:pt x="3153" y="46"/>
                  </a:lnTo>
                  <a:lnTo>
                    <a:pt x="3153" y="46"/>
                  </a:lnTo>
                  <a:lnTo>
                    <a:pt x="3161" y="46"/>
                  </a:lnTo>
                  <a:lnTo>
                    <a:pt x="3161" y="46"/>
                  </a:lnTo>
                  <a:lnTo>
                    <a:pt x="3168" y="46"/>
                  </a:lnTo>
                  <a:lnTo>
                    <a:pt x="3168" y="46"/>
                  </a:lnTo>
                  <a:lnTo>
                    <a:pt x="3168" y="46"/>
                  </a:lnTo>
                  <a:lnTo>
                    <a:pt x="3168" y="46"/>
                  </a:lnTo>
                  <a:lnTo>
                    <a:pt x="3176" y="46"/>
                  </a:lnTo>
                  <a:lnTo>
                    <a:pt x="3176" y="46"/>
                  </a:lnTo>
                  <a:lnTo>
                    <a:pt x="3184" y="46"/>
                  </a:lnTo>
                  <a:lnTo>
                    <a:pt x="3184" y="46"/>
                  </a:lnTo>
                  <a:lnTo>
                    <a:pt x="3191" y="46"/>
                  </a:lnTo>
                  <a:lnTo>
                    <a:pt x="3191" y="46"/>
                  </a:lnTo>
                  <a:lnTo>
                    <a:pt x="3199" y="46"/>
                  </a:lnTo>
                  <a:lnTo>
                    <a:pt x="3199" y="46"/>
                  </a:lnTo>
                  <a:lnTo>
                    <a:pt x="3199" y="46"/>
                  </a:lnTo>
                  <a:lnTo>
                    <a:pt x="3199" y="46"/>
                  </a:lnTo>
                  <a:lnTo>
                    <a:pt x="3207" y="46"/>
                  </a:lnTo>
                  <a:lnTo>
                    <a:pt x="3207" y="46"/>
                  </a:lnTo>
                  <a:lnTo>
                    <a:pt x="3214" y="46"/>
                  </a:lnTo>
                  <a:lnTo>
                    <a:pt x="3214" y="46"/>
                  </a:lnTo>
                  <a:lnTo>
                    <a:pt x="3222" y="46"/>
                  </a:lnTo>
                  <a:lnTo>
                    <a:pt x="3222" y="46"/>
                  </a:lnTo>
                  <a:lnTo>
                    <a:pt x="3222" y="46"/>
                  </a:lnTo>
                  <a:lnTo>
                    <a:pt x="3222" y="46"/>
                  </a:lnTo>
                  <a:lnTo>
                    <a:pt x="3230" y="46"/>
                  </a:lnTo>
                  <a:lnTo>
                    <a:pt x="3230" y="46"/>
                  </a:lnTo>
                  <a:lnTo>
                    <a:pt x="3237" y="46"/>
                  </a:lnTo>
                  <a:lnTo>
                    <a:pt x="3237" y="46"/>
                  </a:lnTo>
                  <a:lnTo>
                    <a:pt x="3245" y="46"/>
                  </a:lnTo>
                  <a:lnTo>
                    <a:pt x="3245" y="46"/>
                  </a:lnTo>
                  <a:lnTo>
                    <a:pt x="3245" y="46"/>
                  </a:lnTo>
                  <a:lnTo>
                    <a:pt x="3245" y="46"/>
                  </a:lnTo>
                  <a:lnTo>
                    <a:pt x="3253" y="46"/>
                  </a:lnTo>
                  <a:lnTo>
                    <a:pt x="3253" y="46"/>
                  </a:lnTo>
                  <a:lnTo>
                    <a:pt x="3260" y="46"/>
                  </a:lnTo>
                  <a:lnTo>
                    <a:pt x="3260" y="46"/>
                  </a:lnTo>
                  <a:lnTo>
                    <a:pt x="3268" y="46"/>
                  </a:lnTo>
                  <a:lnTo>
                    <a:pt x="3268" y="46"/>
                  </a:lnTo>
                  <a:lnTo>
                    <a:pt x="3276" y="46"/>
                  </a:lnTo>
                  <a:lnTo>
                    <a:pt x="3276" y="46"/>
                  </a:lnTo>
                  <a:lnTo>
                    <a:pt x="3276" y="46"/>
                  </a:lnTo>
                  <a:lnTo>
                    <a:pt x="3276" y="38"/>
                  </a:lnTo>
                  <a:lnTo>
                    <a:pt x="3283" y="38"/>
                  </a:lnTo>
                  <a:lnTo>
                    <a:pt x="3283" y="38"/>
                  </a:lnTo>
                  <a:lnTo>
                    <a:pt x="3291" y="38"/>
                  </a:lnTo>
                  <a:lnTo>
                    <a:pt x="3291" y="38"/>
                  </a:lnTo>
                  <a:lnTo>
                    <a:pt x="3299" y="38"/>
                  </a:lnTo>
                  <a:lnTo>
                    <a:pt x="3299" y="38"/>
                  </a:lnTo>
                  <a:lnTo>
                    <a:pt x="3299" y="38"/>
                  </a:lnTo>
                  <a:lnTo>
                    <a:pt x="3299" y="38"/>
                  </a:lnTo>
                  <a:lnTo>
                    <a:pt x="3306" y="38"/>
                  </a:lnTo>
                  <a:lnTo>
                    <a:pt x="3306" y="38"/>
                  </a:lnTo>
                  <a:lnTo>
                    <a:pt x="3314" y="38"/>
                  </a:lnTo>
                  <a:lnTo>
                    <a:pt x="3314" y="38"/>
                  </a:lnTo>
                  <a:lnTo>
                    <a:pt x="3322" y="38"/>
                  </a:lnTo>
                  <a:lnTo>
                    <a:pt x="3322" y="38"/>
                  </a:lnTo>
                  <a:lnTo>
                    <a:pt x="3322" y="38"/>
                  </a:lnTo>
                  <a:lnTo>
                    <a:pt x="3322" y="38"/>
                  </a:lnTo>
                  <a:lnTo>
                    <a:pt x="3329" y="38"/>
                  </a:lnTo>
                  <a:lnTo>
                    <a:pt x="3329" y="38"/>
                  </a:lnTo>
                  <a:lnTo>
                    <a:pt x="3337" y="38"/>
                  </a:lnTo>
                  <a:lnTo>
                    <a:pt x="3337" y="38"/>
                  </a:lnTo>
                  <a:lnTo>
                    <a:pt x="3345" y="38"/>
                  </a:lnTo>
                  <a:lnTo>
                    <a:pt x="3345" y="38"/>
                  </a:lnTo>
                  <a:lnTo>
                    <a:pt x="3345" y="38"/>
                  </a:lnTo>
                  <a:lnTo>
                    <a:pt x="3345" y="38"/>
                  </a:lnTo>
                  <a:lnTo>
                    <a:pt x="3352" y="38"/>
                  </a:lnTo>
                  <a:lnTo>
                    <a:pt x="3352" y="38"/>
                  </a:lnTo>
                  <a:lnTo>
                    <a:pt x="3360" y="38"/>
                  </a:lnTo>
                  <a:lnTo>
                    <a:pt x="3360" y="38"/>
                  </a:lnTo>
                  <a:lnTo>
                    <a:pt x="3368" y="38"/>
                  </a:lnTo>
                  <a:lnTo>
                    <a:pt x="3368" y="38"/>
                  </a:lnTo>
                  <a:lnTo>
                    <a:pt x="3375" y="38"/>
                  </a:lnTo>
                  <a:lnTo>
                    <a:pt x="3375" y="38"/>
                  </a:lnTo>
                  <a:lnTo>
                    <a:pt x="3375" y="38"/>
                  </a:lnTo>
                  <a:lnTo>
                    <a:pt x="3375" y="38"/>
                  </a:lnTo>
                  <a:lnTo>
                    <a:pt x="3383" y="38"/>
                  </a:lnTo>
                  <a:lnTo>
                    <a:pt x="3383" y="38"/>
                  </a:lnTo>
                  <a:lnTo>
                    <a:pt x="3391" y="38"/>
                  </a:lnTo>
                  <a:lnTo>
                    <a:pt x="3391" y="38"/>
                  </a:lnTo>
                  <a:lnTo>
                    <a:pt x="3398" y="38"/>
                  </a:lnTo>
                  <a:lnTo>
                    <a:pt x="3398" y="38"/>
                  </a:lnTo>
                  <a:lnTo>
                    <a:pt x="3398" y="38"/>
                  </a:lnTo>
                  <a:lnTo>
                    <a:pt x="3398" y="38"/>
                  </a:lnTo>
                  <a:lnTo>
                    <a:pt x="3406" y="38"/>
                  </a:lnTo>
                  <a:lnTo>
                    <a:pt x="3406" y="38"/>
                  </a:lnTo>
                  <a:lnTo>
                    <a:pt x="3414" y="38"/>
                  </a:lnTo>
                  <a:lnTo>
                    <a:pt x="3414" y="38"/>
                  </a:lnTo>
                  <a:lnTo>
                    <a:pt x="3421" y="38"/>
                  </a:lnTo>
                  <a:lnTo>
                    <a:pt x="3421" y="31"/>
                  </a:lnTo>
                  <a:lnTo>
                    <a:pt x="3421" y="31"/>
                  </a:lnTo>
                  <a:lnTo>
                    <a:pt x="3421" y="31"/>
                  </a:lnTo>
                  <a:lnTo>
                    <a:pt x="3429" y="31"/>
                  </a:lnTo>
                  <a:lnTo>
                    <a:pt x="3429" y="31"/>
                  </a:lnTo>
                  <a:lnTo>
                    <a:pt x="3437" y="31"/>
                  </a:lnTo>
                  <a:lnTo>
                    <a:pt x="3437" y="31"/>
                  </a:lnTo>
                  <a:lnTo>
                    <a:pt x="3444" y="31"/>
                  </a:lnTo>
                  <a:lnTo>
                    <a:pt x="3444" y="31"/>
                  </a:lnTo>
                  <a:lnTo>
                    <a:pt x="3444" y="31"/>
                  </a:lnTo>
                  <a:lnTo>
                    <a:pt x="3444" y="31"/>
                  </a:lnTo>
                  <a:lnTo>
                    <a:pt x="3452" y="31"/>
                  </a:lnTo>
                  <a:lnTo>
                    <a:pt x="3452" y="31"/>
                  </a:lnTo>
                  <a:lnTo>
                    <a:pt x="3460" y="31"/>
                  </a:lnTo>
                  <a:lnTo>
                    <a:pt x="3460" y="31"/>
                  </a:lnTo>
                  <a:lnTo>
                    <a:pt x="3467" y="31"/>
                  </a:lnTo>
                  <a:lnTo>
                    <a:pt x="3467" y="31"/>
                  </a:lnTo>
                  <a:lnTo>
                    <a:pt x="3475" y="31"/>
                  </a:lnTo>
                  <a:lnTo>
                    <a:pt x="3475" y="31"/>
                  </a:lnTo>
                  <a:lnTo>
                    <a:pt x="3475" y="31"/>
                  </a:lnTo>
                  <a:lnTo>
                    <a:pt x="3475" y="31"/>
                  </a:lnTo>
                  <a:lnTo>
                    <a:pt x="3483" y="31"/>
                  </a:lnTo>
                  <a:lnTo>
                    <a:pt x="3483" y="31"/>
                  </a:lnTo>
                  <a:lnTo>
                    <a:pt x="3490" y="31"/>
                  </a:lnTo>
                  <a:lnTo>
                    <a:pt x="3490" y="31"/>
                  </a:lnTo>
                  <a:lnTo>
                    <a:pt x="3498" y="31"/>
                  </a:lnTo>
                  <a:lnTo>
                    <a:pt x="3498" y="31"/>
                  </a:lnTo>
                  <a:lnTo>
                    <a:pt x="3498" y="31"/>
                  </a:lnTo>
                  <a:lnTo>
                    <a:pt x="3498" y="31"/>
                  </a:lnTo>
                  <a:lnTo>
                    <a:pt x="3506" y="31"/>
                  </a:lnTo>
                  <a:lnTo>
                    <a:pt x="3506" y="31"/>
                  </a:lnTo>
                  <a:lnTo>
                    <a:pt x="3513" y="31"/>
                  </a:lnTo>
                  <a:lnTo>
                    <a:pt x="3513" y="31"/>
                  </a:lnTo>
                  <a:lnTo>
                    <a:pt x="3521" y="31"/>
                  </a:lnTo>
                  <a:lnTo>
                    <a:pt x="3521" y="31"/>
                  </a:lnTo>
                  <a:lnTo>
                    <a:pt x="3521" y="31"/>
                  </a:lnTo>
                  <a:lnTo>
                    <a:pt x="3521" y="31"/>
                  </a:lnTo>
                  <a:lnTo>
                    <a:pt x="3529" y="31"/>
                  </a:lnTo>
                  <a:lnTo>
                    <a:pt x="3529" y="31"/>
                  </a:lnTo>
                  <a:lnTo>
                    <a:pt x="3536" y="31"/>
                  </a:lnTo>
                  <a:lnTo>
                    <a:pt x="3536" y="31"/>
                  </a:lnTo>
                  <a:lnTo>
                    <a:pt x="3544" y="31"/>
                  </a:lnTo>
                  <a:lnTo>
                    <a:pt x="3544" y="31"/>
                  </a:lnTo>
                  <a:lnTo>
                    <a:pt x="3552" y="31"/>
                  </a:lnTo>
                  <a:lnTo>
                    <a:pt x="3552" y="31"/>
                  </a:lnTo>
                  <a:lnTo>
                    <a:pt x="3552" y="31"/>
                  </a:lnTo>
                  <a:lnTo>
                    <a:pt x="3552" y="31"/>
                  </a:lnTo>
                  <a:lnTo>
                    <a:pt x="3559" y="31"/>
                  </a:lnTo>
                  <a:lnTo>
                    <a:pt x="3559" y="31"/>
                  </a:lnTo>
                  <a:lnTo>
                    <a:pt x="3567" y="31"/>
                  </a:lnTo>
                  <a:lnTo>
                    <a:pt x="3567" y="31"/>
                  </a:lnTo>
                  <a:lnTo>
                    <a:pt x="3575" y="31"/>
                  </a:lnTo>
                  <a:lnTo>
                    <a:pt x="3575" y="31"/>
                  </a:lnTo>
                  <a:lnTo>
                    <a:pt x="3575" y="31"/>
                  </a:lnTo>
                  <a:lnTo>
                    <a:pt x="3575" y="31"/>
                  </a:lnTo>
                  <a:lnTo>
                    <a:pt x="3582" y="31"/>
                  </a:lnTo>
                  <a:lnTo>
                    <a:pt x="3582" y="31"/>
                  </a:lnTo>
                  <a:lnTo>
                    <a:pt x="3590" y="31"/>
                  </a:lnTo>
                  <a:lnTo>
                    <a:pt x="3590" y="31"/>
                  </a:lnTo>
                  <a:lnTo>
                    <a:pt x="3598" y="31"/>
                  </a:lnTo>
                  <a:lnTo>
                    <a:pt x="3598" y="31"/>
                  </a:lnTo>
                  <a:lnTo>
                    <a:pt x="3598" y="31"/>
                  </a:lnTo>
                  <a:lnTo>
                    <a:pt x="3598" y="31"/>
                  </a:lnTo>
                  <a:lnTo>
                    <a:pt x="3606" y="31"/>
                  </a:lnTo>
                  <a:lnTo>
                    <a:pt x="3606" y="31"/>
                  </a:lnTo>
                  <a:lnTo>
                    <a:pt x="3613" y="31"/>
                  </a:lnTo>
                  <a:lnTo>
                    <a:pt x="3613" y="31"/>
                  </a:lnTo>
                  <a:lnTo>
                    <a:pt x="3621" y="31"/>
                  </a:lnTo>
                  <a:lnTo>
                    <a:pt x="3621" y="31"/>
                  </a:lnTo>
                  <a:lnTo>
                    <a:pt x="3621" y="31"/>
                  </a:lnTo>
                  <a:lnTo>
                    <a:pt x="3621" y="31"/>
                  </a:lnTo>
                  <a:lnTo>
                    <a:pt x="3629" y="31"/>
                  </a:lnTo>
                  <a:lnTo>
                    <a:pt x="3629" y="31"/>
                  </a:lnTo>
                  <a:lnTo>
                    <a:pt x="3636" y="31"/>
                  </a:lnTo>
                  <a:lnTo>
                    <a:pt x="3636" y="31"/>
                  </a:lnTo>
                  <a:lnTo>
                    <a:pt x="3644" y="31"/>
                  </a:lnTo>
                  <a:lnTo>
                    <a:pt x="3644" y="31"/>
                  </a:lnTo>
                  <a:lnTo>
                    <a:pt x="3652" y="31"/>
                  </a:lnTo>
                  <a:lnTo>
                    <a:pt x="3652" y="31"/>
                  </a:lnTo>
                  <a:lnTo>
                    <a:pt x="3652" y="31"/>
                  </a:lnTo>
                  <a:lnTo>
                    <a:pt x="3652" y="31"/>
                  </a:lnTo>
                  <a:lnTo>
                    <a:pt x="3659" y="31"/>
                  </a:lnTo>
                  <a:lnTo>
                    <a:pt x="3659" y="31"/>
                  </a:lnTo>
                  <a:lnTo>
                    <a:pt x="3667" y="31"/>
                  </a:lnTo>
                  <a:lnTo>
                    <a:pt x="3667" y="31"/>
                  </a:lnTo>
                  <a:lnTo>
                    <a:pt x="3675" y="31"/>
                  </a:lnTo>
                  <a:lnTo>
                    <a:pt x="3675" y="31"/>
                  </a:lnTo>
                  <a:lnTo>
                    <a:pt x="3675" y="31"/>
                  </a:lnTo>
                  <a:lnTo>
                    <a:pt x="3675" y="31"/>
                  </a:lnTo>
                  <a:lnTo>
                    <a:pt x="3682" y="31"/>
                  </a:lnTo>
                  <a:lnTo>
                    <a:pt x="3682" y="31"/>
                  </a:lnTo>
                  <a:lnTo>
                    <a:pt x="3690" y="31"/>
                  </a:lnTo>
                  <a:lnTo>
                    <a:pt x="3690" y="31"/>
                  </a:lnTo>
                  <a:lnTo>
                    <a:pt x="3698" y="31"/>
                  </a:lnTo>
                  <a:lnTo>
                    <a:pt x="3698" y="31"/>
                  </a:lnTo>
                  <a:lnTo>
                    <a:pt x="3698" y="31"/>
                  </a:lnTo>
                  <a:lnTo>
                    <a:pt x="3698" y="31"/>
                  </a:lnTo>
                  <a:lnTo>
                    <a:pt x="3705" y="31"/>
                  </a:lnTo>
                  <a:lnTo>
                    <a:pt x="3705" y="31"/>
                  </a:lnTo>
                  <a:lnTo>
                    <a:pt x="3713" y="31"/>
                  </a:lnTo>
                  <a:lnTo>
                    <a:pt x="3713" y="31"/>
                  </a:lnTo>
                  <a:lnTo>
                    <a:pt x="3721" y="31"/>
                  </a:lnTo>
                  <a:lnTo>
                    <a:pt x="3721" y="31"/>
                  </a:lnTo>
                  <a:lnTo>
                    <a:pt x="3728" y="31"/>
                  </a:lnTo>
                  <a:lnTo>
                    <a:pt x="3728" y="31"/>
                  </a:lnTo>
                  <a:lnTo>
                    <a:pt x="3728" y="31"/>
                  </a:lnTo>
                  <a:lnTo>
                    <a:pt x="3728" y="31"/>
                  </a:lnTo>
                  <a:lnTo>
                    <a:pt x="3736" y="31"/>
                  </a:lnTo>
                  <a:lnTo>
                    <a:pt x="3736" y="31"/>
                  </a:lnTo>
                  <a:lnTo>
                    <a:pt x="3744" y="31"/>
                  </a:lnTo>
                  <a:lnTo>
                    <a:pt x="3744" y="31"/>
                  </a:lnTo>
                  <a:lnTo>
                    <a:pt x="3751" y="31"/>
                  </a:lnTo>
                  <a:lnTo>
                    <a:pt x="3751" y="31"/>
                  </a:lnTo>
                  <a:lnTo>
                    <a:pt x="3751" y="31"/>
                  </a:lnTo>
                  <a:lnTo>
                    <a:pt x="3751" y="31"/>
                  </a:lnTo>
                  <a:lnTo>
                    <a:pt x="3759" y="31"/>
                  </a:lnTo>
                  <a:lnTo>
                    <a:pt x="3759" y="31"/>
                  </a:lnTo>
                  <a:lnTo>
                    <a:pt x="3767" y="31"/>
                  </a:lnTo>
                  <a:lnTo>
                    <a:pt x="3767" y="31"/>
                  </a:lnTo>
                  <a:lnTo>
                    <a:pt x="3774" y="31"/>
                  </a:lnTo>
                  <a:lnTo>
                    <a:pt x="3774" y="31"/>
                  </a:lnTo>
                  <a:lnTo>
                    <a:pt x="3774" y="31"/>
                  </a:lnTo>
                  <a:lnTo>
                    <a:pt x="3774" y="31"/>
                  </a:lnTo>
                  <a:lnTo>
                    <a:pt x="3782" y="31"/>
                  </a:lnTo>
                  <a:lnTo>
                    <a:pt x="3782" y="23"/>
                  </a:lnTo>
                  <a:lnTo>
                    <a:pt x="3790" y="23"/>
                  </a:lnTo>
                  <a:lnTo>
                    <a:pt x="3790" y="23"/>
                  </a:lnTo>
                  <a:lnTo>
                    <a:pt x="3797" y="23"/>
                  </a:lnTo>
                  <a:lnTo>
                    <a:pt x="3797" y="23"/>
                  </a:lnTo>
                  <a:lnTo>
                    <a:pt x="3797" y="23"/>
                  </a:lnTo>
                  <a:lnTo>
                    <a:pt x="3797" y="23"/>
                  </a:lnTo>
                  <a:lnTo>
                    <a:pt x="3805" y="23"/>
                  </a:lnTo>
                  <a:lnTo>
                    <a:pt x="3805" y="23"/>
                  </a:lnTo>
                  <a:lnTo>
                    <a:pt x="3813" y="23"/>
                  </a:lnTo>
                  <a:lnTo>
                    <a:pt x="3813" y="23"/>
                  </a:lnTo>
                  <a:lnTo>
                    <a:pt x="3820" y="23"/>
                  </a:lnTo>
                  <a:lnTo>
                    <a:pt x="3820" y="23"/>
                  </a:lnTo>
                  <a:lnTo>
                    <a:pt x="3828" y="23"/>
                  </a:lnTo>
                  <a:lnTo>
                    <a:pt x="3828" y="23"/>
                  </a:lnTo>
                  <a:lnTo>
                    <a:pt x="3828" y="23"/>
                  </a:lnTo>
                  <a:lnTo>
                    <a:pt x="3828" y="23"/>
                  </a:lnTo>
                  <a:lnTo>
                    <a:pt x="3836" y="23"/>
                  </a:lnTo>
                  <a:lnTo>
                    <a:pt x="3836" y="23"/>
                  </a:lnTo>
                  <a:lnTo>
                    <a:pt x="3843" y="23"/>
                  </a:lnTo>
                  <a:lnTo>
                    <a:pt x="3843" y="23"/>
                  </a:lnTo>
                  <a:lnTo>
                    <a:pt x="3851" y="23"/>
                  </a:lnTo>
                  <a:lnTo>
                    <a:pt x="3851" y="23"/>
                  </a:lnTo>
                  <a:lnTo>
                    <a:pt x="3851" y="23"/>
                  </a:lnTo>
                  <a:lnTo>
                    <a:pt x="3851" y="23"/>
                  </a:lnTo>
                  <a:lnTo>
                    <a:pt x="3859" y="23"/>
                  </a:lnTo>
                  <a:lnTo>
                    <a:pt x="3859" y="23"/>
                  </a:lnTo>
                  <a:lnTo>
                    <a:pt x="3866" y="23"/>
                  </a:lnTo>
                  <a:lnTo>
                    <a:pt x="3866" y="23"/>
                  </a:lnTo>
                  <a:lnTo>
                    <a:pt x="3874" y="23"/>
                  </a:lnTo>
                  <a:lnTo>
                    <a:pt x="3874" y="23"/>
                  </a:lnTo>
                  <a:lnTo>
                    <a:pt x="3874" y="23"/>
                  </a:lnTo>
                  <a:lnTo>
                    <a:pt x="3874" y="15"/>
                  </a:lnTo>
                  <a:lnTo>
                    <a:pt x="3882" y="15"/>
                  </a:lnTo>
                  <a:lnTo>
                    <a:pt x="3882" y="15"/>
                  </a:lnTo>
                  <a:lnTo>
                    <a:pt x="3889" y="15"/>
                  </a:lnTo>
                  <a:lnTo>
                    <a:pt x="3889" y="15"/>
                  </a:lnTo>
                  <a:lnTo>
                    <a:pt x="3897" y="15"/>
                  </a:lnTo>
                  <a:lnTo>
                    <a:pt x="3897" y="15"/>
                  </a:lnTo>
                  <a:lnTo>
                    <a:pt x="3905" y="15"/>
                  </a:lnTo>
                  <a:lnTo>
                    <a:pt x="3905" y="15"/>
                  </a:lnTo>
                  <a:lnTo>
                    <a:pt x="3905" y="15"/>
                  </a:lnTo>
                  <a:lnTo>
                    <a:pt x="3905" y="15"/>
                  </a:lnTo>
                  <a:lnTo>
                    <a:pt x="3912" y="15"/>
                  </a:lnTo>
                  <a:lnTo>
                    <a:pt x="3912" y="15"/>
                  </a:lnTo>
                  <a:lnTo>
                    <a:pt x="3920" y="15"/>
                  </a:lnTo>
                  <a:lnTo>
                    <a:pt x="3920" y="15"/>
                  </a:lnTo>
                  <a:lnTo>
                    <a:pt x="3928" y="15"/>
                  </a:lnTo>
                  <a:lnTo>
                    <a:pt x="3928" y="15"/>
                  </a:lnTo>
                  <a:lnTo>
                    <a:pt x="3928" y="15"/>
                  </a:lnTo>
                  <a:lnTo>
                    <a:pt x="3928" y="15"/>
                  </a:lnTo>
                  <a:lnTo>
                    <a:pt x="3935" y="15"/>
                  </a:lnTo>
                  <a:lnTo>
                    <a:pt x="3935" y="15"/>
                  </a:lnTo>
                  <a:lnTo>
                    <a:pt x="3943" y="15"/>
                  </a:lnTo>
                  <a:lnTo>
                    <a:pt x="3943" y="15"/>
                  </a:lnTo>
                  <a:lnTo>
                    <a:pt x="3951" y="15"/>
                  </a:lnTo>
                  <a:lnTo>
                    <a:pt x="3951" y="15"/>
                  </a:lnTo>
                  <a:lnTo>
                    <a:pt x="3951" y="15"/>
                  </a:lnTo>
                  <a:lnTo>
                    <a:pt x="3951" y="15"/>
                  </a:lnTo>
                  <a:lnTo>
                    <a:pt x="3958" y="15"/>
                  </a:lnTo>
                  <a:lnTo>
                    <a:pt x="3958" y="15"/>
                  </a:lnTo>
                  <a:lnTo>
                    <a:pt x="3966" y="15"/>
                  </a:lnTo>
                  <a:lnTo>
                    <a:pt x="3966" y="15"/>
                  </a:lnTo>
                  <a:lnTo>
                    <a:pt x="3974" y="15"/>
                  </a:lnTo>
                  <a:lnTo>
                    <a:pt x="3974" y="15"/>
                  </a:lnTo>
                  <a:lnTo>
                    <a:pt x="3974" y="15"/>
                  </a:lnTo>
                  <a:lnTo>
                    <a:pt x="3974" y="15"/>
                  </a:lnTo>
                  <a:lnTo>
                    <a:pt x="3981" y="15"/>
                  </a:lnTo>
                  <a:lnTo>
                    <a:pt x="3981" y="15"/>
                  </a:lnTo>
                  <a:lnTo>
                    <a:pt x="3989" y="15"/>
                  </a:lnTo>
                  <a:lnTo>
                    <a:pt x="3989" y="15"/>
                  </a:lnTo>
                  <a:lnTo>
                    <a:pt x="3997" y="15"/>
                  </a:lnTo>
                  <a:lnTo>
                    <a:pt x="3997" y="15"/>
                  </a:lnTo>
                  <a:lnTo>
                    <a:pt x="4004" y="15"/>
                  </a:lnTo>
                  <a:lnTo>
                    <a:pt x="4004" y="15"/>
                  </a:lnTo>
                  <a:lnTo>
                    <a:pt x="4004" y="15"/>
                  </a:lnTo>
                  <a:lnTo>
                    <a:pt x="4004" y="15"/>
                  </a:lnTo>
                  <a:lnTo>
                    <a:pt x="4012" y="15"/>
                  </a:lnTo>
                  <a:lnTo>
                    <a:pt x="4012" y="15"/>
                  </a:lnTo>
                  <a:lnTo>
                    <a:pt x="4020" y="15"/>
                  </a:lnTo>
                  <a:lnTo>
                    <a:pt x="4020" y="15"/>
                  </a:lnTo>
                  <a:lnTo>
                    <a:pt x="4027" y="15"/>
                  </a:lnTo>
                  <a:lnTo>
                    <a:pt x="4027" y="15"/>
                  </a:lnTo>
                  <a:lnTo>
                    <a:pt x="4027" y="15"/>
                  </a:lnTo>
                  <a:lnTo>
                    <a:pt x="4027" y="15"/>
                  </a:lnTo>
                  <a:lnTo>
                    <a:pt x="4035" y="15"/>
                  </a:lnTo>
                  <a:lnTo>
                    <a:pt x="4035" y="15"/>
                  </a:lnTo>
                  <a:lnTo>
                    <a:pt x="4043" y="15"/>
                  </a:lnTo>
                  <a:lnTo>
                    <a:pt x="4043" y="15"/>
                  </a:lnTo>
                  <a:lnTo>
                    <a:pt x="4050" y="15"/>
                  </a:lnTo>
                  <a:lnTo>
                    <a:pt x="4050" y="15"/>
                  </a:lnTo>
                  <a:lnTo>
                    <a:pt x="4050" y="15"/>
                  </a:lnTo>
                  <a:lnTo>
                    <a:pt x="4050" y="15"/>
                  </a:lnTo>
                  <a:lnTo>
                    <a:pt x="4058" y="15"/>
                  </a:lnTo>
                  <a:lnTo>
                    <a:pt x="4058" y="15"/>
                  </a:lnTo>
                  <a:lnTo>
                    <a:pt x="4066" y="15"/>
                  </a:lnTo>
                  <a:lnTo>
                    <a:pt x="4066" y="15"/>
                  </a:lnTo>
                  <a:lnTo>
                    <a:pt x="4073" y="15"/>
                  </a:lnTo>
                  <a:lnTo>
                    <a:pt x="4073" y="15"/>
                  </a:lnTo>
                  <a:lnTo>
                    <a:pt x="4081" y="15"/>
                  </a:lnTo>
                  <a:lnTo>
                    <a:pt x="4081" y="15"/>
                  </a:lnTo>
                  <a:lnTo>
                    <a:pt x="4081" y="15"/>
                  </a:lnTo>
                  <a:lnTo>
                    <a:pt x="4081" y="15"/>
                  </a:lnTo>
                  <a:lnTo>
                    <a:pt x="4089" y="15"/>
                  </a:lnTo>
                  <a:lnTo>
                    <a:pt x="4089" y="15"/>
                  </a:lnTo>
                  <a:lnTo>
                    <a:pt x="4104" y="15"/>
                  </a:lnTo>
                  <a:lnTo>
                    <a:pt x="4104" y="15"/>
                  </a:lnTo>
                  <a:lnTo>
                    <a:pt x="4104" y="15"/>
                  </a:lnTo>
                  <a:lnTo>
                    <a:pt x="4104" y="15"/>
                  </a:lnTo>
                  <a:lnTo>
                    <a:pt x="4112" y="15"/>
                  </a:lnTo>
                  <a:lnTo>
                    <a:pt x="4112" y="15"/>
                  </a:lnTo>
                  <a:lnTo>
                    <a:pt x="4119" y="15"/>
                  </a:lnTo>
                  <a:lnTo>
                    <a:pt x="4119" y="15"/>
                  </a:lnTo>
                  <a:lnTo>
                    <a:pt x="4127" y="15"/>
                  </a:lnTo>
                  <a:lnTo>
                    <a:pt x="4127" y="15"/>
                  </a:lnTo>
                  <a:lnTo>
                    <a:pt x="4127" y="15"/>
                  </a:lnTo>
                  <a:lnTo>
                    <a:pt x="4127" y="15"/>
                  </a:lnTo>
                  <a:lnTo>
                    <a:pt x="4135" y="15"/>
                  </a:lnTo>
                  <a:lnTo>
                    <a:pt x="4135" y="15"/>
                  </a:lnTo>
                  <a:lnTo>
                    <a:pt x="4142" y="15"/>
                  </a:lnTo>
                  <a:lnTo>
                    <a:pt x="4142" y="15"/>
                  </a:lnTo>
                  <a:lnTo>
                    <a:pt x="4150" y="15"/>
                  </a:lnTo>
                  <a:lnTo>
                    <a:pt x="4150" y="15"/>
                  </a:lnTo>
                  <a:lnTo>
                    <a:pt x="4150" y="15"/>
                  </a:lnTo>
                  <a:lnTo>
                    <a:pt x="4150" y="15"/>
                  </a:lnTo>
                  <a:lnTo>
                    <a:pt x="4158" y="15"/>
                  </a:lnTo>
                  <a:lnTo>
                    <a:pt x="4158" y="15"/>
                  </a:lnTo>
                  <a:lnTo>
                    <a:pt x="4165" y="15"/>
                  </a:lnTo>
                  <a:lnTo>
                    <a:pt x="4165" y="15"/>
                  </a:lnTo>
                  <a:lnTo>
                    <a:pt x="4173" y="15"/>
                  </a:lnTo>
                  <a:lnTo>
                    <a:pt x="4173" y="15"/>
                  </a:lnTo>
                  <a:lnTo>
                    <a:pt x="4181" y="15"/>
                  </a:lnTo>
                  <a:lnTo>
                    <a:pt x="4181" y="15"/>
                  </a:lnTo>
                  <a:lnTo>
                    <a:pt x="4181" y="15"/>
                  </a:lnTo>
                  <a:lnTo>
                    <a:pt x="4181" y="15"/>
                  </a:lnTo>
                  <a:lnTo>
                    <a:pt x="4188" y="15"/>
                  </a:lnTo>
                  <a:lnTo>
                    <a:pt x="4188" y="15"/>
                  </a:lnTo>
                  <a:lnTo>
                    <a:pt x="4196" y="15"/>
                  </a:lnTo>
                  <a:lnTo>
                    <a:pt x="4196" y="15"/>
                  </a:lnTo>
                  <a:lnTo>
                    <a:pt x="4204" y="15"/>
                  </a:lnTo>
                  <a:lnTo>
                    <a:pt x="4204" y="15"/>
                  </a:lnTo>
                  <a:lnTo>
                    <a:pt x="4204" y="15"/>
                  </a:lnTo>
                  <a:lnTo>
                    <a:pt x="4204" y="15"/>
                  </a:lnTo>
                  <a:lnTo>
                    <a:pt x="4211" y="15"/>
                  </a:lnTo>
                  <a:lnTo>
                    <a:pt x="4211" y="8"/>
                  </a:lnTo>
                  <a:lnTo>
                    <a:pt x="4219" y="8"/>
                  </a:lnTo>
                  <a:lnTo>
                    <a:pt x="4219" y="8"/>
                  </a:lnTo>
                  <a:lnTo>
                    <a:pt x="4227" y="8"/>
                  </a:lnTo>
                  <a:lnTo>
                    <a:pt x="4227" y="8"/>
                  </a:lnTo>
                  <a:lnTo>
                    <a:pt x="4227" y="8"/>
                  </a:lnTo>
                  <a:lnTo>
                    <a:pt x="4227" y="8"/>
                  </a:lnTo>
                  <a:lnTo>
                    <a:pt x="4235" y="8"/>
                  </a:lnTo>
                  <a:lnTo>
                    <a:pt x="4235" y="8"/>
                  </a:lnTo>
                  <a:lnTo>
                    <a:pt x="4242" y="8"/>
                  </a:lnTo>
                  <a:lnTo>
                    <a:pt x="4242" y="8"/>
                  </a:lnTo>
                  <a:lnTo>
                    <a:pt x="4250" y="8"/>
                  </a:lnTo>
                  <a:lnTo>
                    <a:pt x="4250" y="8"/>
                  </a:lnTo>
                  <a:lnTo>
                    <a:pt x="4250" y="8"/>
                  </a:lnTo>
                  <a:lnTo>
                    <a:pt x="4250" y="8"/>
                  </a:lnTo>
                  <a:lnTo>
                    <a:pt x="4258" y="8"/>
                  </a:lnTo>
                  <a:lnTo>
                    <a:pt x="4258" y="8"/>
                  </a:lnTo>
                  <a:lnTo>
                    <a:pt x="4265" y="8"/>
                  </a:lnTo>
                  <a:lnTo>
                    <a:pt x="4265" y="8"/>
                  </a:lnTo>
                  <a:lnTo>
                    <a:pt x="4273" y="8"/>
                  </a:lnTo>
                  <a:lnTo>
                    <a:pt x="4273" y="8"/>
                  </a:lnTo>
                  <a:lnTo>
                    <a:pt x="4281" y="8"/>
                  </a:lnTo>
                  <a:lnTo>
                    <a:pt x="4281" y="8"/>
                  </a:lnTo>
                  <a:lnTo>
                    <a:pt x="4281" y="8"/>
                  </a:lnTo>
                  <a:lnTo>
                    <a:pt x="4281" y="8"/>
                  </a:lnTo>
                  <a:lnTo>
                    <a:pt x="4288" y="8"/>
                  </a:lnTo>
                  <a:lnTo>
                    <a:pt x="4288" y="8"/>
                  </a:lnTo>
                  <a:lnTo>
                    <a:pt x="4296" y="8"/>
                  </a:lnTo>
                  <a:lnTo>
                    <a:pt x="4296" y="8"/>
                  </a:lnTo>
                  <a:lnTo>
                    <a:pt x="4304" y="8"/>
                  </a:lnTo>
                  <a:lnTo>
                    <a:pt x="4304" y="8"/>
                  </a:lnTo>
                  <a:lnTo>
                    <a:pt x="4304" y="8"/>
                  </a:lnTo>
                  <a:lnTo>
                    <a:pt x="4304" y="8"/>
                  </a:lnTo>
                  <a:lnTo>
                    <a:pt x="4311" y="8"/>
                  </a:lnTo>
                  <a:lnTo>
                    <a:pt x="4311" y="8"/>
                  </a:lnTo>
                  <a:lnTo>
                    <a:pt x="4319" y="8"/>
                  </a:lnTo>
                  <a:lnTo>
                    <a:pt x="4319" y="8"/>
                  </a:lnTo>
                  <a:lnTo>
                    <a:pt x="4327" y="8"/>
                  </a:lnTo>
                  <a:lnTo>
                    <a:pt x="4327" y="8"/>
                  </a:lnTo>
                  <a:lnTo>
                    <a:pt x="4327" y="8"/>
                  </a:lnTo>
                  <a:lnTo>
                    <a:pt x="4327" y="8"/>
                  </a:lnTo>
                  <a:lnTo>
                    <a:pt x="4334" y="8"/>
                  </a:lnTo>
                  <a:lnTo>
                    <a:pt x="4334" y="8"/>
                  </a:lnTo>
                  <a:lnTo>
                    <a:pt x="4342" y="8"/>
                  </a:lnTo>
                  <a:lnTo>
                    <a:pt x="4342" y="8"/>
                  </a:lnTo>
                  <a:lnTo>
                    <a:pt x="4350" y="8"/>
                  </a:lnTo>
                  <a:lnTo>
                    <a:pt x="4350" y="8"/>
                  </a:lnTo>
                  <a:lnTo>
                    <a:pt x="4357" y="8"/>
                  </a:lnTo>
                  <a:lnTo>
                    <a:pt x="4357" y="8"/>
                  </a:lnTo>
                  <a:lnTo>
                    <a:pt x="4357" y="8"/>
                  </a:lnTo>
                  <a:lnTo>
                    <a:pt x="4357" y="8"/>
                  </a:lnTo>
                  <a:lnTo>
                    <a:pt x="4365" y="8"/>
                  </a:lnTo>
                  <a:lnTo>
                    <a:pt x="4365" y="8"/>
                  </a:lnTo>
                  <a:lnTo>
                    <a:pt x="4373" y="8"/>
                  </a:lnTo>
                  <a:lnTo>
                    <a:pt x="4373" y="8"/>
                  </a:lnTo>
                  <a:lnTo>
                    <a:pt x="4380" y="8"/>
                  </a:lnTo>
                  <a:lnTo>
                    <a:pt x="4380" y="8"/>
                  </a:lnTo>
                  <a:lnTo>
                    <a:pt x="4380" y="8"/>
                  </a:lnTo>
                  <a:lnTo>
                    <a:pt x="4380" y="8"/>
                  </a:lnTo>
                  <a:lnTo>
                    <a:pt x="4388" y="8"/>
                  </a:lnTo>
                  <a:lnTo>
                    <a:pt x="4388" y="8"/>
                  </a:lnTo>
                  <a:lnTo>
                    <a:pt x="4396" y="8"/>
                  </a:lnTo>
                  <a:lnTo>
                    <a:pt x="4396" y="8"/>
                  </a:lnTo>
                  <a:lnTo>
                    <a:pt x="4403" y="8"/>
                  </a:lnTo>
                  <a:lnTo>
                    <a:pt x="4403" y="8"/>
                  </a:lnTo>
                  <a:lnTo>
                    <a:pt x="4403" y="8"/>
                  </a:lnTo>
                  <a:lnTo>
                    <a:pt x="4403" y="0"/>
                  </a:lnTo>
                  <a:lnTo>
                    <a:pt x="4411" y="0"/>
                  </a:lnTo>
                  <a:lnTo>
                    <a:pt x="4411" y="0"/>
                  </a:lnTo>
                  <a:lnTo>
                    <a:pt x="4419" y="0"/>
                  </a:lnTo>
                  <a:lnTo>
                    <a:pt x="4419" y="0"/>
                  </a:lnTo>
                  <a:lnTo>
                    <a:pt x="4426" y="0"/>
                  </a:lnTo>
                  <a:lnTo>
                    <a:pt x="4426" y="0"/>
                  </a:lnTo>
                  <a:lnTo>
                    <a:pt x="4426" y="0"/>
                  </a:lnTo>
                  <a:lnTo>
                    <a:pt x="4426" y="0"/>
                  </a:lnTo>
                  <a:lnTo>
                    <a:pt x="4434" y="0"/>
                  </a:lnTo>
                  <a:lnTo>
                    <a:pt x="4434" y="0"/>
                  </a:lnTo>
                  <a:lnTo>
                    <a:pt x="4442" y="0"/>
                  </a:lnTo>
                  <a:lnTo>
                    <a:pt x="4442" y="0"/>
                  </a:lnTo>
                  <a:lnTo>
                    <a:pt x="4449" y="0"/>
                  </a:lnTo>
                  <a:lnTo>
                    <a:pt x="4449" y="0"/>
                  </a:lnTo>
                  <a:lnTo>
                    <a:pt x="4457" y="0"/>
                  </a:lnTo>
                  <a:lnTo>
                    <a:pt x="4457" y="0"/>
                  </a:lnTo>
                  <a:lnTo>
                    <a:pt x="4457" y="0"/>
                  </a:lnTo>
                  <a:lnTo>
                    <a:pt x="4457" y="0"/>
                  </a:lnTo>
                  <a:lnTo>
                    <a:pt x="4465" y="0"/>
                  </a:lnTo>
                  <a:lnTo>
                    <a:pt x="4465" y="0"/>
                  </a:lnTo>
                  <a:lnTo>
                    <a:pt x="4472" y="0"/>
                  </a:lnTo>
                  <a:lnTo>
                    <a:pt x="4472" y="0"/>
                  </a:lnTo>
                  <a:lnTo>
                    <a:pt x="4480" y="0"/>
                  </a:lnTo>
                  <a:lnTo>
                    <a:pt x="4480" y="0"/>
                  </a:lnTo>
                  <a:lnTo>
                    <a:pt x="4480" y="0"/>
                  </a:lnTo>
                  <a:lnTo>
                    <a:pt x="4480" y="0"/>
                  </a:lnTo>
                  <a:lnTo>
                    <a:pt x="4488" y="0"/>
                  </a:lnTo>
                  <a:lnTo>
                    <a:pt x="4488" y="0"/>
                  </a:lnTo>
                  <a:lnTo>
                    <a:pt x="4495" y="0"/>
                  </a:lnTo>
                  <a:lnTo>
                    <a:pt x="4495" y="0"/>
                  </a:lnTo>
                  <a:lnTo>
                    <a:pt x="4503" y="0"/>
                  </a:lnTo>
                  <a:lnTo>
                    <a:pt x="4503" y="0"/>
                  </a:lnTo>
                  <a:lnTo>
                    <a:pt x="4503" y="0"/>
                  </a:lnTo>
                  <a:lnTo>
                    <a:pt x="4503" y="0"/>
                  </a:lnTo>
                  <a:lnTo>
                    <a:pt x="4511" y="0"/>
                  </a:lnTo>
                  <a:lnTo>
                    <a:pt x="4511" y="0"/>
                  </a:lnTo>
                </a:path>
              </a:pathLst>
            </a:custGeom>
            <a:noFill/>
            <a:ln w="23813" cap="sq">
              <a:solidFill>
                <a:srgbClr val="0B0B4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auto">
            <a:xfrm>
              <a:off x="6020" y="3157"/>
              <a:ext cx="851" cy="38"/>
            </a:xfrm>
            <a:custGeom>
              <a:avLst/>
              <a:gdLst>
                <a:gd name="T0" fmla="*/ 15 w 851"/>
                <a:gd name="T1" fmla="*/ 38 h 38"/>
                <a:gd name="T2" fmla="*/ 30 w 851"/>
                <a:gd name="T3" fmla="*/ 38 h 38"/>
                <a:gd name="T4" fmla="*/ 46 w 851"/>
                <a:gd name="T5" fmla="*/ 38 h 38"/>
                <a:gd name="T6" fmla="*/ 61 w 851"/>
                <a:gd name="T7" fmla="*/ 38 h 38"/>
                <a:gd name="T8" fmla="*/ 69 w 851"/>
                <a:gd name="T9" fmla="*/ 38 h 38"/>
                <a:gd name="T10" fmla="*/ 92 w 851"/>
                <a:gd name="T11" fmla="*/ 38 h 38"/>
                <a:gd name="T12" fmla="*/ 99 w 851"/>
                <a:gd name="T13" fmla="*/ 38 h 38"/>
                <a:gd name="T14" fmla="*/ 122 w 851"/>
                <a:gd name="T15" fmla="*/ 38 h 38"/>
                <a:gd name="T16" fmla="*/ 130 w 851"/>
                <a:gd name="T17" fmla="*/ 38 h 38"/>
                <a:gd name="T18" fmla="*/ 145 w 851"/>
                <a:gd name="T19" fmla="*/ 38 h 38"/>
                <a:gd name="T20" fmla="*/ 161 w 851"/>
                <a:gd name="T21" fmla="*/ 38 h 38"/>
                <a:gd name="T22" fmla="*/ 176 w 851"/>
                <a:gd name="T23" fmla="*/ 38 h 38"/>
                <a:gd name="T24" fmla="*/ 191 w 851"/>
                <a:gd name="T25" fmla="*/ 38 h 38"/>
                <a:gd name="T26" fmla="*/ 207 w 851"/>
                <a:gd name="T27" fmla="*/ 38 h 38"/>
                <a:gd name="T28" fmla="*/ 222 w 851"/>
                <a:gd name="T29" fmla="*/ 38 h 38"/>
                <a:gd name="T30" fmla="*/ 237 w 851"/>
                <a:gd name="T31" fmla="*/ 38 h 38"/>
                <a:gd name="T32" fmla="*/ 253 w 851"/>
                <a:gd name="T33" fmla="*/ 38 h 38"/>
                <a:gd name="T34" fmla="*/ 268 w 851"/>
                <a:gd name="T35" fmla="*/ 38 h 38"/>
                <a:gd name="T36" fmla="*/ 283 w 851"/>
                <a:gd name="T37" fmla="*/ 38 h 38"/>
                <a:gd name="T38" fmla="*/ 299 w 851"/>
                <a:gd name="T39" fmla="*/ 38 h 38"/>
                <a:gd name="T40" fmla="*/ 314 w 851"/>
                <a:gd name="T41" fmla="*/ 38 h 38"/>
                <a:gd name="T42" fmla="*/ 329 w 851"/>
                <a:gd name="T43" fmla="*/ 38 h 38"/>
                <a:gd name="T44" fmla="*/ 345 w 851"/>
                <a:gd name="T45" fmla="*/ 38 h 38"/>
                <a:gd name="T46" fmla="*/ 360 w 851"/>
                <a:gd name="T47" fmla="*/ 38 h 38"/>
                <a:gd name="T48" fmla="*/ 376 w 851"/>
                <a:gd name="T49" fmla="*/ 30 h 38"/>
                <a:gd name="T50" fmla="*/ 391 w 851"/>
                <a:gd name="T51" fmla="*/ 30 h 38"/>
                <a:gd name="T52" fmla="*/ 399 w 851"/>
                <a:gd name="T53" fmla="*/ 30 h 38"/>
                <a:gd name="T54" fmla="*/ 422 w 851"/>
                <a:gd name="T55" fmla="*/ 30 h 38"/>
                <a:gd name="T56" fmla="*/ 429 w 851"/>
                <a:gd name="T57" fmla="*/ 30 h 38"/>
                <a:gd name="T58" fmla="*/ 445 w 851"/>
                <a:gd name="T59" fmla="*/ 30 h 38"/>
                <a:gd name="T60" fmla="*/ 460 w 851"/>
                <a:gd name="T61" fmla="*/ 30 h 38"/>
                <a:gd name="T62" fmla="*/ 475 w 851"/>
                <a:gd name="T63" fmla="*/ 30 h 38"/>
                <a:gd name="T64" fmla="*/ 491 w 851"/>
                <a:gd name="T65" fmla="*/ 30 h 38"/>
                <a:gd name="T66" fmla="*/ 506 w 851"/>
                <a:gd name="T67" fmla="*/ 30 h 38"/>
                <a:gd name="T68" fmla="*/ 521 w 851"/>
                <a:gd name="T69" fmla="*/ 30 h 38"/>
                <a:gd name="T70" fmla="*/ 537 w 851"/>
                <a:gd name="T71" fmla="*/ 30 h 38"/>
                <a:gd name="T72" fmla="*/ 544 w 851"/>
                <a:gd name="T73" fmla="*/ 30 h 38"/>
                <a:gd name="T74" fmla="*/ 567 w 851"/>
                <a:gd name="T75" fmla="*/ 30 h 38"/>
                <a:gd name="T76" fmla="*/ 575 w 851"/>
                <a:gd name="T77" fmla="*/ 30 h 38"/>
                <a:gd name="T78" fmla="*/ 598 w 851"/>
                <a:gd name="T79" fmla="*/ 30 h 38"/>
                <a:gd name="T80" fmla="*/ 606 w 851"/>
                <a:gd name="T81" fmla="*/ 30 h 38"/>
                <a:gd name="T82" fmla="*/ 621 w 851"/>
                <a:gd name="T83" fmla="*/ 30 h 38"/>
                <a:gd name="T84" fmla="*/ 636 w 851"/>
                <a:gd name="T85" fmla="*/ 30 h 38"/>
                <a:gd name="T86" fmla="*/ 652 w 851"/>
                <a:gd name="T87" fmla="*/ 30 h 38"/>
                <a:gd name="T88" fmla="*/ 667 w 851"/>
                <a:gd name="T89" fmla="*/ 30 h 38"/>
                <a:gd name="T90" fmla="*/ 682 w 851"/>
                <a:gd name="T91" fmla="*/ 30 h 38"/>
                <a:gd name="T92" fmla="*/ 698 w 851"/>
                <a:gd name="T93" fmla="*/ 23 h 38"/>
                <a:gd name="T94" fmla="*/ 713 w 851"/>
                <a:gd name="T95" fmla="*/ 23 h 38"/>
                <a:gd name="T96" fmla="*/ 721 w 851"/>
                <a:gd name="T97" fmla="*/ 23 h 38"/>
                <a:gd name="T98" fmla="*/ 744 w 851"/>
                <a:gd name="T99" fmla="*/ 23 h 38"/>
                <a:gd name="T100" fmla="*/ 751 w 851"/>
                <a:gd name="T101" fmla="*/ 23 h 38"/>
                <a:gd name="T102" fmla="*/ 774 w 851"/>
                <a:gd name="T103" fmla="*/ 15 h 38"/>
                <a:gd name="T104" fmla="*/ 782 w 851"/>
                <a:gd name="T105" fmla="*/ 7 h 38"/>
                <a:gd name="T106" fmla="*/ 797 w 851"/>
                <a:gd name="T107" fmla="*/ 0 h 38"/>
                <a:gd name="T108" fmla="*/ 813 w 851"/>
                <a:gd name="T109" fmla="*/ 0 h 38"/>
                <a:gd name="T110" fmla="*/ 828 w 851"/>
                <a:gd name="T111" fmla="*/ 0 h 38"/>
                <a:gd name="T112" fmla="*/ 843 w 851"/>
                <a:gd name="T11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51" h="38">
                  <a:moveTo>
                    <a:pt x="0" y="38"/>
                  </a:moveTo>
                  <a:lnTo>
                    <a:pt x="7" y="38"/>
                  </a:lnTo>
                  <a:lnTo>
                    <a:pt x="7" y="38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53" y="38"/>
                  </a:lnTo>
                  <a:lnTo>
                    <a:pt x="53" y="38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107" y="38"/>
                  </a:lnTo>
                  <a:lnTo>
                    <a:pt x="107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22" y="38"/>
                  </a:lnTo>
                  <a:lnTo>
                    <a:pt x="122" y="38"/>
                  </a:lnTo>
                  <a:lnTo>
                    <a:pt x="122" y="38"/>
                  </a:lnTo>
                  <a:lnTo>
                    <a:pt x="122" y="38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45" y="38"/>
                  </a:lnTo>
                  <a:lnTo>
                    <a:pt x="145" y="38"/>
                  </a:lnTo>
                  <a:lnTo>
                    <a:pt x="145" y="38"/>
                  </a:lnTo>
                  <a:lnTo>
                    <a:pt x="145" y="38"/>
                  </a:lnTo>
                  <a:lnTo>
                    <a:pt x="153" y="38"/>
                  </a:lnTo>
                  <a:lnTo>
                    <a:pt x="153" y="38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76" y="38"/>
                  </a:lnTo>
                  <a:lnTo>
                    <a:pt x="176" y="38"/>
                  </a:lnTo>
                  <a:lnTo>
                    <a:pt x="184" y="38"/>
                  </a:lnTo>
                  <a:lnTo>
                    <a:pt x="184" y="38"/>
                  </a:lnTo>
                  <a:lnTo>
                    <a:pt x="191" y="38"/>
                  </a:lnTo>
                  <a:lnTo>
                    <a:pt x="191" y="38"/>
                  </a:lnTo>
                  <a:lnTo>
                    <a:pt x="199" y="38"/>
                  </a:lnTo>
                  <a:lnTo>
                    <a:pt x="199" y="38"/>
                  </a:lnTo>
                  <a:lnTo>
                    <a:pt x="199" y="38"/>
                  </a:lnTo>
                  <a:lnTo>
                    <a:pt x="199" y="38"/>
                  </a:lnTo>
                  <a:lnTo>
                    <a:pt x="207" y="38"/>
                  </a:lnTo>
                  <a:lnTo>
                    <a:pt x="207" y="38"/>
                  </a:lnTo>
                  <a:lnTo>
                    <a:pt x="214" y="38"/>
                  </a:lnTo>
                  <a:lnTo>
                    <a:pt x="214" y="38"/>
                  </a:lnTo>
                  <a:lnTo>
                    <a:pt x="222" y="38"/>
                  </a:lnTo>
                  <a:lnTo>
                    <a:pt x="222" y="38"/>
                  </a:lnTo>
                  <a:lnTo>
                    <a:pt x="222" y="38"/>
                  </a:lnTo>
                  <a:lnTo>
                    <a:pt x="222" y="38"/>
                  </a:lnTo>
                  <a:lnTo>
                    <a:pt x="230" y="38"/>
                  </a:lnTo>
                  <a:lnTo>
                    <a:pt x="230" y="38"/>
                  </a:lnTo>
                  <a:lnTo>
                    <a:pt x="237" y="38"/>
                  </a:lnTo>
                  <a:lnTo>
                    <a:pt x="237" y="38"/>
                  </a:lnTo>
                  <a:lnTo>
                    <a:pt x="245" y="38"/>
                  </a:lnTo>
                  <a:lnTo>
                    <a:pt x="245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60" y="38"/>
                  </a:lnTo>
                  <a:lnTo>
                    <a:pt x="260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6" y="38"/>
                  </a:lnTo>
                  <a:lnTo>
                    <a:pt x="276" y="38"/>
                  </a:lnTo>
                  <a:lnTo>
                    <a:pt x="283" y="38"/>
                  </a:lnTo>
                  <a:lnTo>
                    <a:pt x="283" y="38"/>
                  </a:lnTo>
                  <a:lnTo>
                    <a:pt x="291" y="38"/>
                  </a:lnTo>
                  <a:lnTo>
                    <a:pt x="291" y="38"/>
                  </a:lnTo>
                  <a:lnTo>
                    <a:pt x="299" y="38"/>
                  </a:lnTo>
                  <a:lnTo>
                    <a:pt x="299" y="38"/>
                  </a:lnTo>
                  <a:lnTo>
                    <a:pt x="299" y="38"/>
                  </a:lnTo>
                  <a:lnTo>
                    <a:pt x="299" y="38"/>
                  </a:lnTo>
                  <a:lnTo>
                    <a:pt x="306" y="38"/>
                  </a:lnTo>
                  <a:lnTo>
                    <a:pt x="306" y="38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22" y="38"/>
                  </a:lnTo>
                  <a:lnTo>
                    <a:pt x="322" y="38"/>
                  </a:lnTo>
                  <a:lnTo>
                    <a:pt x="322" y="38"/>
                  </a:lnTo>
                  <a:lnTo>
                    <a:pt x="322" y="38"/>
                  </a:lnTo>
                  <a:lnTo>
                    <a:pt x="329" y="38"/>
                  </a:lnTo>
                  <a:lnTo>
                    <a:pt x="329" y="38"/>
                  </a:lnTo>
                  <a:lnTo>
                    <a:pt x="337" y="38"/>
                  </a:lnTo>
                  <a:lnTo>
                    <a:pt x="337" y="38"/>
                  </a:lnTo>
                  <a:lnTo>
                    <a:pt x="345" y="38"/>
                  </a:lnTo>
                  <a:lnTo>
                    <a:pt x="345" y="38"/>
                  </a:lnTo>
                  <a:lnTo>
                    <a:pt x="345" y="38"/>
                  </a:lnTo>
                  <a:lnTo>
                    <a:pt x="345" y="38"/>
                  </a:lnTo>
                  <a:lnTo>
                    <a:pt x="353" y="38"/>
                  </a:lnTo>
                  <a:lnTo>
                    <a:pt x="353" y="38"/>
                  </a:lnTo>
                  <a:lnTo>
                    <a:pt x="360" y="38"/>
                  </a:lnTo>
                  <a:lnTo>
                    <a:pt x="360" y="38"/>
                  </a:lnTo>
                  <a:lnTo>
                    <a:pt x="368" y="38"/>
                  </a:lnTo>
                  <a:lnTo>
                    <a:pt x="368" y="38"/>
                  </a:lnTo>
                  <a:lnTo>
                    <a:pt x="376" y="38"/>
                  </a:lnTo>
                  <a:lnTo>
                    <a:pt x="376" y="30"/>
                  </a:lnTo>
                  <a:lnTo>
                    <a:pt x="376" y="30"/>
                  </a:lnTo>
                  <a:lnTo>
                    <a:pt x="376" y="30"/>
                  </a:lnTo>
                  <a:lnTo>
                    <a:pt x="383" y="30"/>
                  </a:lnTo>
                  <a:lnTo>
                    <a:pt x="383" y="30"/>
                  </a:lnTo>
                  <a:lnTo>
                    <a:pt x="391" y="30"/>
                  </a:lnTo>
                  <a:lnTo>
                    <a:pt x="391" y="30"/>
                  </a:lnTo>
                  <a:lnTo>
                    <a:pt x="399" y="30"/>
                  </a:lnTo>
                  <a:lnTo>
                    <a:pt x="399" y="30"/>
                  </a:lnTo>
                  <a:lnTo>
                    <a:pt x="399" y="30"/>
                  </a:lnTo>
                  <a:lnTo>
                    <a:pt x="399" y="30"/>
                  </a:lnTo>
                  <a:lnTo>
                    <a:pt x="406" y="30"/>
                  </a:lnTo>
                  <a:lnTo>
                    <a:pt x="406" y="30"/>
                  </a:lnTo>
                  <a:lnTo>
                    <a:pt x="414" y="30"/>
                  </a:lnTo>
                  <a:lnTo>
                    <a:pt x="414" y="30"/>
                  </a:lnTo>
                  <a:lnTo>
                    <a:pt x="422" y="30"/>
                  </a:lnTo>
                  <a:lnTo>
                    <a:pt x="422" y="30"/>
                  </a:lnTo>
                  <a:lnTo>
                    <a:pt x="422" y="30"/>
                  </a:lnTo>
                  <a:lnTo>
                    <a:pt x="422" y="30"/>
                  </a:lnTo>
                  <a:lnTo>
                    <a:pt x="429" y="30"/>
                  </a:lnTo>
                  <a:lnTo>
                    <a:pt x="429" y="30"/>
                  </a:lnTo>
                  <a:lnTo>
                    <a:pt x="437" y="30"/>
                  </a:lnTo>
                  <a:lnTo>
                    <a:pt x="437" y="30"/>
                  </a:lnTo>
                  <a:lnTo>
                    <a:pt x="445" y="30"/>
                  </a:lnTo>
                  <a:lnTo>
                    <a:pt x="445" y="30"/>
                  </a:lnTo>
                  <a:lnTo>
                    <a:pt x="445" y="30"/>
                  </a:lnTo>
                  <a:lnTo>
                    <a:pt x="445" y="30"/>
                  </a:lnTo>
                  <a:lnTo>
                    <a:pt x="452" y="30"/>
                  </a:lnTo>
                  <a:lnTo>
                    <a:pt x="452" y="30"/>
                  </a:lnTo>
                  <a:lnTo>
                    <a:pt x="460" y="30"/>
                  </a:lnTo>
                  <a:lnTo>
                    <a:pt x="460" y="30"/>
                  </a:lnTo>
                  <a:lnTo>
                    <a:pt x="468" y="30"/>
                  </a:lnTo>
                  <a:lnTo>
                    <a:pt x="468" y="30"/>
                  </a:lnTo>
                  <a:lnTo>
                    <a:pt x="475" y="30"/>
                  </a:lnTo>
                  <a:lnTo>
                    <a:pt x="475" y="30"/>
                  </a:lnTo>
                  <a:lnTo>
                    <a:pt x="475" y="30"/>
                  </a:lnTo>
                  <a:lnTo>
                    <a:pt x="475" y="30"/>
                  </a:lnTo>
                  <a:lnTo>
                    <a:pt x="483" y="30"/>
                  </a:lnTo>
                  <a:lnTo>
                    <a:pt x="483" y="30"/>
                  </a:lnTo>
                  <a:lnTo>
                    <a:pt x="491" y="30"/>
                  </a:lnTo>
                  <a:lnTo>
                    <a:pt x="491" y="30"/>
                  </a:lnTo>
                  <a:lnTo>
                    <a:pt x="498" y="30"/>
                  </a:lnTo>
                  <a:lnTo>
                    <a:pt x="498" y="30"/>
                  </a:lnTo>
                  <a:lnTo>
                    <a:pt x="498" y="30"/>
                  </a:lnTo>
                  <a:lnTo>
                    <a:pt x="498" y="30"/>
                  </a:lnTo>
                  <a:lnTo>
                    <a:pt x="506" y="30"/>
                  </a:lnTo>
                  <a:lnTo>
                    <a:pt x="506" y="30"/>
                  </a:lnTo>
                  <a:lnTo>
                    <a:pt x="514" y="30"/>
                  </a:lnTo>
                  <a:lnTo>
                    <a:pt x="514" y="30"/>
                  </a:lnTo>
                  <a:lnTo>
                    <a:pt x="521" y="30"/>
                  </a:lnTo>
                  <a:lnTo>
                    <a:pt x="521" y="30"/>
                  </a:lnTo>
                  <a:lnTo>
                    <a:pt x="521" y="30"/>
                  </a:lnTo>
                  <a:lnTo>
                    <a:pt x="521" y="30"/>
                  </a:lnTo>
                  <a:lnTo>
                    <a:pt x="529" y="30"/>
                  </a:lnTo>
                  <a:lnTo>
                    <a:pt x="529" y="30"/>
                  </a:lnTo>
                  <a:lnTo>
                    <a:pt x="537" y="30"/>
                  </a:lnTo>
                  <a:lnTo>
                    <a:pt x="537" y="30"/>
                  </a:lnTo>
                  <a:lnTo>
                    <a:pt x="544" y="30"/>
                  </a:lnTo>
                  <a:lnTo>
                    <a:pt x="544" y="30"/>
                  </a:lnTo>
                  <a:lnTo>
                    <a:pt x="544" y="30"/>
                  </a:lnTo>
                  <a:lnTo>
                    <a:pt x="544" y="30"/>
                  </a:lnTo>
                  <a:lnTo>
                    <a:pt x="552" y="30"/>
                  </a:lnTo>
                  <a:lnTo>
                    <a:pt x="552" y="30"/>
                  </a:lnTo>
                  <a:lnTo>
                    <a:pt x="560" y="30"/>
                  </a:lnTo>
                  <a:lnTo>
                    <a:pt x="560" y="30"/>
                  </a:lnTo>
                  <a:lnTo>
                    <a:pt x="567" y="30"/>
                  </a:lnTo>
                  <a:lnTo>
                    <a:pt x="567" y="30"/>
                  </a:lnTo>
                  <a:lnTo>
                    <a:pt x="575" y="30"/>
                  </a:lnTo>
                  <a:lnTo>
                    <a:pt x="575" y="30"/>
                  </a:lnTo>
                  <a:lnTo>
                    <a:pt x="575" y="30"/>
                  </a:lnTo>
                  <a:lnTo>
                    <a:pt x="575" y="30"/>
                  </a:lnTo>
                  <a:lnTo>
                    <a:pt x="583" y="30"/>
                  </a:lnTo>
                  <a:lnTo>
                    <a:pt x="583" y="30"/>
                  </a:lnTo>
                  <a:lnTo>
                    <a:pt x="590" y="30"/>
                  </a:lnTo>
                  <a:lnTo>
                    <a:pt x="590" y="30"/>
                  </a:lnTo>
                  <a:lnTo>
                    <a:pt x="598" y="30"/>
                  </a:lnTo>
                  <a:lnTo>
                    <a:pt x="598" y="30"/>
                  </a:lnTo>
                  <a:lnTo>
                    <a:pt x="598" y="30"/>
                  </a:lnTo>
                  <a:lnTo>
                    <a:pt x="598" y="30"/>
                  </a:lnTo>
                  <a:lnTo>
                    <a:pt x="606" y="30"/>
                  </a:lnTo>
                  <a:lnTo>
                    <a:pt x="606" y="30"/>
                  </a:lnTo>
                  <a:lnTo>
                    <a:pt x="613" y="30"/>
                  </a:lnTo>
                  <a:lnTo>
                    <a:pt x="613" y="30"/>
                  </a:lnTo>
                  <a:lnTo>
                    <a:pt x="621" y="30"/>
                  </a:lnTo>
                  <a:lnTo>
                    <a:pt x="621" y="30"/>
                  </a:lnTo>
                  <a:lnTo>
                    <a:pt x="621" y="30"/>
                  </a:lnTo>
                  <a:lnTo>
                    <a:pt x="621" y="30"/>
                  </a:lnTo>
                  <a:lnTo>
                    <a:pt x="629" y="30"/>
                  </a:lnTo>
                  <a:lnTo>
                    <a:pt x="629" y="30"/>
                  </a:lnTo>
                  <a:lnTo>
                    <a:pt x="636" y="30"/>
                  </a:lnTo>
                  <a:lnTo>
                    <a:pt x="636" y="30"/>
                  </a:lnTo>
                  <a:lnTo>
                    <a:pt x="644" y="30"/>
                  </a:lnTo>
                  <a:lnTo>
                    <a:pt x="644" y="30"/>
                  </a:lnTo>
                  <a:lnTo>
                    <a:pt x="652" y="30"/>
                  </a:lnTo>
                  <a:lnTo>
                    <a:pt x="652" y="30"/>
                  </a:lnTo>
                  <a:lnTo>
                    <a:pt x="652" y="30"/>
                  </a:lnTo>
                  <a:lnTo>
                    <a:pt x="652" y="30"/>
                  </a:lnTo>
                  <a:lnTo>
                    <a:pt x="659" y="30"/>
                  </a:lnTo>
                  <a:lnTo>
                    <a:pt x="659" y="30"/>
                  </a:lnTo>
                  <a:lnTo>
                    <a:pt x="667" y="30"/>
                  </a:lnTo>
                  <a:lnTo>
                    <a:pt x="667" y="30"/>
                  </a:lnTo>
                  <a:lnTo>
                    <a:pt x="675" y="30"/>
                  </a:lnTo>
                  <a:lnTo>
                    <a:pt x="675" y="30"/>
                  </a:lnTo>
                  <a:lnTo>
                    <a:pt x="675" y="30"/>
                  </a:lnTo>
                  <a:lnTo>
                    <a:pt x="675" y="30"/>
                  </a:lnTo>
                  <a:lnTo>
                    <a:pt x="682" y="30"/>
                  </a:lnTo>
                  <a:lnTo>
                    <a:pt x="682" y="30"/>
                  </a:lnTo>
                  <a:lnTo>
                    <a:pt x="690" y="30"/>
                  </a:lnTo>
                  <a:lnTo>
                    <a:pt x="690" y="23"/>
                  </a:lnTo>
                  <a:lnTo>
                    <a:pt x="698" y="23"/>
                  </a:lnTo>
                  <a:lnTo>
                    <a:pt x="698" y="23"/>
                  </a:lnTo>
                  <a:lnTo>
                    <a:pt x="698" y="23"/>
                  </a:lnTo>
                  <a:lnTo>
                    <a:pt x="698" y="23"/>
                  </a:lnTo>
                  <a:lnTo>
                    <a:pt x="705" y="23"/>
                  </a:lnTo>
                  <a:lnTo>
                    <a:pt x="705" y="23"/>
                  </a:lnTo>
                  <a:lnTo>
                    <a:pt x="713" y="23"/>
                  </a:lnTo>
                  <a:lnTo>
                    <a:pt x="713" y="23"/>
                  </a:lnTo>
                  <a:lnTo>
                    <a:pt x="721" y="23"/>
                  </a:lnTo>
                  <a:lnTo>
                    <a:pt x="721" y="23"/>
                  </a:lnTo>
                  <a:lnTo>
                    <a:pt x="721" y="23"/>
                  </a:lnTo>
                  <a:lnTo>
                    <a:pt x="721" y="23"/>
                  </a:lnTo>
                  <a:lnTo>
                    <a:pt x="728" y="23"/>
                  </a:lnTo>
                  <a:lnTo>
                    <a:pt x="728" y="23"/>
                  </a:lnTo>
                  <a:lnTo>
                    <a:pt x="736" y="23"/>
                  </a:lnTo>
                  <a:lnTo>
                    <a:pt x="736" y="23"/>
                  </a:lnTo>
                  <a:lnTo>
                    <a:pt x="744" y="23"/>
                  </a:lnTo>
                  <a:lnTo>
                    <a:pt x="744" y="23"/>
                  </a:lnTo>
                  <a:lnTo>
                    <a:pt x="751" y="23"/>
                  </a:lnTo>
                  <a:lnTo>
                    <a:pt x="751" y="23"/>
                  </a:lnTo>
                  <a:lnTo>
                    <a:pt x="751" y="23"/>
                  </a:lnTo>
                  <a:lnTo>
                    <a:pt x="751" y="23"/>
                  </a:lnTo>
                  <a:lnTo>
                    <a:pt x="759" y="23"/>
                  </a:lnTo>
                  <a:lnTo>
                    <a:pt x="759" y="15"/>
                  </a:lnTo>
                  <a:lnTo>
                    <a:pt x="767" y="15"/>
                  </a:lnTo>
                  <a:lnTo>
                    <a:pt x="767" y="15"/>
                  </a:lnTo>
                  <a:lnTo>
                    <a:pt x="774" y="15"/>
                  </a:lnTo>
                  <a:lnTo>
                    <a:pt x="774" y="15"/>
                  </a:lnTo>
                  <a:lnTo>
                    <a:pt x="774" y="15"/>
                  </a:lnTo>
                  <a:lnTo>
                    <a:pt x="774" y="15"/>
                  </a:lnTo>
                  <a:lnTo>
                    <a:pt x="782" y="15"/>
                  </a:lnTo>
                  <a:lnTo>
                    <a:pt x="782" y="7"/>
                  </a:lnTo>
                  <a:lnTo>
                    <a:pt x="790" y="7"/>
                  </a:lnTo>
                  <a:lnTo>
                    <a:pt x="790" y="0"/>
                  </a:lnTo>
                  <a:lnTo>
                    <a:pt x="797" y="0"/>
                  </a:lnTo>
                  <a:lnTo>
                    <a:pt x="797" y="0"/>
                  </a:lnTo>
                  <a:lnTo>
                    <a:pt x="797" y="0"/>
                  </a:lnTo>
                  <a:lnTo>
                    <a:pt x="797" y="0"/>
                  </a:lnTo>
                  <a:lnTo>
                    <a:pt x="805" y="0"/>
                  </a:lnTo>
                  <a:lnTo>
                    <a:pt x="805" y="0"/>
                  </a:lnTo>
                  <a:lnTo>
                    <a:pt x="813" y="0"/>
                  </a:lnTo>
                  <a:lnTo>
                    <a:pt x="813" y="0"/>
                  </a:lnTo>
                  <a:lnTo>
                    <a:pt x="820" y="0"/>
                  </a:lnTo>
                  <a:lnTo>
                    <a:pt x="820" y="0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836" y="0"/>
                  </a:lnTo>
                  <a:lnTo>
                    <a:pt x="836" y="0"/>
                  </a:lnTo>
                  <a:lnTo>
                    <a:pt x="843" y="0"/>
                  </a:lnTo>
                  <a:lnTo>
                    <a:pt x="843" y="0"/>
                  </a:lnTo>
                  <a:lnTo>
                    <a:pt x="851" y="0"/>
                  </a:lnTo>
                  <a:lnTo>
                    <a:pt x="851" y="0"/>
                  </a:lnTo>
                  <a:lnTo>
                    <a:pt x="851" y="0"/>
                  </a:lnTo>
                  <a:lnTo>
                    <a:pt x="851" y="0"/>
                  </a:lnTo>
                </a:path>
              </a:pathLst>
            </a:custGeom>
            <a:noFill/>
            <a:ln w="23813" cap="sq">
              <a:solidFill>
                <a:srgbClr val="0B0B4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88" name="Rectangle 87"/>
            <p:cNvSpPr>
              <a:spLocks noChangeArrowheads="1"/>
            </p:cNvSpPr>
            <p:nvPr/>
          </p:nvSpPr>
          <p:spPr bwMode="auto">
            <a:xfrm>
              <a:off x="5744" y="2712"/>
              <a:ext cx="7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89" name="Freeform 88"/>
            <p:cNvSpPr>
              <a:spLocks/>
            </p:cNvSpPr>
            <p:nvPr/>
          </p:nvSpPr>
          <p:spPr bwMode="auto">
            <a:xfrm>
              <a:off x="1509" y="3210"/>
              <a:ext cx="4511" cy="100"/>
            </a:xfrm>
            <a:custGeom>
              <a:avLst/>
              <a:gdLst>
                <a:gd name="T0" fmla="*/ 376 w 4511"/>
                <a:gd name="T1" fmla="*/ 92 h 100"/>
                <a:gd name="T2" fmla="*/ 599 w 4511"/>
                <a:gd name="T3" fmla="*/ 92 h 100"/>
                <a:gd name="T4" fmla="*/ 744 w 4511"/>
                <a:gd name="T5" fmla="*/ 92 h 100"/>
                <a:gd name="T6" fmla="*/ 905 w 4511"/>
                <a:gd name="T7" fmla="*/ 85 h 100"/>
                <a:gd name="T8" fmla="*/ 1082 w 4511"/>
                <a:gd name="T9" fmla="*/ 85 h 100"/>
                <a:gd name="T10" fmla="*/ 1335 w 4511"/>
                <a:gd name="T11" fmla="*/ 85 h 100"/>
                <a:gd name="T12" fmla="*/ 1458 w 4511"/>
                <a:gd name="T13" fmla="*/ 77 h 100"/>
                <a:gd name="T14" fmla="*/ 1649 w 4511"/>
                <a:gd name="T15" fmla="*/ 77 h 100"/>
                <a:gd name="T16" fmla="*/ 1795 w 4511"/>
                <a:gd name="T17" fmla="*/ 69 h 100"/>
                <a:gd name="T18" fmla="*/ 1910 w 4511"/>
                <a:gd name="T19" fmla="*/ 69 h 100"/>
                <a:gd name="T20" fmla="*/ 2010 w 4511"/>
                <a:gd name="T21" fmla="*/ 62 h 100"/>
                <a:gd name="T22" fmla="*/ 2094 w 4511"/>
                <a:gd name="T23" fmla="*/ 62 h 100"/>
                <a:gd name="T24" fmla="*/ 2156 w 4511"/>
                <a:gd name="T25" fmla="*/ 62 h 100"/>
                <a:gd name="T26" fmla="*/ 2202 w 4511"/>
                <a:gd name="T27" fmla="*/ 62 h 100"/>
                <a:gd name="T28" fmla="*/ 2248 w 4511"/>
                <a:gd name="T29" fmla="*/ 62 h 100"/>
                <a:gd name="T30" fmla="*/ 2301 w 4511"/>
                <a:gd name="T31" fmla="*/ 54 h 100"/>
                <a:gd name="T32" fmla="*/ 2355 w 4511"/>
                <a:gd name="T33" fmla="*/ 54 h 100"/>
                <a:gd name="T34" fmla="*/ 2417 w 4511"/>
                <a:gd name="T35" fmla="*/ 54 h 100"/>
                <a:gd name="T36" fmla="*/ 2463 w 4511"/>
                <a:gd name="T37" fmla="*/ 54 h 100"/>
                <a:gd name="T38" fmla="*/ 2509 w 4511"/>
                <a:gd name="T39" fmla="*/ 54 h 100"/>
                <a:gd name="T40" fmla="*/ 2555 w 4511"/>
                <a:gd name="T41" fmla="*/ 54 h 100"/>
                <a:gd name="T42" fmla="*/ 2601 w 4511"/>
                <a:gd name="T43" fmla="*/ 54 h 100"/>
                <a:gd name="T44" fmla="*/ 2647 w 4511"/>
                <a:gd name="T45" fmla="*/ 54 h 100"/>
                <a:gd name="T46" fmla="*/ 2693 w 4511"/>
                <a:gd name="T47" fmla="*/ 54 h 100"/>
                <a:gd name="T48" fmla="*/ 2746 w 4511"/>
                <a:gd name="T49" fmla="*/ 54 h 100"/>
                <a:gd name="T50" fmla="*/ 2792 w 4511"/>
                <a:gd name="T51" fmla="*/ 54 h 100"/>
                <a:gd name="T52" fmla="*/ 2838 w 4511"/>
                <a:gd name="T53" fmla="*/ 46 h 100"/>
                <a:gd name="T54" fmla="*/ 2884 w 4511"/>
                <a:gd name="T55" fmla="*/ 46 h 100"/>
                <a:gd name="T56" fmla="*/ 2930 w 4511"/>
                <a:gd name="T57" fmla="*/ 46 h 100"/>
                <a:gd name="T58" fmla="*/ 2976 w 4511"/>
                <a:gd name="T59" fmla="*/ 46 h 100"/>
                <a:gd name="T60" fmla="*/ 3023 w 4511"/>
                <a:gd name="T61" fmla="*/ 46 h 100"/>
                <a:gd name="T62" fmla="*/ 3069 w 4511"/>
                <a:gd name="T63" fmla="*/ 46 h 100"/>
                <a:gd name="T64" fmla="*/ 3122 w 4511"/>
                <a:gd name="T65" fmla="*/ 46 h 100"/>
                <a:gd name="T66" fmla="*/ 3168 w 4511"/>
                <a:gd name="T67" fmla="*/ 46 h 100"/>
                <a:gd name="T68" fmla="*/ 3214 w 4511"/>
                <a:gd name="T69" fmla="*/ 39 h 100"/>
                <a:gd name="T70" fmla="*/ 3260 w 4511"/>
                <a:gd name="T71" fmla="*/ 39 h 100"/>
                <a:gd name="T72" fmla="*/ 3306 w 4511"/>
                <a:gd name="T73" fmla="*/ 39 h 100"/>
                <a:gd name="T74" fmla="*/ 3352 w 4511"/>
                <a:gd name="T75" fmla="*/ 39 h 100"/>
                <a:gd name="T76" fmla="*/ 3398 w 4511"/>
                <a:gd name="T77" fmla="*/ 39 h 100"/>
                <a:gd name="T78" fmla="*/ 3444 w 4511"/>
                <a:gd name="T79" fmla="*/ 39 h 100"/>
                <a:gd name="T80" fmla="*/ 3498 w 4511"/>
                <a:gd name="T81" fmla="*/ 39 h 100"/>
                <a:gd name="T82" fmla="*/ 3544 w 4511"/>
                <a:gd name="T83" fmla="*/ 39 h 100"/>
                <a:gd name="T84" fmla="*/ 3590 w 4511"/>
                <a:gd name="T85" fmla="*/ 39 h 100"/>
                <a:gd name="T86" fmla="*/ 3636 w 4511"/>
                <a:gd name="T87" fmla="*/ 31 h 100"/>
                <a:gd name="T88" fmla="*/ 3682 w 4511"/>
                <a:gd name="T89" fmla="*/ 23 h 100"/>
                <a:gd name="T90" fmla="*/ 3728 w 4511"/>
                <a:gd name="T91" fmla="*/ 23 h 100"/>
                <a:gd name="T92" fmla="*/ 3774 w 4511"/>
                <a:gd name="T93" fmla="*/ 23 h 100"/>
                <a:gd name="T94" fmla="*/ 3828 w 4511"/>
                <a:gd name="T95" fmla="*/ 23 h 100"/>
                <a:gd name="T96" fmla="*/ 3874 w 4511"/>
                <a:gd name="T97" fmla="*/ 16 h 100"/>
                <a:gd name="T98" fmla="*/ 3920 w 4511"/>
                <a:gd name="T99" fmla="*/ 16 h 100"/>
                <a:gd name="T100" fmla="*/ 3966 w 4511"/>
                <a:gd name="T101" fmla="*/ 16 h 100"/>
                <a:gd name="T102" fmla="*/ 4012 w 4511"/>
                <a:gd name="T103" fmla="*/ 16 h 100"/>
                <a:gd name="T104" fmla="*/ 4058 w 4511"/>
                <a:gd name="T105" fmla="*/ 16 h 100"/>
                <a:gd name="T106" fmla="*/ 4112 w 4511"/>
                <a:gd name="T107" fmla="*/ 16 h 100"/>
                <a:gd name="T108" fmla="*/ 4158 w 4511"/>
                <a:gd name="T109" fmla="*/ 16 h 100"/>
                <a:gd name="T110" fmla="*/ 4204 w 4511"/>
                <a:gd name="T111" fmla="*/ 16 h 100"/>
                <a:gd name="T112" fmla="*/ 4250 w 4511"/>
                <a:gd name="T113" fmla="*/ 8 h 100"/>
                <a:gd name="T114" fmla="*/ 4304 w 4511"/>
                <a:gd name="T115" fmla="*/ 8 h 100"/>
                <a:gd name="T116" fmla="*/ 4350 w 4511"/>
                <a:gd name="T117" fmla="*/ 0 h 100"/>
                <a:gd name="T118" fmla="*/ 4396 w 4511"/>
                <a:gd name="T119" fmla="*/ 0 h 100"/>
                <a:gd name="T120" fmla="*/ 4442 w 4511"/>
                <a:gd name="T121" fmla="*/ 0 h 100"/>
                <a:gd name="T122" fmla="*/ 4488 w 4511"/>
                <a:gd name="T12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1" h="100">
                  <a:moveTo>
                    <a:pt x="0" y="100"/>
                  </a:moveTo>
                  <a:lnTo>
                    <a:pt x="108" y="100"/>
                  </a:lnTo>
                  <a:lnTo>
                    <a:pt x="108" y="100"/>
                  </a:lnTo>
                  <a:lnTo>
                    <a:pt x="177" y="100"/>
                  </a:lnTo>
                  <a:lnTo>
                    <a:pt x="177" y="92"/>
                  </a:lnTo>
                  <a:lnTo>
                    <a:pt x="223" y="92"/>
                  </a:lnTo>
                  <a:lnTo>
                    <a:pt x="223" y="92"/>
                  </a:lnTo>
                  <a:lnTo>
                    <a:pt x="230" y="92"/>
                  </a:lnTo>
                  <a:lnTo>
                    <a:pt x="230" y="92"/>
                  </a:lnTo>
                  <a:lnTo>
                    <a:pt x="253" y="92"/>
                  </a:lnTo>
                  <a:lnTo>
                    <a:pt x="253" y="92"/>
                  </a:lnTo>
                  <a:lnTo>
                    <a:pt x="330" y="92"/>
                  </a:lnTo>
                  <a:lnTo>
                    <a:pt x="330" y="92"/>
                  </a:lnTo>
                  <a:lnTo>
                    <a:pt x="353" y="92"/>
                  </a:lnTo>
                  <a:lnTo>
                    <a:pt x="353" y="92"/>
                  </a:lnTo>
                  <a:lnTo>
                    <a:pt x="376" y="92"/>
                  </a:lnTo>
                  <a:lnTo>
                    <a:pt x="376" y="92"/>
                  </a:lnTo>
                  <a:lnTo>
                    <a:pt x="399" y="92"/>
                  </a:lnTo>
                  <a:lnTo>
                    <a:pt x="399" y="92"/>
                  </a:lnTo>
                  <a:lnTo>
                    <a:pt x="422" y="92"/>
                  </a:lnTo>
                  <a:lnTo>
                    <a:pt x="422" y="92"/>
                  </a:lnTo>
                  <a:lnTo>
                    <a:pt x="445" y="92"/>
                  </a:lnTo>
                  <a:lnTo>
                    <a:pt x="445" y="92"/>
                  </a:lnTo>
                  <a:lnTo>
                    <a:pt x="483" y="92"/>
                  </a:lnTo>
                  <a:lnTo>
                    <a:pt x="483" y="92"/>
                  </a:lnTo>
                  <a:lnTo>
                    <a:pt x="507" y="92"/>
                  </a:lnTo>
                  <a:lnTo>
                    <a:pt x="507" y="92"/>
                  </a:lnTo>
                  <a:lnTo>
                    <a:pt x="576" y="92"/>
                  </a:lnTo>
                  <a:lnTo>
                    <a:pt x="576" y="92"/>
                  </a:lnTo>
                  <a:lnTo>
                    <a:pt x="583" y="92"/>
                  </a:lnTo>
                  <a:lnTo>
                    <a:pt x="583" y="92"/>
                  </a:lnTo>
                  <a:lnTo>
                    <a:pt x="599" y="92"/>
                  </a:lnTo>
                  <a:lnTo>
                    <a:pt x="599" y="92"/>
                  </a:lnTo>
                  <a:lnTo>
                    <a:pt x="629" y="92"/>
                  </a:lnTo>
                  <a:lnTo>
                    <a:pt x="629" y="92"/>
                  </a:lnTo>
                  <a:lnTo>
                    <a:pt x="637" y="92"/>
                  </a:lnTo>
                  <a:lnTo>
                    <a:pt x="637" y="92"/>
                  </a:lnTo>
                  <a:lnTo>
                    <a:pt x="645" y="92"/>
                  </a:lnTo>
                  <a:lnTo>
                    <a:pt x="645" y="92"/>
                  </a:lnTo>
                  <a:lnTo>
                    <a:pt x="652" y="92"/>
                  </a:lnTo>
                  <a:lnTo>
                    <a:pt x="652" y="92"/>
                  </a:lnTo>
                  <a:lnTo>
                    <a:pt x="675" y="92"/>
                  </a:lnTo>
                  <a:lnTo>
                    <a:pt x="675" y="92"/>
                  </a:lnTo>
                  <a:lnTo>
                    <a:pt x="714" y="92"/>
                  </a:lnTo>
                  <a:lnTo>
                    <a:pt x="714" y="92"/>
                  </a:lnTo>
                  <a:lnTo>
                    <a:pt x="721" y="92"/>
                  </a:lnTo>
                  <a:lnTo>
                    <a:pt x="721" y="92"/>
                  </a:lnTo>
                  <a:lnTo>
                    <a:pt x="744" y="92"/>
                  </a:lnTo>
                  <a:lnTo>
                    <a:pt x="744" y="85"/>
                  </a:lnTo>
                  <a:lnTo>
                    <a:pt x="752" y="85"/>
                  </a:lnTo>
                  <a:lnTo>
                    <a:pt x="752" y="85"/>
                  </a:lnTo>
                  <a:lnTo>
                    <a:pt x="775" y="85"/>
                  </a:lnTo>
                  <a:lnTo>
                    <a:pt x="775" y="85"/>
                  </a:lnTo>
                  <a:lnTo>
                    <a:pt x="783" y="85"/>
                  </a:lnTo>
                  <a:lnTo>
                    <a:pt x="783" y="85"/>
                  </a:lnTo>
                  <a:lnTo>
                    <a:pt x="783" y="85"/>
                  </a:lnTo>
                  <a:lnTo>
                    <a:pt x="783" y="85"/>
                  </a:lnTo>
                  <a:lnTo>
                    <a:pt x="813" y="85"/>
                  </a:lnTo>
                  <a:lnTo>
                    <a:pt x="813" y="85"/>
                  </a:lnTo>
                  <a:lnTo>
                    <a:pt x="859" y="85"/>
                  </a:lnTo>
                  <a:lnTo>
                    <a:pt x="859" y="85"/>
                  </a:lnTo>
                  <a:lnTo>
                    <a:pt x="890" y="85"/>
                  </a:lnTo>
                  <a:lnTo>
                    <a:pt x="890" y="85"/>
                  </a:lnTo>
                  <a:lnTo>
                    <a:pt x="905" y="85"/>
                  </a:lnTo>
                  <a:lnTo>
                    <a:pt x="905" y="85"/>
                  </a:lnTo>
                  <a:lnTo>
                    <a:pt x="928" y="85"/>
                  </a:lnTo>
                  <a:lnTo>
                    <a:pt x="928" y="85"/>
                  </a:lnTo>
                  <a:lnTo>
                    <a:pt x="1005" y="85"/>
                  </a:lnTo>
                  <a:lnTo>
                    <a:pt x="1005" y="85"/>
                  </a:lnTo>
                  <a:lnTo>
                    <a:pt x="1020" y="85"/>
                  </a:lnTo>
                  <a:lnTo>
                    <a:pt x="1020" y="85"/>
                  </a:lnTo>
                  <a:lnTo>
                    <a:pt x="1028" y="85"/>
                  </a:lnTo>
                  <a:lnTo>
                    <a:pt x="1028" y="85"/>
                  </a:lnTo>
                  <a:lnTo>
                    <a:pt x="1028" y="85"/>
                  </a:lnTo>
                  <a:lnTo>
                    <a:pt x="1028" y="85"/>
                  </a:lnTo>
                  <a:lnTo>
                    <a:pt x="1043" y="85"/>
                  </a:lnTo>
                  <a:lnTo>
                    <a:pt x="1043" y="85"/>
                  </a:lnTo>
                  <a:lnTo>
                    <a:pt x="1074" y="85"/>
                  </a:lnTo>
                  <a:lnTo>
                    <a:pt x="1074" y="85"/>
                  </a:lnTo>
                  <a:lnTo>
                    <a:pt x="1082" y="85"/>
                  </a:lnTo>
                  <a:lnTo>
                    <a:pt x="1082" y="85"/>
                  </a:lnTo>
                  <a:lnTo>
                    <a:pt x="1105" y="85"/>
                  </a:lnTo>
                  <a:lnTo>
                    <a:pt x="1105" y="85"/>
                  </a:lnTo>
                  <a:lnTo>
                    <a:pt x="1159" y="85"/>
                  </a:lnTo>
                  <a:lnTo>
                    <a:pt x="1159" y="85"/>
                  </a:lnTo>
                  <a:lnTo>
                    <a:pt x="1166" y="85"/>
                  </a:lnTo>
                  <a:lnTo>
                    <a:pt x="1166" y="85"/>
                  </a:lnTo>
                  <a:lnTo>
                    <a:pt x="1197" y="85"/>
                  </a:lnTo>
                  <a:lnTo>
                    <a:pt x="1197" y="85"/>
                  </a:lnTo>
                  <a:lnTo>
                    <a:pt x="1235" y="85"/>
                  </a:lnTo>
                  <a:lnTo>
                    <a:pt x="1235" y="85"/>
                  </a:lnTo>
                  <a:lnTo>
                    <a:pt x="1289" y="85"/>
                  </a:lnTo>
                  <a:lnTo>
                    <a:pt x="1289" y="85"/>
                  </a:lnTo>
                  <a:lnTo>
                    <a:pt x="1304" y="85"/>
                  </a:lnTo>
                  <a:lnTo>
                    <a:pt x="1304" y="85"/>
                  </a:lnTo>
                  <a:lnTo>
                    <a:pt x="1335" y="85"/>
                  </a:lnTo>
                  <a:lnTo>
                    <a:pt x="1335" y="85"/>
                  </a:lnTo>
                  <a:lnTo>
                    <a:pt x="1358" y="85"/>
                  </a:lnTo>
                  <a:lnTo>
                    <a:pt x="1358" y="85"/>
                  </a:lnTo>
                  <a:lnTo>
                    <a:pt x="1358" y="85"/>
                  </a:lnTo>
                  <a:lnTo>
                    <a:pt x="1358" y="85"/>
                  </a:lnTo>
                  <a:lnTo>
                    <a:pt x="1404" y="85"/>
                  </a:lnTo>
                  <a:lnTo>
                    <a:pt x="1404" y="85"/>
                  </a:lnTo>
                  <a:lnTo>
                    <a:pt x="1412" y="85"/>
                  </a:lnTo>
                  <a:lnTo>
                    <a:pt x="1412" y="85"/>
                  </a:lnTo>
                  <a:lnTo>
                    <a:pt x="1419" y="85"/>
                  </a:lnTo>
                  <a:lnTo>
                    <a:pt x="1419" y="77"/>
                  </a:lnTo>
                  <a:lnTo>
                    <a:pt x="1442" y="77"/>
                  </a:lnTo>
                  <a:lnTo>
                    <a:pt x="1442" y="77"/>
                  </a:lnTo>
                  <a:lnTo>
                    <a:pt x="1458" y="77"/>
                  </a:lnTo>
                  <a:lnTo>
                    <a:pt x="1458" y="77"/>
                  </a:lnTo>
                  <a:lnTo>
                    <a:pt x="1458" y="77"/>
                  </a:lnTo>
                  <a:lnTo>
                    <a:pt x="1458" y="77"/>
                  </a:lnTo>
                  <a:lnTo>
                    <a:pt x="1511" y="77"/>
                  </a:lnTo>
                  <a:lnTo>
                    <a:pt x="1511" y="77"/>
                  </a:lnTo>
                  <a:lnTo>
                    <a:pt x="1519" y="77"/>
                  </a:lnTo>
                  <a:lnTo>
                    <a:pt x="1519" y="77"/>
                  </a:lnTo>
                  <a:lnTo>
                    <a:pt x="1542" y="77"/>
                  </a:lnTo>
                  <a:lnTo>
                    <a:pt x="1542" y="77"/>
                  </a:lnTo>
                  <a:lnTo>
                    <a:pt x="1550" y="77"/>
                  </a:lnTo>
                  <a:lnTo>
                    <a:pt x="1550" y="77"/>
                  </a:lnTo>
                  <a:lnTo>
                    <a:pt x="1603" y="77"/>
                  </a:lnTo>
                  <a:lnTo>
                    <a:pt x="1603" y="77"/>
                  </a:lnTo>
                  <a:lnTo>
                    <a:pt x="1611" y="77"/>
                  </a:lnTo>
                  <a:lnTo>
                    <a:pt x="1611" y="77"/>
                  </a:lnTo>
                  <a:lnTo>
                    <a:pt x="1611" y="77"/>
                  </a:lnTo>
                  <a:lnTo>
                    <a:pt x="1611" y="77"/>
                  </a:lnTo>
                  <a:lnTo>
                    <a:pt x="1649" y="77"/>
                  </a:lnTo>
                  <a:lnTo>
                    <a:pt x="1649" y="77"/>
                  </a:lnTo>
                  <a:lnTo>
                    <a:pt x="1657" y="77"/>
                  </a:lnTo>
                  <a:lnTo>
                    <a:pt x="1657" y="77"/>
                  </a:lnTo>
                  <a:lnTo>
                    <a:pt x="1688" y="77"/>
                  </a:lnTo>
                  <a:lnTo>
                    <a:pt x="1688" y="77"/>
                  </a:lnTo>
                  <a:lnTo>
                    <a:pt x="1695" y="77"/>
                  </a:lnTo>
                  <a:lnTo>
                    <a:pt x="1695" y="77"/>
                  </a:lnTo>
                  <a:lnTo>
                    <a:pt x="1711" y="77"/>
                  </a:lnTo>
                  <a:lnTo>
                    <a:pt x="1711" y="77"/>
                  </a:lnTo>
                  <a:lnTo>
                    <a:pt x="1726" y="77"/>
                  </a:lnTo>
                  <a:lnTo>
                    <a:pt x="1726" y="69"/>
                  </a:lnTo>
                  <a:lnTo>
                    <a:pt x="1765" y="69"/>
                  </a:lnTo>
                  <a:lnTo>
                    <a:pt x="1765" y="69"/>
                  </a:lnTo>
                  <a:lnTo>
                    <a:pt x="1788" y="69"/>
                  </a:lnTo>
                  <a:lnTo>
                    <a:pt x="1788" y="69"/>
                  </a:lnTo>
                  <a:lnTo>
                    <a:pt x="1795" y="69"/>
                  </a:lnTo>
                  <a:lnTo>
                    <a:pt x="1795" y="69"/>
                  </a:lnTo>
                  <a:lnTo>
                    <a:pt x="1811" y="69"/>
                  </a:lnTo>
                  <a:lnTo>
                    <a:pt x="1811" y="69"/>
                  </a:lnTo>
                  <a:lnTo>
                    <a:pt x="1811" y="69"/>
                  </a:lnTo>
                  <a:lnTo>
                    <a:pt x="1811" y="69"/>
                  </a:lnTo>
                  <a:lnTo>
                    <a:pt x="1818" y="69"/>
                  </a:lnTo>
                  <a:lnTo>
                    <a:pt x="1818" y="69"/>
                  </a:lnTo>
                  <a:lnTo>
                    <a:pt x="1826" y="69"/>
                  </a:lnTo>
                  <a:lnTo>
                    <a:pt x="1826" y="69"/>
                  </a:lnTo>
                  <a:lnTo>
                    <a:pt x="1834" y="69"/>
                  </a:lnTo>
                  <a:lnTo>
                    <a:pt x="1834" y="69"/>
                  </a:lnTo>
                  <a:lnTo>
                    <a:pt x="1864" y="69"/>
                  </a:lnTo>
                  <a:lnTo>
                    <a:pt x="1864" y="69"/>
                  </a:lnTo>
                  <a:lnTo>
                    <a:pt x="1903" y="69"/>
                  </a:lnTo>
                  <a:lnTo>
                    <a:pt x="1903" y="69"/>
                  </a:lnTo>
                  <a:lnTo>
                    <a:pt x="1910" y="69"/>
                  </a:lnTo>
                  <a:lnTo>
                    <a:pt x="1910" y="69"/>
                  </a:lnTo>
                  <a:lnTo>
                    <a:pt x="1933" y="69"/>
                  </a:lnTo>
                  <a:lnTo>
                    <a:pt x="1933" y="62"/>
                  </a:lnTo>
                  <a:lnTo>
                    <a:pt x="1941" y="62"/>
                  </a:lnTo>
                  <a:lnTo>
                    <a:pt x="1941" y="62"/>
                  </a:lnTo>
                  <a:lnTo>
                    <a:pt x="1949" y="62"/>
                  </a:lnTo>
                  <a:lnTo>
                    <a:pt x="1949" y="62"/>
                  </a:lnTo>
                  <a:lnTo>
                    <a:pt x="1964" y="62"/>
                  </a:lnTo>
                  <a:lnTo>
                    <a:pt x="1964" y="62"/>
                  </a:lnTo>
                  <a:lnTo>
                    <a:pt x="1979" y="62"/>
                  </a:lnTo>
                  <a:lnTo>
                    <a:pt x="1979" y="62"/>
                  </a:lnTo>
                  <a:lnTo>
                    <a:pt x="1987" y="62"/>
                  </a:lnTo>
                  <a:lnTo>
                    <a:pt x="1987" y="62"/>
                  </a:lnTo>
                  <a:lnTo>
                    <a:pt x="1995" y="62"/>
                  </a:lnTo>
                  <a:lnTo>
                    <a:pt x="1995" y="62"/>
                  </a:lnTo>
                  <a:lnTo>
                    <a:pt x="2010" y="62"/>
                  </a:lnTo>
                  <a:lnTo>
                    <a:pt x="2010" y="62"/>
                  </a:lnTo>
                  <a:lnTo>
                    <a:pt x="2018" y="62"/>
                  </a:lnTo>
                  <a:lnTo>
                    <a:pt x="2018" y="62"/>
                  </a:lnTo>
                  <a:lnTo>
                    <a:pt x="2025" y="62"/>
                  </a:lnTo>
                  <a:lnTo>
                    <a:pt x="2025" y="62"/>
                  </a:lnTo>
                  <a:lnTo>
                    <a:pt x="2033" y="62"/>
                  </a:lnTo>
                  <a:lnTo>
                    <a:pt x="2033" y="62"/>
                  </a:lnTo>
                  <a:lnTo>
                    <a:pt x="2041" y="62"/>
                  </a:lnTo>
                  <a:lnTo>
                    <a:pt x="2041" y="62"/>
                  </a:lnTo>
                  <a:lnTo>
                    <a:pt x="2041" y="62"/>
                  </a:lnTo>
                  <a:lnTo>
                    <a:pt x="2041" y="62"/>
                  </a:lnTo>
                  <a:lnTo>
                    <a:pt x="2064" y="62"/>
                  </a:lnTo>
                  <a:lnTo>
                    <a:pt x="2064" y="62"/>
                  </a:lnTo>
                  <a:lnTo>
                    <a:pt x="2087" y="62"/>
                  </a:lnTo>
                  <a:lnTo>
                    <a:pt x="2087" y="62"/>
                  </a:lnTo>
                  <a:lnTo>
                    <a:pt x="2094" y="62"/>
                  </a:lnTo>
                  <a:lnTo>
                    <a:pt x="2094" y="62"/>
                  </a:lnTo>
                  <a:lnTo>
                    <a:pt x="2102" y="62"/>
                  </a:lnTo>
                  <a:lnTo>
                    <a:pt x="2102" y="62"/>
                  </a:lnTo>
                  <a:lnTo>
                    <a:pt x="2117" y="62"/>
                  </a:lnTo>
                  <a:lnTo>
                    <a:pt x="2117" y="62"/>
                  </a:lnTo>
                  <a:lnTo>
                    <a:pt x="2117" y="62"/>
                  </a:lnTo>
                  <a:lnTo>
                    <a:pt x="2117" y="62"/>
                  </a:lnTo>
                  <a:lnTo>
                    <a:pt x="2125" y="62"/>
                  </a:lnTo>
                  <a:lnTo>
                    <a:pt x="2125" y="62"/>
                  </a:lnTo>
                  <a:lnTo>
                    <a:pt x="2140" y="62"/>
                  </a:lnTo>
                  <a:lnTo>
                    <a:pt x="2140" y="62"/>
                  </a:lnTo>
                  <a:lnTo>
                    <a:pt x="2140" y="62"/>
                  </a:lnTo>
                  <a:lnTo>
                    <a:pt x="2140" y="62"/>
                  </a:lnTo>
                  <a:lnTo>
                    <a:pt x="2148" y="62"/>
                  </a:lnTo>
                  <a:lnTo>
                    <a:pt x="2148" y="62"/>
                  </a:lnTo>
                  <a:lnTo>
                    <a:pt x="2156" y="62"/>
                  </a:lnTo>
                  <a:lnTo>
                    <a:pt x="2156" y="62"/>
                  </a:lnTo>
                  <a:lnTo>
                    <a:pt x="2163" y="62"/>
                  </a:lnTo>
                  <a:lnTo>
                    <a:pt x="2163" y="62"/>
                  </a:lnTo>
                  <a:lnTo>
                    <a:pt x="2163" y="62"/>
                  </a:lnTo>
                  <a:lnTo>
                    <a:pt x="2163" y="62"/>
                  </a:lnTo>
                  <a:lnTo>
                    <a:pt x="2171" y="62"/>
                  </a:lnTo>
                  <a:lnTo>
                    <a:pt x="2171" y="62"/>
                  </a:lnTo>
                  <a:lnTo>
                    <a:pt x="2179" y="62"/>
                  </a:lnTo>
                  <a:lnTo>
                    <a:pt x="2179" y="62"/>
                  </a:lnTo>
                  <a:lnTo>
                    <a:pt x="2186" y="62"/>
                  </a:lnTo>
                  <a:lnTo>
                    <a:pt x="2186" y="62"/>
                  </a:lnTo>
                  <a:lnTo>
                    <a:pt x="2186" y="62"/>
                  </a:lnTo>
                  <a:lnTo>
                    <a:pt x="2186" y="62"/>
                  </a:lnTo>
                  <a:lnTo>
                    <a:pt x="2194" y="62"/>
                  </a:lnTo>
                  <a:lnTo>
                    <a:pt x="2194" y="62"/>
                  </a:lnTo>
                  <a:lnTo>
                    <a:pt x="2202" y="62"/>
                  </a:lnTo>
                  <a:lnTo>
                    <a:pt x="2202" y="62"/>
                  </a:lnTo>
                  <a:lnTo>
                    <a:pt x="2209" y="62"/>
                  </a:lnTo>
                  <a:lnTo>
                    <a:pt x="2209" y="62"/>
                  </a:lnTo>
                  <a:lnTo>
                    <a:pt x="2217" y="62"/>
                  </a:lnTo>
                  <a:lnTo>
                    <a:pt x="2217" y="62"/>
                  </a:lnTo>
                  <a:lnTo>
                    <a:pt x="2217" y="62"/>
                  </a:lnTo>
                  <a:lnTo>
                    <a:pt x="2217" y="62"/>
                  </a:lnTo>
                  <a:lnTo>
                    <a:pt x="2225" y="62"/>
                  </a:lnTo>
                  <a:lnTo>
                    <a:pt x="2225" y="62"/>
                  </a:lnTo>
                  <a:lnTo>
                    <a:pt x="2232" y="62"/>
                  </a:lnTo>
                  <a:lnTo>
                    <a:pt x="2232" y="62"/>
                  </a:lnTo>
                  <a:lnTo>
                    <a:pt x="2240" y="62"/>
                  </a:lnTo>
                  <a:lnTo>
                    <a:pt x="2240" y="62"/>
                  </a:lnTo>
                  <a:lnTo>
                    <a:pt x="2240" y="62"/>
                  </a:lnTo>
                  <a:lnTo>
                    <a:pt x="2240" y="62"/>
                  </a:lnTo>
                  <a:lnTo>
                    <a:pt x="2248" y="62"/>
                  </a:lnTo>
                  <a:lnTo>
                    <a:pt x="2248" y="54"/>
                  </a:lnTo>
                  <a:lnTo>
                    <a:pt x="2263" y="54"/>
                  </a:lnTo>
                  <a:lnTo>
                    <a:pt x="2263" y="54"/>
                  </a:lnTo>
                  <a:lnTo>
                    <a:pt x="2263" y="54"/>
                  </a:lnTo>
                  <a:lnTo>
                    <a:pt x="2263" y="54"/>
                  </a:lnTo>
                  <a:lnTo>
                    <a:pt x="2271" y="54"/>
                  </a:lnTo>
                  <a:lnTo>
                    <a:pt x="2271" y="54"/>
                  </a:lnTo>
                  <a:lnTo>
                    <a:pt x="2278" y="54"/>
                  </a:lnTo>
                  <a:lnTo>
                    <a:pt x="2278" y="54"/>
                  </a:lnTo>
                  <a:lnTo>
                    <a:pt x="2286" y="54"/>
                  </a:lnTo>
                  <a:lnTo>
                    <a:pt x="2286" y="54"/>
                  </a:lnTo>
                  <a:lnTo>
                    <a:pt x="2294" y="54"/>
                  </a:lnTo>
                  <a:lnTo>
                    <a:pt x="2294" y="54"/>
                  </a:lnTo>
                  <a:lnTo>
                    <a:pt x="2294" y="54"/>
                  </a:lnTo>
                  <a:lnTo>
                    <a:pt x="2294" y="54"/>
                  </a:lnTo>
                  <a:lnTo>
                    <a:pt x="2301" y="54"/>
                  </a:lnTo>
                  <a:lnTo>
                    <a:pt x="2301" y="54"/>
                  </a:lnTo>
                  <a:lnTo>
                    <a:pt x="2309" y="54"/>
                  </a:lnTo>
                  <a:lnTo>
                    <a:pt x="2309" y="54"/>
                  </a:lnTo>
                  <a:lnTo>
                    <a:pt x="2317" y="54"/>
                  </a:lnTo>
                  <a:lnTo>
                    <a:pt x="2317" y="54"/>
                  </a:lnTo>
                  <a:lnTo>
                    <a:pt x="2317" y="54"/>
                  </a:lnTo>
                  <a:lnTo>
                    <a:pt x="2317" y="54"/>
                  </a:lnTo>
                  <a:lnTo>
                    <a:pt x="2332" y="54"/>
                  </a:lnTo>
                  <a:lnTo>
                    <a:pt x="2332" y="54"/>
                  </a:lnTo>
                  <a:lnTo>
                    <a:pt x="2340" y="54"/>
                  </a:lnTo>
                  <a:lnTo>
                    <a:pt x="2340" y="54"/>
                  </a:lnTo>
                  <a:lnTo>
                    <a:pt x="2340" y="54"/>
                  </a:lnTo>
                  <a:lnTo>
                    <a:pt x="2340" y="54"/>
                  </a:lnTo>
                  <a:lnTo>
                    <a:pt x="2347" y="54"/>
                  </a:lnTo>
                  <a:lnTo>
                    <a:pt x="2347" y="54"/>
                  </a:lnTo>
                  <a:lnTo>
                    <a:pt x="2355" y="54"/>
                  </a:lnTo>
                  <a:lnTo>
                    <a:pt x="2355" y="54"/>
                  </a:lnTo>
                  <a:lnTo>
                    <a:pt x="2363" y="54"/>
                  </a:lnTo>
                  <a:lnTo>
                    <a:pt x="2363" y="54"/>
                  </a:lnTo>
                  <a:lnTo>
                    <a:pt x="2378" y="54"/>
                  </a:lnTo>
                  <a:lnTo>
                    <a:pt x="2378" y="54"/>
                  </a:lnTo>
                  <a:lnTo>
                    <a:pt x="2386" y="54"/>
                  </a:lnTo>
                  <a:lnTo>
                    <a:pt x="2386" y="54"/>
                  </a:lnTo>
                  <a:lnTo>
                    <a:pt x="2394" y="54"/>
                  </a:lnTo>
                  <a:lnTo>
                    <a:pt x="2394" y="54"/>
                  </a:lnTo>
                  <a:lnTo>
                    <a:pt x="2394" y="54"/>
                  </a:lnTo>
                  <a:lnTo>
                    <a:pt x="2394" y="54"/>
                  </a:lnTo>
                  <a:lnTo>
                    <a:pt x="2401" y="54"/>
                  </a:lnTo>
                  <a:lnTo>
                    <a:pt x="2401" y="54"/>
                  </a:lnTo>
                  <a:lnTo>
                    <a:pt x="2409" y="54"/>
                  </a:lnTo>
                  <a:lnTo>
                    <a:pt x="2409" y="54"/>
                  </a:lnTo>
                  <a:lnTo>
                    <a:pt x="2417" y="54"/>
                  </a:lnTo>
                  <a:lnTo>
                    <a:pt x="2417" y="54"/>
                  </a:lnTo>
                  <a:lnTo>
                    <a:pt x="2417" y="54"/>
                  </a:lnTo>
                  <a:lnTo>
                    <a:pt x="2417" y="54"/>
                  </a:lnTo>
                  <a:lnTo>
                    <a:pt x="2424" y="54"/>
                  </a:lnTo>
                  <a:lnTo>
                    <a:pt x="2424" y="54"/>
                  </a:lnTo>
                  <a:lnTo>
                    <a:pt x="2432" y="54"/>
                  </a:lnTo>
                  <a:lnTo>
                    <a:pt x="2432" y="54"/>
                  </a:lnTo>
                  <a:lnTo>
                    <a:pt x="2440" y="54"/>
                  </a:lnTo>
                  <a:lnTo>
                    <a:pt x="2440" y="54"/>
                  </a:lnTo>
                  <a:lnTo>
                    <a:pt x="2440" y="54"/>
                  </a:lnTo>
                  <a:lnTo>
                    <a:pt x="2440" y="54"/>
                  </a:lnTo>
                  <a:lnTo>
                    <a:pt x="2447" y="54"/>
                  </a:lnTo>
                  <a:lnTo>
                    <a:pt x="2447" y="54"/>
                  </a:lnTo>
                  <a:lnTo>
                    <a:pt x="2455" y="54"/>
                  </a:lnTo>
                  <a:lnTo>
                    <a:pt x="2455" y="54"/>
                  </a:lnTo>
                  <a:lnTo>
                    <a:pt x="2463" y="54"/>
                  </a:lnTo>
                  <a:lnTo>
                    <a:pt x="2463" y="54"/>
                  </a:lnTo>
                  <a:lnTo>
                    <a:pt x="2470" y="54"/>
                  </a:lnTo>
                  <a:lnTo>
                    <a:pt x="2470" y="54"/>
                  </a:lnTo>
                  <a:lnTo>
                    <a:pt x="2470" y="54"/>
                  </a:lnTo>
                  <a:lnTo>
                    <a:pt x="2470" y="54"/>
                  </a:lnTo>
                  <a:lnTo>
                    <a:pt x="2478" y="54"/>
                  </a:lnTo>
                  <a:lnTo>
                    <a:pt x="2478" y="54"/>
                  </a:lnTo>
                  <a:lnTo>
                    <a:pt x="2486" y="54"/>
                  </a:lnTo>
                  <a:lnTo>
                    <a:pt x="2486" y="54"/>
                  </a:lnTo>
                  <a:lnTo>
                    <a:pt x="2493" y="54"/>
                  </a:lnTo>
                  <a:lnTo>
                    <a:pt x="2493" y="54"/>
                  </a:lnTo>
                  <a:lnTo>
                    <a:pt x="2493" y="54"/>
                  </a:lnTo>
                  <a:lnTo>
                    <a:pt x="2493" y="54"/>
                  </a:lnTo>
                  <a:lnTo>
                    <a:pt x="2501" y="54"/>
                  </a:lnTo>
                  <a:lnTo>
                    <a:pt x="2501" y="54"/>
                  </a:lnTo>
                  <a:lnTo>
                    <a:pt x="2509" y="54"/>
                  </a:lnTo>
                  <a:lnTo>
                    <a:pt x="2509" y="54"/>
                  </a:lnTo>
                  <a:lnTo>
                    <a:pt x="2516" y="54"/>
                  </a:lnTo>
                  <a:lnTo>
                    <a:pt x="2516" y="54"/>
                  </a:lnTo>
                  <a:lnTo>
                    <a:pt x="2516" y="54"/>
                  </a:lnTo>
                  <a:lnTo>
                    <a:pt x="2516" y="54"/>
                  </a:lnTo>
                  <a:lnTo>
                    <a:pt x="2524" y="54"/>
                  </a:lnTo>
                  <a:lnTo>
                    <a:pt x="2524" y="54"/>
                  </a:lnTo>
                  <a:lnTo>
                    <a:pt x="2532" y="54"/>
                  </a:lnTo>
                  <a:lnTo>
                    <a:pt x="2532" y="54"/>
                  </a:lnTo>
                  <a:lnTo>
                    <a:pt x="2539" y="54"/>
                  </a:lnTo>
                  <a:lnTo>
                    <a:pt x="2539" y="54"/>
                  </a:lnTo>
                  <a:lnTo>
                    <a:pt x="2539" y="54"/>
                  </a:lnTo>
                  <a:lnTo>
                    <a:pt x="2539" y="54"/>
                  </a:lnTo>
                  <a:lnTo>
                    <a:pt x="2547" y="54"/>
                  </a:lnTo>
                  <a:lnTo>
                    <a:pt x="2547" y="54"/>
                  </a:lnTo>
                  <a:lnTo>
                    <a:pt x="2555" y="54"/>
                  </a:lnTo>
                  <a:lnTo>
                    <a:pt x="2555" y="54"/>
                  </a:lnTo>
                  <a:lnTo>
                    <a:pt x="2562" y="54"/>
                  </a:lnTo>
                  <a:lnTo>
                    <a:pt x="2562" y="54"/>
                  </a:lnTo>
                  <a:lnTo>
                    <a:pt x="2570" y="54"/>
                  </a:lnTo>
                  <a:lnTo>
                    <a:pt x="2570" y="54"/>
                  </a:lnTo>
                  <a:lnTo>
                    <a:pt x="2570" y="54"/>
                  </a:lnTo>
                  <a:lnTo>
                    <a:pt x="2570" y="54"/>
                  </a:lnTo>
                  <a:lnTo>
                    <a:pt x="2578" y="54"/>
                  </a:lnTo>
                  <a:lnTo>
                    <a:pt x="2578" y="54"/>
                  </a:lnTo>
                  <a:lnTo>
                    <a:pt x="2585" y="54"/>
                  </a:lnTo>
                  <a:lnTo>
                    <a:pt x="2585" y="54"/>
                  </a:lnTo>
                  <a:lnTo>
                    <a:pt x="2593" y="54"/>
                  </a:lnTo>
                  <a:lnTo>
                    <a:pt x="2593" y="54"/>
                  </a:lnTo>
                  <a:lnTo>
                    <a:pt x="2593" y="54"/>
                  </a:lnTo>
                  <a:lnTo>
                    <a:pt x="2593" y="54"/>
                  </a:lnTo>
                  <a:lnTo>
                    <a:pt x="2601" y="54"/>
                  </a:lnTo>
                  <a:lnTo>
                    <a:pt x="2601" y="54"/>
                  </a:lnTo>
                  <a:lnTo>
                    <a:pt x="2608" y="54"/>
                  </a:lnTo>
                  <a:lnTo>
                    <a:pt x="2608" y="54"/>
                  </a:lnTo>
                  <a:lnTo>
                    <a:pt x="2616" y="54"/>
                  </a:lnTo>
                  <a:lnTo>
                    <a:pt x="2616" y="54"/>
                  </a:lnTo>
                  <a:lnTo>
                    <a:pt x="2616" y="54"/>
                  </a:lnTo>
                  <a:lnTo>
                    <a:pt x="2616" y="54"/>
                  </a:lnTo>
                  <a:lnTo>
                    <a:pt x="2624" y="54"/>
                  </a:lnTo>
                  <a:lnTo>
                    <a:pt x="2624" y="54"/>
                  </a:lnTo>
                  <a:lnTo>
                    <a:pt x="2631" y="54"/>
                  </a:lnTo>
                  <a:lnTo>
                    <a:pt x="2631" y="54"/>
                  </a:lnTo>
                  <a:lnTo>
                    <a:pt x="2639" y="54"/>
                  </a:lnTo>
                  <a:lnTo>
                    <a:pt x="2639" y="54"/>
                  </a:lnTo>
                  <a:lnTo>
                    <a:pt x="2639" y="54"/>
                  </a:lnTo>
                  <a:lnTo>
                    <a:pt x="2639" y="54"/>
                  </a:lnTo>
                  <a:lnTo>
                    <a:pt x="2647" y="54"/>
                  </a:lnTo>
                  <a:lnTo>
                    <a:pt x="2647" y="54"/>
                  </a:lnTo>
                  <a:lnTo>
                    <a:pt x="2654" y="54"/>
                  </a:lnTo>
                  <a:lnTo>
                    <a:pt x="2654" y="54"/>
                  </a:lnTo>
                  <a:lnTo>
                    <a:pt x="2662" y="54"/>
                  </a:lnTo>
                  <a:lnTo>
                    <a:pt x="2662" y="54"/>
                  </a:lnTo>
                  <a:lnTo>
                    <a:pt x="2670" y="54"/>
                  </a:lnTo>
                  <a:lnTo>
                    <a:pt x="2670" y="54"/>
                  </a:lnTo>
                  <a:lnTo>
                    <a:pt x="2670" y="54"/>
                  </a:lnTo>
                  <a:lnTo>
                    <a:pt x="2670" y="54"/>
                  </a:lnTo>
                  <a:lnTo>
                    <a:pt x="2677" y="54"/>
                  </a:lnTo>
                  <a:lnTo>
                    <a:pt x="2677" y="54"/>
                  </a:lnTo>
                  <a:lnTo>
                    <a:pt x="2685" y="54"/>
                  </a:lnTo>
                  <a:lnTo>
                    <a:pt x="2685" y="54"/>
                  </a:lnTo>
                  <a:lnTo>
                    <a:pt x="2693" y="54"/>
                  </a:lnTo>
                  <a:lnTo>
                    <a:pt x="2693" y="54"/>
                  </a:lnTo>
                  <a:lnTo>
                    <a:pt x="2693" y="54"/>
                  </a:lnTo>
                  <a:lnTo>
                    <a:pt x="2693" y="54"/>
                  </a:lnTo>
                  <a:lnTo>
                    <a:pt x="2700" y="54"/>
                  </a:lnTo>
                  <a:lnTo>
                    <a:pt x="2700" y="54"/>
                  </a:lnTo>
                  <a:lnTo>
                    <a:pt x="2708" y="54"/>
                  </a:lnTo>
                  <a:lnTo>
                    <a:pt x="2708" y="54"/>
                  </a:lnTo>
                  <a:lnTo>
                    <a:pt x="2716" y="54"/>
                  </a:lnTo>
                  <a:lnTo>
                    <a:pt x="2716" y="54"/>
                  </a:lnTo>
                  <a:lnTo>
                    <a:pt x="2716" y="54"/>
                  </a:lnTo>
                  <a:lnTo>
                    <a:pt x="2716" y="54"/>
                  </a:lnTo>
                  <a:lnTo>
                    <a:pt x="2723" y="54"/>
                  </a:lnTo>
                  <a:lnTo>
                    <a:pt x="2723" y="54"/>
                  </a:lnTo>
                  <a:lnTo>
                    <a:pt x="2731" y="54"/>
                  </a:lnTo>
                  <a:lnTo>
                    <a:pt x="2731" y="54"/>
                  </a:lnTo>
                  <a:lnTo>
                    <a:pt x="2739" y="54"/>
                  </a:lnTo>
                  <a:lnTo>
                    <a:pt x="2739" y="54"/>
                  </a:lnTo>
                  <a:lnTo>
                    <a:pt x="2746" y="54"/>
                  </a:lnTo>
                  <a:lnTo>
                    <a:pt x="2746" y="54"/>
                  </a:lnTo>
                  <a:lnTo>
                    <a:pt x="2746" y="54"/>
                  </a:lnTo>
                  <a:lnTo>
                    <a:pt x="2746" y="54"/>
                  </a:lnTo>
                  <a:lnTo>
                    <a:pt x="2754" y="54"/>
                  </a:lnTo>
                  <a:lnTo>
                    <a:pt x="2754" y="54"/>
                  </a:lnTo>
                  <a:lnTo>
                    <a:pt x="2762" y="54"/>
                  </a:lnTo>
                  <a:lnTo>
                    <a:pt x="2762" y="54"/>
                  </a:lnTo>
                  <a:lnTo>
                    <a:pt x="2769" y="54"/>
                  </a:lnTo>
                  <a:lnTo>
                    <a:pt x="2769" y="54"/>
                  </a:lnTo>
                  <a:lnTo>
                    <a:pt x="2769" y="54"/>
                  </a:lnTo>
                  <a:lnTo>
                    <a:pt x="2769" y="54"/>
                  </a:lnTo>
                  <a:lnTo>
                    <a:pt x="2777" y="54"/>
                  </a:lnTo>
                  <a:lnTo>
                    <a:pt x="2777" y="54"/>
                  </a:lnTo>
                  <a:lnTo>
                    <a:pt x="2785" y="54"/>
                  </a:lnTo>
                  <a:lnTo>
                    <a:pt x="2785" y="54"/>
                  </a:lnTo>
                  <a:lnTo>
                    <a:pt x="2792" y="54"/>
                  </a:lnTo>
                  <a:lnTo>
                    <a:pt x="2792" y="54"/>
                  </a:lnTo>
                  <a:lnTo>
                    <a:pt x="2792" y="54"/>
                  </a:lnTo>
                  <a:lnTo>
                    <a:pt x="2792" y="54"/>
                  </a:lnTo>
                  <a:lnTo>
                    <a:pt x="2800" y="54"/>
                  </a:lnTo>
                  <a:lnTo>
                    <a:pt x="2800" y="54"/>
                  </a:lnTo>
                  <a:lnTo>
                    <a:pt x="2808" y="54"/>
                  </a:lnTo>
                  <a:lnTo>
                    <a:pt x="2808" y="54"/>
                  </a:lnTo>
                  <a:lnTo>
                    <a:pt x="2815" y="54"/>
                  </a:lnTo>
                  <a:lnTo>
                    <a:pt x="2815" y="54"/>
                  </a:lnTo>
                  <a:lnTo>
                    <a:pt x="2815" y="54"/>
                  </a:lnTo>
                  <a:lnTo>
                    <a:pt x="2815" y="54"/>
                  </a:lnTo>
                  <a:lnTo>
                    <a:pt x="2823" y="54"/>
                  </a:lnTo>
                  <a:lnTo>
                    <a:pt x="2823" y="46"/>
                  </a:lnTo>
                  <a:lnTo>
                    <a:pt x="2831" y="46"/>
                  </a:lnTo>
                  <a:lnTo>
                    <a:pt x="2831" y="46"/>
                  </a:lnTo>
                  <a:lnTo>
                    <a:pt x="2838" y="46"/>
                  </a:lnTo>
                  <a:lnTo>
                    <a:pt x="2838" y="46"/>
                  </a:lnTo>
                  <a:lnTo>
                    <a:pt x="2846" y="46"/>
                  </a:lnTo>
                  <a:lnTo>
                    <a:pt x="2846" y="46"/>
                  </a:lnTo>
                  <a:lnTo>
                    <a:pt x="2846" y="46"/>
                  </a:lnTo>
                  <a:lnTo>
                    <a:pt x="2846" y="46"/>
                  </a:lnTo>
                  <a:lnTo>
                    <a:pt x="2854" y="46"/>
                  </a:lnTo>
                  <a:lnTo>
                    <a:pt x="2854" y="46"/>
                  </a:lnTo>
                  <a:lnTo>
                    <a:pt x="2861" y="46"/>
                  </a:lnTo>
                  <a:lnTo>
                    <a:pt x="2861" y="46"/>
                  </a:lnTo>
                  <a:lnTo>
                    <a:pt x="2869" y="46"/>
                  </a:lnTo>
                  <a:lnTo>
                    <a:pt x="2869" y="46"/>
                  </a:lnTo>
                  <a:lnTo>
                    <a:pt x="2869" y="46"/>
                  </a:lnTo>
                  <a:lnTo>
                    <a:pt x="2869" y="46"/>
                  </a:lnTo>
                  <a:lnTo>
                    <a:pt x="2877" y="46"/>
                  </a:lnTo>
                  <a:lnTo>
                    <a:pt x="2877" y="46"/>
                  </a:lnTo>
                  <a:lnTo>
                    <a:pt x="2884" y="46"/>
                  </a:lnTo>
                  <a:lnTo>
                    <a:pt x="2884" y="46"/>
                  </a:lnTo>
                  <a:lnTo>
                    <a:pt x="2892" y="46"/>
                  </a:lnTo>
                  <a:lnTo>
                    <a:pt x="2892" y="46"/>
                  </a:lnTo>
                  <a:lnTo>
                    <a:pt x="2892" y="46"/>
                  </a:lnTo>
                  <a:lnTo>
                    <a:pt x="2892" y="46"/>
                  </a:lnTo>
                  <a:lnTo>
                    <a:pt x="2900" y="46"/>
                  </a:lnTo>
                  <a:lnTo>
                    <a:pt x="2900" y="46"/>
                  </a:lnTo>
                  <a:lnTo>
                    <a:pt x="2907" y="46"/>
                  </a:lnTo>
                  <a:lnTo>
                    <a:pt x="2907" y="46"/>
                  </a:lnTo>
                  <a:lnTo>
                    <a:pt x="2915" y="46"/>
                  </a:lnTo>
                  <a:lnTo>
                    <a:pt x="2915" y="46"/>
                  </a:lnTo>
                  <a:lnTo>
                    <a:pt x="2923" y="46"/>
                  </a:lnTo>
                  <a:lnTo>
                    <a:pt x="2923" y="46"/>
                  </a:lnTo>
                  <a:lnTo>
                    <a:pt x="2923" y="46"/>
                  </a:lnTo>
                  <a:lnTo>
                    <a:pt x="2923" y="46"/>
                  </a:lnTo>
                  <a:lnTo>
                    <a:pt x="2930" y="46"/>
                  </a:lnTo>
                  <a:lnTo>
                    <a:pt x="2930" y="46"/>
                  </a:lnTo>
                  <a:lnTo>
                    <a:pt x="2938" y="46"/>
                  </a:lnTo>
                  <a:lnTo>
                    <a:pt x="2938" y="46"/>
                  </a:lnTo>
                  <a:lnTo>
                    <a:pt x="2946" y="46"/>
                  </a:lnTo>
                  <a:lnTo>
                    <a:pt x="2946" y="46"/>
                  </a:lnTo>
                  <a:lnTo>
                    <a:pt x="2946" y="46"/>
                  </a:lnTo>
                  <a:lnTo>
                    <a:pt x="2946" y="46"/>
                  </a:lnTo>
                  <a:lnTo>
                    <a:pt x="2953" y="46"/>
                  </a:lnTo>
                  <a:lnTo>
                    <a:pt x="2953" y="46"/>
                  </a:lnTo>
                  <a:lnTo>
                    <a:pt x="2961" y="46"/>
                  </a:lnTo>
                  <a:lnTo>
                    <a:pt x="2961" y="46"/>
                  </a:lnTo>
                  <a:lnTo>
                    <a:pt x="2969" y="46"/>
                  </a:lnTo>
                  <a:lnTo>
                    <a:pt x="2969" y="46"/>
                  </a:lnTo>
                  <a:lnTo>
                    <a:pt x="2969" y="46"/>
                  </a:lnTo>
                  <a:lnTo>
                    <a:pt x="2969" y="46"/>
                  </a:lnTo>
                  <a:lnTo>
                    <a:pt x="2976" y="46"/>
                  </a:lnTo>
                  <a:lnTo>
                    <a:pt x="2976" y="46"/>
                  </a:lnTo>
                  <a:lnTo>
                    <a:pt x="2984" y="46"/>
                  </a:lnTo>
                  <a:lnTo>
                    <a:pt x="2984" y="46"/>
                  </a:lnTo>
                  <a:lnTo>
                    <a:pt x="2992" y="46"/>
                  </a:lnTo>
                  <a:lnTo>
                    <a:pt x="2992" y="46"/>
                  </a:lnTo>
                  <a:lnTo>
                    <a:pt x="2992" y="46"/>
                  </a:lnTo>
                  <a:lnTo>
                    <a:pt x="2992" y="46"/>
                  </a:lnTo>
                  <a:lnTo>
                    <a:pt x="3000" y="46"/>
                  </a:lnTo>
                  <a:lnTo>
                    <a:pt x="3000" y="46"/>
                  </a:lnTo>
                  <a:lnTo>
                    <a:pt x="3007" y="46"/>
                  </a:lnTo>
                  <a:lnTo>
                    <a:pt x="3007" y="46"/>
                  </a:lnTo>
                  <a:lnTo>
                    <a:pt x="3015" y="46"/>
                  </a:lnTo>
                  <a:lnTo>
                    <a:pt x="3015" y="46"/>
                  </a:lnTo>
                  <a:lnTo>
                    <a:pt x="3023" y="46"/>
                  </a:lnTo>
                  <a:lnTo>
                    <a:pt x="3023" y="46"/>
                  </a:lnTo>
                  <a:lnTo>
                    <a:pt x="3023" y="46"/>
                  </a:lnTo>
                  <a:lnTo>
                    <a:pt x="3023" y="46"/>
                  </a:lnTo>
                  <a:lnTo>
                    <a:pt x="3030" y="46"/>
                  </a:lnTo>
                  <a:lnTo>
                    <a:pt x="3030" y="46"/>
                  </a:lnTo>
                  <a:lnTo>
                    <a:pt x="3038" y="46"/>
                  </a:lnTo>
                  <a:lnTo>
                    <a:pt x="3038" y="46"/>
                  </a:lnTo>
                  <a:lnTo>
                    <a:pt x="3046" y="46"/>
                  </a:lnTo>
                  <a:lnTo>
                    <a:pt x="3046" y="46"/>
                  </a:lnTo>
                  <a:lnTo>
                    <a:pt x="3046" y="46"/>
                  </a:lnTo>
                  <a:lnTo>
                    <a:pt x="3046" y="46"/>
                  </a:lnTo>
                  <a:lnTo>
                    <a:pt x="3053" y="46"/>
                  </a:lnTo>
                  <a:lnTo>
                    <a:pt x="3053" y="46"/>
                  </a:lnTo>
                  <a:lnTo>
                    <a:pt x="3061" y="46"/>
                  </a:lnTo>
                  <a:lnTo>
                    <a:pt x="3061" y="46"/>
                  </a:lnTo>
                  <a:lnTo>
                    <a:pt x="3069" y="46"/>
                  </a:lnTo>
                  <a:lnTo>
                    <a:pt x="3069" y="46"/>
                  </a:lnTo>
                  <a:lnTo>
                    <a:pt x="3069" y="46"/>
                  </a:lnTo>
                  <a:lnTo>
                    <a:pt x="3069" y="46"/>
                  </a:lnTo>
                  <a:lnTo>
                    <a:pt x="3076" y="46"/>
                  </a:lnTo>
                  <a:lnTo>
                    <a:pt x="3076" y="46"/>
                  </a:lnTo>
                  <a:lnTo>
                    <a:pt x="3084" y="46"/>
                  </a:lnTo>
                  <a:lnTo>
                    <a:pt x="3084" y="46"/>
                  </a:lnTo>
                  <a:lnTo>
                    <a:pt x="3092" y="46"/>
                  </a:lnTo>
                  <a:lnTo>
                    <a:pt x="3092" y="46"/>
                  </a:lnTo>
                  <a:lnTo>
                    <a:pt x="3099" y="46"/>
                  </a:lnTo>
                  <a:lnTo>
                    <a:pt x="3099" y="46"/>
                  </a:lnTo>
                  <a:lnTo>
                    <a:pt x="3099" y="46"/>
                  </a:lnTo>
                  <a:lnTo>
                    <a:pt x="3099" y="46"/>
                  </a:lnTo>
                  <a:lnTo>
                    <a:pt x="3107" y="46"/>
                  </a:lnTo>
                  <a:lnTo>
                    <a:pt x="3107" y="46"/>
                  </a:lnTo>
                  <a:lnTo>
                    <a:pt x="3115" y="46"/>
                  </a:lnTo>
                  <a:lnTo>
                    <a:pt x="3115" y="46"/>
                  </a:lnTo>
                  <a:lnTo>
                    <a:pt x="3122" y="46"/>
                  </a:lnTo>
                  <a:lnTo>
                    <a:pt x="3122" y="46"/>
                  </a:lnTo>
                  <a:lnTo>
                    <a:pt x="3122" y="46"/>
                  </a:lnTo>
                  <a:lnTo>
                    <a:pt x="3122" y="46"/>
                  </a:lnTo>
                  <a:lnTo>
                    <a:pt x="3130" y="46"/>
                  </a:lnTo>
                  <a:lnTo>
                    <a:pt x="3130" y="46"/>
                  </a:lnTo>
                  <a:lnTo>
                    <a:pt x="3138" y="46"/>
                  </a:lnTo>
                  <a:lnTo>
                    <a:pt x="3138" y="46"/>
                  </a:lnTo>
                  <a:lnTo>
                    <a:pt x="3145" y="46"/>
                  </a:lnTo>
                  <a:lnTo>
                    <a:pt x="3145" y="46"/>
                  </a:lnTo>
                  <a:lnTo>
                    <a:pt x="3145" y="46"/>
                  </a:lnTo>
                  <a:lnTo>
                    <a:pt x="3145" y="46"/>
                  </a:lnTo>
                  <a:lnTo>
                    <a:pt x="3153" y="46"/>
                  </a:lnTo>
                  <a:lnTo>
                    <a:pt x="3153" y="46"/>
                  </a:lnTo>
                  <a:lnTo>
                    <a:pt x="3161" y="46"/>
                  </a:lnTo>
                  <a:lnTo>
                    <a:pt x="3161" y="46"/>
                  </a:lnTo>
                  <a:lnTo>
                    <a:pt x="3168" y="46"/>
                  </a:lnTo>
                  <a:lnTo>
                    <a:pt x="3168" y="46"/>
                  </a:lnTo>
                  <a:lnTo>
                    <a:pt x="3168" y="46"/>
                  </a:lnTo>
                  <a:lnTo>
                    <a:pt x="3168" y="46"/>
                  </a:lnTo>
                  <a:lnTo>
                    <a:pt x="3176" y="46"/>
                  </a:lnTo>
                  <a:lnTo>
                    <a:pt x="3176" y="46"/>
                  </a:lnTo>
                  <a:lnTo>
                    <a:pt x="3184" y="46"/>
                  </a:lnTo>
                  <a:lnTo>
                    <a:pt x="3184" y="39"/>
                  </a:lnTo>
                  <a:lnTo>
                    <a:pt x="3191" y="39"/>
                  </a:lnTo>
                  <a:lnTo>
                    <a:pt x="3191" y="39"/>
                  </a:lnTo>
                  <a:lnTo>
                    <a:pt x="3199" y="39"/>
                  </a:lnTo>
                  <a:lnTo>
                    <a:pt x="3199" y="39"/>
                  </a:lnTo>
                  <a:lnTo>
                    <a:pt x="3199" y="39"/>
                  </a:lnTo>
                  <a:lnTo>
                    <a:pt x="3199" y="39"/>
                  </a:lnTo>
                  <a:lnTo>
                    <a:pt x="3207" y="39"/>
                  </a:lnTo>
                  <a:lnTo>
                    <a:pt x="3207" y="39"/>
                  </a:lnTo>
                  <a:lnTo>
                    <a:pt x="3214" y="39"/>
                  </a:lnTo>
                  <a:lnTo>
                    <a:pt x="3214" y="39"/>
                  </a:lnTo>
                  <a:lnTo>
                    <a:pt x="3222" y="39"/>
                  </a:lnTo>
                  <a:lnTo>
                    <a:pt x="3222" y="39"/>
                  </a:lnTo>
                  <a:lnTo>
                    <a:pt x="3222" y="39"/>
                  </a:lnTo>
                  <a:lnTo>
                    <a:pt x="3222" y="39"/>
                  </a:lnTo>
                  <a:lnTo>
                    <a:pt x="3230" y="39"/>
                  </a:lnTo>
                  <a:lnTo>
                    <a:pt x="3230" y="39"/>
                  </a:lnTo>
                  <a:lnTo>
                    <a:pt x="3237" y="39"/>
                  </a:lnTo>
                  <a:lnTo>
                    <a:pt x="3237" y="39"/>
                  </a:lnTo>
                  <a:lnTo>
                    <a:pt x="3245" y="39"/>
                  </a:lnTo>
                  <a:lnTo>
                    <a:pt x="3245" y="39"/>
                  </a:lnTo>
                  <a:lnTo>
                    <a:pt x="3245" y="39"/>
                  </a:lnTo>
                  <a:lnTo>
                    <a:pt x="3245" y="39"/>
                  </a:lnTo>
                  <a:lnTo>
                    <a:pt x="3253" y="39"/>
                  </a:lnTo>
                  <a:lnTo>
                    <a:pt x="3253" y="39"/>
                  </a:lnTo>
                  <a:lnTo>
                    <a:pt x="3260" y="39"/>
                  </a:lnTo>
                  <a:lnTo>
                    <a:pt x="3260" y="39"/>
                  </a:lnTo>
                  <a:lnTo>
                    <a:pt x="3268" y="39"/>
                  </a:lnTo>
                  <a:lnTo>
                    <a:pt x="3268" y="39"/>
                  </a:lnTo>
                  <a:lnTo>
                    <a:pt x="3276" y="39"/>
                  </a:lnTo>
                  <a:lnTo>
                    <a:pt x="3276" y="39"/>
                  </a:lnTo>
                  <a:lnTo>
                    <a:pt x="3276" y="39"/>
                  </a:lnTo>
                  <a:lnTo>
                    <a:pt x="3276" y="39"/>
                  </a:lnTo>
                  <a:lnTo>
                    <a:pt x="3283" y="39"/>
                  </a:lnTo>
                  <a:lnTo>
                    <a:pt x="3283" y="39"/>
                  </a:lnTo>
                  <a:lnTo>
                    <a:pt x="3291" y="39"/>
                  </a:lnTo>
                  <a:lnTo>
                    <a:pt x="3291" y="39"/>
                  </a:lnTo>
                  <a:lnTo>
                    <a:pt x="3299" y="39"/>
                  </a:lnTo>
                  <a:lnTo>
                    <a:pt x="3299" y="39"/>
                  </a:lnTo>
                  <a:lnTo>
                    <a:pt x="3299" y="39"/>
                  </a:lnTo>
                  <a:lnTo>
                    <a:pt x="3299" y="39"/>
                  </a:lnTo>
                  <a:lnTo>
                    <a:pt x="3306" y="39"/>
                  </a:lnTo>
                  <a:lnTo>
                    <a:pt x="3306" y="39"/>
                  </a:lnTo>
                  <a:lnTo>
                    <a:pt x="3314" y="39"/>
                  </a:lnTo>
                  <a:lnTo>
                    <a:pt x="3314" y="39"/>
                  </a:lnTo>
                  <a:lnTo>
                    <a:pt x="3322" y="39"/>
                  </a:lnTo>
                  <a:lnTo>
                    <a:pt x="3322" y="39"/>
                  </a:lnTo>
                  <a:lnTo>
                    <a:pt x="3322" y="39"/>
                  </a:lnTo>
                  <a:lnTo>
                    <a:pt x="3322" y="39"/>
                  </a:lnTo>
                  <a:lnTo>
                    <a:pt x="3329" y="39"/>
                  </a:lnTo>
                  <a:lnTo>
                    <a:pt x="3329" y="39"/>
                  </a:lnTo>
                  <a:lnTo>
                    <a:pt x="3337" y="39"/>
                  </a:lnTo>
                  <a:lnTo>
                    <a:pt x="3337" y="39"/>
                  </a:lnTo>
                  <a:lnTo>
                    <a:pt x="3345" y="39"/>
                  </a:lnTo>
                  <a:lnTo>
                    <a:pt x="3345" y="39"/>
                  </a:lnTo>
                  <a:lnTo>
                    <a:pt x="3345" y="39"/>
                  </a:lnTo>
                  <a:lnTo>
                    <a:pt x="3345" y="39"/>
                  </a:lnTo>
                  <a:lnTo>
                    <a:pt x="3352" y="39"/>
                  </a:lnTo>
                  <a:lnTo>
                    <a:pt x="3352" y="39"/>
                  </a:lnTo>
                  <a:lnTo>
                    <a:pt x="3360" y="39"/>
                  </a:lnTo>
                  <a:lnTo>
                    <a:pt x="3360" y="39"/>
                  </a:lnTo>
                  <a:lnTo>
                    <a:pt x="3368" y="39"/>
                  </a:lnTo>
                  <a:lnTo>
                    <a:pt x="3368" y="39"/>
                  </a:lnTo>
                  <a:lnTo>
                    <a:pt x="3375" y="39"/>
                  </a:lnTo>
                  <a:lnTo>
                    <a:pt x="3375" y="39"/>
                  </a:lnTo>
                  <a:lnTo>
                    <a:pt x="3375" y="39"/>
                  </a:lnTo>
                  <a:lnTo>
                    <a:pt x="3375" y="39"/>
                  </a:lnTo>
                  <a:lnTo>
                    <a:pt x="3383" y="39"/>
                  </a:lnTo>
                  <a:lnTo>
                    <a:pt x="3383" y="39"/>
                  </a:lnTo>
                  <a:lnTo>
                    <a:pt x="3391" y="39"/>
                  </a:lnTo>
                  <a:lnTo>
                    <a:pt x="3391" y="39"/>
                  </a:lnTo>
                  <a:lnTo>
                    <a:pt x="3398" y="39"/>
                  </a:lnTo>
                  <a:lnTo>
                    <a:pt x="3398" y="39"/>
                  </a:lnTo>
                  <a:lnTo>
                    <a:pt x="3398" y="39"/>
                  </a:lnTo>
                  <a:lnTo>
                    <a:pt x="3398" y="39"/>
                  </a:lnTo>
                  <a:lnTo>
                    <a:pt x="3406" y="39"/>
                  </a:lnTo>
                  <a:lnTo>
                    <a:pt x="3406" y="39"/>
                  </a:lnTo>
                  <a:lnTo>
                    <a:pt x="3414" y="39"/>
                  </a:lnTo>
                  <a:lnTo>
                    <a:pt x="3414" y="39"/>
                  </a:lnTo>
                  <a:lnTo>
                    <a:pt x="3421" y="39"/>
                  </a:lnTo>
                  <a:lnTo>
                    <a:pt x="3421" y="39"/>
                  </a:lnTo>
                  <a:lnTo>
                    <a:pt x="3421" y="39"/>
                  </a:lnTo>
                  <a:lnTo>
                    <a:pt x="3421" y="39"/>
                  </a:lnTo>
                  <a:lnTo>
                    <a:pt x="3429" y="39"/>
                  </a:lnTo>
                  <a:lnTo>
                    <a:pt x="3429" y="39"/>
                  </a:lnTo>
                  <a:lnTo>
                    <a:pt x="3437" y="39"/>
                  </a:lnTo>
                  <a:lnTo>
                    <a:pt x="3437" y="39"/>
                  </a:lnTo>
                  <a:lnTo>
                    <a:pt x="3444" y="39"/>
                  </a:lnTo>
                  <a:lnTo>
                    <a:pt x="3444" y="39"/>
                  </a:lnTo>
                  <a:lnTo>
                    <a:pt x="3444" y="39"/>
                  </a:lnTo>
                  <a:lnTo>
                    <a:pt x="3444" y="39"/>
                  </a:lnTo>
                  <a:lnTo>
                    <a:pt x="3452" y="39"/>
                  </a:lnTo>
                  <a:lnTo>
                    <a:pt x="3452" y="39"/>
                  </a:lnTo>
                  <a:lnTo>
                    <a:pt x="3460" y="39"/>
                  </a:lnTo>
                  <a:lnTo>
                    <a:pt x="3460" y="39"/>
                  </a:lnTo>
                  <a:lnTo>
                    <a:pt x="3467" y="39"/>
                  </a:lnTo>
                  <a:lnTo>
                    <a:pt x="3467" y="39"/>
                  </a:lnTo>
                  <a:lnTo>
                    <a:pt x="3475" y="39"/>
                  </a:lnTo>
                  <a:lnTo>
                    <a:pt x="3475" y="39"/>
                  </a:lnTo>
                  <a:lnTo>
                    <a:pt x="3475" y="39"/>
                  </a:lnTo>
                  <a:lnTo>
                    <a:pt x="3475" y="39"/>
                  </a:lnTo>
                  <a:lnTo>
                    <a:pt x="3483" y="39"/>
                  </a:lnTo>
                  <a:lnTo>
                    <a:pt x="3483" y="39"/>
                  </a:lnTo>
                  <a:lnTo>
                    <a:pt x="3490" y="39"/>
                  </a:lnTo>
                  <a:lnTo>
                    <a:pt x="3490" y="39"/>
                  </a:lnTo>
                  <a:lnTo>
                    <a:pt x="3498" y="39"/>
                  </a:lnTo>
                  <a:lnTo>
                    <a:pt x="3498" y="39"/>
                  </a:lnTo>
                  <a:lnTo>
                    <a:pt x="3498" y="39"/>
                  </a:lnTo>
                  <a:lnTo>
                    <a:pt x="3498" y="39"/>
                  </a:lnTo>
                  <a:lnTo>
                    <a:pt x="3506" y="39"/>
                  </a:lnTo>
                  <a:lnTo>
                    <a:pt x="3506" y="39"/>
                  </a:lnTo>
                  <a:lnTo>
                    <a:pt x="3513" y="39"/>
                  </a:lnTo>
                  <a:lnTo>
                    <a:pt x="3513" y="39"/>
                  </a:lnTo>
                  <a:lnTo>
                    <a:pt x="3521" y="39"/>
                  </a:lnTo>
                  <a:lnTo>
                    <a:pt x="3521" y="39"/>
                  </a:lnTo>
                  <a:lnTo>
                    <a:pt x="3521" y="39"/>
                  </a:lnTo>
                  <a:lnTo>
                    <a:pt x="3521" y="39"/>
                  </a:lnTo>
                  <a:lnTo>
                    <a:pt x="3529" y="39"/>
                  </a:lnTo>
                  <a:lnTo>
                    <a:pt x="3529" y="39"/>
                  </a:lnTo>
                  <a:lnTo>
                    <a:pt x="3536" y="39"/>
                  </a:lnTo>
                  <a:lnTo>
                    <a:pt x="3536" y="39"/>
                  </a:lnTo>
                  <a:lnTo>
                    <a:pt x="3544" y="39"/>
                  </a:lnTo>
                  <a:lnTo>
                    <a:pt x="3544" y="39"/>
                  </a:lnTo>
                  <a:lnTo>
                    <a:pt x="3552" y="39"/>
                  </a:lnTo>
                  <a:lnTo>
                    <a:pt x="3552" y="39"/>
                  </a:lnTo>
                  <a:lnTo>
                    <a:pt x="3552" y="39"/>
                  </a:lnTo>
                  <a:lnTo>
                    <a:pt x="3552" y="39"/>
                  </a:lnTo>
                  <a:lnTo>
                    <a:pt x="3559" y="39"/>
                  </a:lnTo>
                  <a:lnTo>
                    <a:pt x="3559" y="39"/>
                  </a:lnTo>
                  <a:lnTo>
                    <a:pt x="3567" y="39"/>
                  </a:lnTo>
                  <a:lnTo>
                    <a:pt x="3567" y="39"/>
                  </a:lnTo>
                  <a:lnTo>
                    <a:pt x="3575" y="39"/>
                  </a:lnTo>
                  <a:lnTo>
                    <a:pt x="3575" y="39"/>
                  </a:lnTo>
                  <a:lnTo>
                    <a:pt x="3575" y="39"/>
                  </a:lnTo>
                  <a:lnTo>
                    <a:pt x="3575" y="39"/>
                  </a:lnTo>
                  <a:lnTo>
                    <a:pt x="3582" y="39"/>
                  </a:lnTo>
                  <a:lnTo>
                    <a:pt x="3582" y="39"/>
                  </a:lnTo>
                  <a:lnTo>
                    <a:pt x="3590" y="39"/>
                  </a:lnTo>
                  <a:lnTo>
                    <a:pt x="3590" y="39"/>
                  </a:lnTo>
                  <a:lnTo>
                    <a:pt x="3598" y="39"/>
                  </a:lnTo>
                  <a:lnTo>
                    <a:pt x="3598" y="31"/>
                  </a:lnTo>
                  <a:lnTo>
                    <a:pt x="3598" y="31"/>
                  </a:lnTo>
                  <a:lnTo>
                    <a:pt x="3598" y="31"/>
                  </a:lnTo>
                  <a:lnTo>
                    <a:pt x="3606" y="31"/>
                  </a:lnTo>
                  <a:lnTo>
                    <a:pt x="3606" y="31"/>
                  </a:lnTo>
                  <a:lnTo>
                    <a:pt x="3613" y="31"/>
                  </a:lnTo>
                  <a:lnTo>
                    <a:pt x="3613" y="31"/>
                  </a:lnTo>
                  <a:lnTo>
                    <a:pt x="3621" y="31"/>
                  </a:lnTo>
                  <a:lnTo>
                    <a:pt x="3621" y="31"/>
                  </a:lnTo>
                  <a:lnTo>
                    <a:pt x="3621" y="31"/>
                  </a:lnTo>
                  <a:lnTo>
                    <a:pt x="3621" y="31"/>
                  </a:lnTo>
                  <a:lnTo>
                    <a:pt x="3629" y="31"/>
                  </a:lnTo>
                  <a:lnTo>
                    <a:pt x="3629" y="31"/>
                  </a:lnTo>
                  <a:lnTo>
                    <a:pt x="3636" y="31"/>
                  </a:lnTo>
                  <a:lnTo>
                    <a:pt x="3636" y="31"/>
                  </a:lnTo>
                  <a:lnTo>
                    <a:pt x="3644" y="31"/>
                  </a:lnTo>
                  <a:lnTo>
                    <a:pt x="3644" y="31"/>
                  </a:lnTo>
                  <a:lnTo>
                    <a:pt x="3652" y="31"/>
                  </a:lnTo>
                  <a:lnTo>
                    <a:pt x="3652" y="23"/>
                  </a:lnTo>
                  <a:lnTo>
                    <a:pt x="3652" y="23"/>
                  </a:lnTo>
                  <a:lnTo>
                    <a:pt x="3652" y="23"/>
                  </a:lnTo>
                  <a:lnTo>
                    <a:pt x="3659" y="23"/>
                  </a:lnTo>
                  <a:lnTo>
                    <a:pt x="3659" y="23"/>
                  </a:lnTo>
                  <a:lnTo>
                    <a:pt x="3667" y="23"/>
                  </a:lnTo>
                  <a:lnTo>
                    <a:pt x="3667" y="23"/>
                  </a:lnTo>
                  <a:lnTo>
                    <a:pt x="3675" y="23"/>
                  </a:lnTo>
                  <a:lnTo>
                    <a:pt x="3675" y="23"/>
                  </a:lnTo>
                  <a:lnTo>
                    <a:pt x="3675" y="23"/>
                  </a:lnTo>
                  <a:lnTo>
                    <a:pt x="3675" y="23"/>
                  </a:lnTo>
                  <a:lnTo>
                    <a:pt x="3682" y="23"/>
                  </a:lnTo>
                  <a:lnTo>
                    <a:pt x="3682" y="23"/>
                  </a:lnTo>
                  <a:lnTo>
                    <a:pt x="3690" y="23"/>
                  </a:lnTo>
                  <a:lnTo>
                    <a:pt x="3690" y="23"/>
                  </a:lnTo>
                  <a:lnTo>
                    <a:pt x="3698" y="23"/>
                  </a:lnTo>
                  <a:lnTo>
                    <a:pt x="3698" y="23"/>
                  </a:lnTo>
                  <a:lnTo>
                    <a:pt x="3698" y="23"/>
                  </a:lnTo>
                  <a:lnTo>
                    <a:pt x="3698" y="23"/>
                  </a:lnTo>
                  <a:lnTo>
                    <a:pt x="3705" y="23"/>
                  </a:lnTo>
                  <a:lnTo>
                    <a:pt x="3705" y="23"/>
                  </a:lnTo>
                  <a:lnTo>
                    <a:pt x="3713" y="23"/>
                  </a:lnTo>
                  <a:lnTo>
                    <a:pt x="3713" y="23"/>
                  </a:lnTo>
                  <a:lnTo>
                    <a:pt x="3721" y="23"/>
                  </a:lnTo>
                  <a:lnTo>
                    <a:pt x="3721" y="23"/>
                  </a:lnTo>
                  <a:lnTo>
                    <a:pt x="3728" y="23"/>
                  </a:lnTo>
                  <a:lnTo>
                    <a:pt x="3728" y="23"/>
                  </a:lnTo>
                  <a:lnTo>
                    <a:pt x="3728" y="23"/>
                  </a:lnTo>
                  <a:lnTo>
                    <a:pt x="3728" y="23"/>
                  </a:lnTo>
                  <a:lnTo>
                    <a:pt x="3736" y="23"/>
                  </a:lnTo>
                  <a:lnTo>
                    <a:pt x="3736" y="23"/>
                  </a:lnTo>
                  <a:lnTo>
                    <a:pt x="3744" y="23"/>
                  </a:lnTo>
                  <a:lnTo>
                    <a:pt x="3744" y="23"/>
                  </a:lnTo>
                  <a:lnTo>
                    <a:pt x="3751" y="23"/>
                  </a:lnTo>
                  <a:lnTo>
                    <a:pt x="3751" y="23"/>
                  </a:lnTo>
                  <a:lnTo>
                    <a:pt x="3751" y="23"/>
                  </a:lnTo>
                  <a:lnTo>
                    <a:pt x="3751" y="23"/>
                  </a:lnTo>
                  <a:lnTo>
                    <a:pt x="3759" y="23"/>
                  </a:lnTo>
                  <a:lnTo>
                    <a:pt x="3759" y="23"/>
                  </a:lnTo>
                  <a:lnTo>
                    <a:pt x="3767" y="23"/>
                  </a:lnTo>
                  <a:lnTo>
                    <a:pt x="3767" y="23"/>
                  </a:lnTo>
                  <a:lnTo>
                    <a:pt x="3774" y="23"/>
                  </a:lnTo>
                  <a:lnTo>
                    <a:pt x="3774" y="23"/>
                  </a:lnTo>
                  <a:lnTo>
                    <a:pt x="3774" y="23"/>
                  </a:lnTo>
                  <a:lnTo>
                    <a:pt x="3774" y="23"/>
                  </a:lnTo>
                  <a:lnTo>
                    <a:pt x="3782" y="23"/>
                  </a:lnTo>
                  <a:lnTo>
                    <a:pt x="3782" y="23"/>
                  </a:lnTo>
                  <a:lnTo>
                    <a:pt x="3790" y="23"/>
                  </a:lnTo>
                  <a:lnTo>
                    <a:pt x="3790" y="23"/>
                  </a:lnTo>
                  <a:lnTo>
                    <a:pt x="3797" y="23"/>
                  </a:lnTo>
                  <a:lnTo>
                    <a:pt x="3797" y="23"/>
                  </a:lnTo>
                  <a:lnTo>
                    <a:pt x="3797" y="23"/>
                  </a:lnTo>
                  <a:lnTo>
                    <a:pt x="3797" y="23"/>
                  </a:lnTo>
                  <a:lnTo>
                    <a:pt x="3805" y="23"/>
                  </a:lnTo>
                  <a:lnTo>
                    <a:pt x="3805" y="23"/>
                  </a:lnTo>
                  <a:lnTo>
                    <a:pt x="3813" y="23"/>
                  </a:lnTo>
                  <a:lnTo>
                    <a:pt x="3813" y="23"/>
                  </a:lnTo>
                  <a:lnTo>
                    <a:pt x="3820" y="23"/>
                  </a:lnTo>
                  <a:lnTo>
                    <a:pt x="3820" y="23"/>
                  </a:lnTo>
                  <a:lnTo>
                    <a:pt x="3828" y="23"/>
                  </a:lnTo>
                  <a:lnTo>
                    <a:pt x="3828" y="23"/>
                  </a:lnTo>
                  <a:lnTo>
                    <a:pt x="3828" y="23"/>
                  </a:lnTo>
                  <a:lnTo>
                    <a:pt x="3828" y="23"/>
                  </a:lnTo>
                  <a:lnTo>
                    <a:pt x="3836" y="23"/>
                  </a:lnTo>
                  <a:lnTo>
                    <a:pt x="3836" y="23"/>
                  </a:lnTo>
                  <a:lnTo>
                    <a:pt x="3843" y="23"/>
                  </a:lnTo>
                  <a:lnTo>
                    <a:pt x="3843" y="16"/>
                  </a:lnTo>
                  <a:lnTo>
                    <a:pt x="3851" y="16"/>
                  </a:lnTo>
                  <a:lnTo>
                    <a:pt x="3851" y="16"/>
                  </a:lnTo>
                  <a:lnTo>
                    <a:pt x="3851" y="16"/>
                  </a:lnTo>
                  <a:lnTo>
                    <a:pt x="3851" y="16"/>
                  </a:lnTo>
                  <a:lnTo>
                    <a:pt x="3859" y="16"/>
                  </a:lnTo>
                  <a:lnTo>
                    <a:pt x="3859" y="16"/>
                  </a:lnTo>
                  <a:lnTo>
                    <a:pt x="3866" y="16"/>
                  </a:lnTo>
                  <a:lnTo>
                    <a:pt x="3866" y="16"/>
                  </a:lnTo>
                  <a:lnTo>
                    <a:pt x="3874" y="16"/>
                  </a:lnTo>
                  <a:lnTo>
                    <a:pt x="3874" y="16"/>
                  </a:lnTo>
                  <a:lnTo>
                    <a:pt x="3874" y="16"/>
                  </a:lnTo>
                  <a:lnTo>
                    <a:pt x="3874" y="16"/>
                  </a:lnTo>
                  <a:lnTo>
                    <a:pt x="3882" y="16"/>
                  </a:lnTo>
                  <a:lnTo>
                    <a:pt x="3882" y="16"/>
                  </a:lnTo>
                  <a:lnTo>
                    <a:pt x="3889" y="16"/>
                  </a:lnTo>
                  <a:lnTo>
                    <a:pt x="3889" y="16"/>
                  </a:lnTo>
                  <a:lnTo>
                    <a:pt x="3897" y="16"/>
                  </a:lnTo>
                  <a:lnTo>
                    <a:pt x="3897" y="16"/>
                  </a:lnTo>
                  <a:lnTo>
                    <a:pt x="3905" y="16"/>
                  </a:lnTo>
                  <a:lnTo>
                    <a:pt x="3905" y="16"/>
                  </a:lnTo>
                  <a:lnTo>
                    <a:pt x="3905" y="16"/>
                  </a:lnTo>
                  <a:lnTo>
                    <a:pt x="3905" y="16"/>
                  </a:lnTo>
                  <a:lnTo>
                    <a:pt x="3912" y="16"/>
                  </a:lnTo>
                  <a:lnTo>
                    <a:pt x="3912" y="16"/>
                  </a:lnTo>
                  <a:lnTo>
                    <a:pt x="3920" y="16"/>
                  </a:lnTo>
                  <a:lnTo>
                    <a:pt x="3920" y="16"/>
                  </a:lnTo>
                  <a:lnTo>
                    <a:pt x="3928" y="16"/>
                  </a:lnTo>
                  <a:lnTo>
                    <a:pt x="3928" y="16"/>
                  </a:lnTo>
                  <a:lnTo>
                    <a:pt x="3928" y="16"/>
                  </a:lnTo>
                  <a:lnTo>
                    <a:pt x="3928" y="16"/>
                  </a:lnTo>
                  <a:lnTo>
                    <a:pt x="3935" y="16"/>
                  </a:lnTo>
                  <a:lnTo>
                    <a:pt x="3935" y="16"/>
                  </a:lnTo>
                  <a:lnTo>
                    <a:pt x="3943" y="16"/>
                  </a:lnTo>
                  <a:lnTo>
                    <a:pt x="3943" y="16"/>
                  </a:lnTo>
                  <a:lnTo>
                    <a:pt x="3951" y="16"/>
                  </a:lnTo>
                  <a:lnTo>
                    <a:pt x="3951" y="16"/>
                  </a:lnTo>
                  <a:lnTo>
                    <a:pt x="3951" y="16"/>
                  </a:lnTo>
                  <a:lnTo>
                    <a:pt x="3951" y="16"/>
                  </a:lnTo>
                  <a:lnTo>
                    <a:pt x="3958" y="16"/>
                  </a:lnTo>
                  <a:lnTo>
                    <a:pt x="3958" y="16"/>
                  </a:lnTo>
                  <a:lnTo>
                    <a:pt x="3966" y="16"/>
                  </a:lnTo>
                  <a:lnTo>
                    <a:pt x="3966" y="16"/>
                  </a:lnTo>
                  <a:lnTo>
                    <a:pt x="3974" y="16"/>
                  </a:lnTo>
                  <a:lnTo>
                    <a:pt x="3974" y="16"/>
                  </a:lnTo>
                  <a:lnTo>
                    <a:pt x="3974" y="16"/>
                  </a:lnTo>
                  <a:lnTo>
                    <a:pt x="3974" y="16"/>
                  </a:lnTo>
                  <a:lnTo>
                    <a:pt x="3981" y="16"/>
                  </a:lnTo>
                  <a:lnTo>
                    <a:pt x="3981" y="16"/>
                  </a:lnTo>
                  <a:lnTo>
                    <a:pt x="3989" y="16"/>
                  </a:lnTo>
                  <a:lnTo>
                    <a:pt x="3989" y="16"/>
                  </a:lnTo>
                  <a:lnTo>
                    <a:pt x="3997" y="16"/>
                  </a:lnTo>
                  <a:lnTo>
                    <a:pt x="3997" y="16"/>
                  </a:lnTo>
                  <a:lnTo>
                    <a:pt x="4004" y="16"/>
                  </a:lnTo>
                  <a:lnTo>
                    <a:pt x="4004" y="16"/>
                  </a:lnTo>
                  <a:lnTo>
                    <a:pt x="4004" y="16"/>
                  </a:lnTo>
                  <a:lnTo>
                    <a:pt x="4004" y="16"/>
                  </a:lnTo>
                  <a:lnTo>
                    <a:pt x="4012" y="16"/>
                  </a:lnTo>
                  <a:lnTo>
                    <a:pt x="4012" y="16"/>
                  </a:lnTo>
                  <a:lnTo>
                    <a:pt x="4020" y="16"/>
                  </a:lnTo>
                  <a:lnTo>
                    <a:pt x="4020" y="16"/>
                  </a:lnTo>
                  <a:lnTo>
                    <a:pt x="4027" y="16"/>
                  </a:lnTo>
                  <a:lnTo>
                    <a:pt x="4027" y="16"/>
                  </a:lnTo>
                  <a:lnTo>
                    <a:pt x="4027" y="16"/>
                  </a:lnTo>
                  <a:lnTo>
                    <a:pt x="4027" y="16"/>
                  </a:lnTo>
                  <a:lnTo>
                    <a:pt x="4035" y="16"/>
                  </a:lnTo>
                  <a:lnTo>
                    <a:pt x="4035" y="16"/>
                  </a:lnTo>
                  <a:lnTo>
                    <a:pt x="4043" y="16"/>
                  </a:lnTo>
                  <a:lnTo>
                    <a:pt x="4043" y="16"/>
                  </a:lnTo>
                  <a:lnTo>
                    <a:pt x="4050" y="16"/>
                  </a:lnTo>
                  <a:lnTo>
                    <a:pt x="4050" y="16"/>
                  </a:lnTo>
                  <a:lnTo>
                    <a:pt x="4050" y="16"/>
                  </a:lnTo>
                  <a:lnTo>
                    <a:pt x="4050" y="16"/>
                  </a:lnTo>
                  <a:lnTo>
                    <a:pt x="4058" y="16"/>
                  </a:lnTo>
                  <a:lnTo>
                    <a:pt x="4058" y="16"/>
                  </a:lnTo>
                  <a:lnTo>
                    <a:pt x="4066" y="16"/>
                  </a:lnTo>
                  <a:lnTo>
                    <a:pt x="4066" y="16"/>
                  </a:lnTo>
                  <a:lnTo>
                    <a:pt x="4073" y="16"/>
                  </a:lnTo>
                  <a:lnTo>
                    <a:pt x="4073" y="16"/>
                  </a:lnTo>
                  <a:lnTo>
                    <a:pt x="4081" y="16"/>
                  </a:lnTo>
                  <a:lnTo>
                    <a:pt x="4081" y="16"/>
                  </a:lnTo>
                  <a:lnTo>
                    <a:pt x="4081" y="16"/>
                  </a:lnTo>
                  <a:lnTo>
                    <a:pt x="4081" y="16"/>
                  </a:lnTo>
                  <a:lnTo>
                    <a:pt x="4089" y="16"/>
                  </a:lnTo>
                  <a:lnTo>
                    <a:pt x="4089" y="16"/>
                  </a:lnTo>
                  <a:lnTo>
                    <a:pt x="4104" y="16"/>
                  </a:lnTo>
                  <a:lnTo>
                    <a:pt x="4104" y="16"/>
                  </a:lnTo>
                  <a:lnTo>
                    <a:pt x="4104" y="16"/>
                  </a:lnTo>
                  <a:lnTo>
                    <a:pt x="4104" y="16"/>
                  </a:lnTo>
                  <a:lnTo>
                    <a:pt x="4112" y="16"/>
                  </a:lnTo>
                  <a:lnTo>
                    <a:pt x="4112" y="16"/>
                  </a:lnTo>
                  <a:lnTo>
                    <a:pt x="4119" y="16"/>
                  </a:lnTo>
                  <a:lnTo>
                    <a:pt x="4119" y="16"/>
                  </a:lnTo>
                  <a:lnTo>
                    <a:pt x="4127" y="16"/>
                  </a:lnTo>
                  <a:lnTo>
                    <a:pt x="4127" y="16"/>
                  </a:lnTo>
                  <a:lnTo>
                    <a:pt x="4127" y="16"/>
                  </a:lnTo>
                  <a:lnTo>
                    <a:pt x="4127" y="16"/>
                  </a:lnTo>
                  <a:lnTo>
                    <a:pt x="4135" y="16"/>
                  </a:lnTo>
                  <a:lnTo>
                    <a:pt x="4135" y="16"/>
                  </a:lnTo>
                  <a:lnTo>
                    <a:pt x="4142" y="16"/>
                  </a:lnTo>
                  <a:lnTo>
                    <a:pt x="4142" y="16"/>
                  </a:lnTo>
                  <a:lnTo>
                    <a:pt x="4150" y="16"/>
                  </a:lnTo>
                  <a:lnTo>
                    <a:pt x="4150" y="16"/>
                  </a:lnTo>
                  <a:lnTo>
                    <a:pt x="4150" y="16"/>
                  </a:lnTo>
                  <a:lnTo>
                    <a:pt x="4150" y="16"/>
                  </a:lnTo>
                  <a:lnTo>
                    <a:pt x="4158" y="16"/>
                  </a:lnTo>
                  <a:lnTo>
                    <a:pt x="4158" y="16"/>
                  </a:lnTo>
                  <a:lnTo>
                    <a:pt x="4165" y="16"/>
                  </a:lnTo>
                  <a:lnTo>
                    <a:pt x="4165" y="16"/>
                  </a:lnTo>
                  <a:lnTo>
                    <a:pt x="4173" y="16"/>
                  </a:lnTo>
                  <a:lnTo>
                    <a:pt x="4173" y="16"/>
                  </a:lnTo>
                  <a:lnTo>
                    <a:pt x="4181" y="16"/>
                  </a:lnTo>
                  <a:lnTo>
                    <a:pt x="4181" y="16"/>
                  </a:lnTo>
                  <a:lnTo>
                    <a:pt x="4181" y="16"/>
                  </a:lnTo>
                  <a:lnTo>
                    <a:pt x="4181" y="16"/>
                  </a:lnTo>
                  <a:lnTo>
                    <a:pt x="4188" y="16"/>
                  </a:lnTo>
                  <a:lnTo>
                    <a:pt x="4188" y="16"/>
                  </a:lnTo>
                  <a:lnTo>
                    <a:pt x="4196" y="16"/>
                  </a:lnTo>
                  <a:lnTo>
                    <a:pt x="4196" y="16"/>
                  </a:lnTo>
                  <a:lnTo>
                    <a:pt x="4204" y="16"/>
                  </a:lnTo>
                  <a:lnTo>
                    <a:pt x="4204" y="16"/>
                  </a:lnTo>
                  <a:lnTo>
                    <a:pt x="4204" y="16"/>
                  </a:lnTo>
                  <a:lnTo>
                    <a:pt x="4204" y="16"/>
                  </a:lnTo>
                  <a:lnTo>
                    <a:pt x="4211" y="16"/>
                  </a:lnTo>
                  <a:lnTo>
                    <a:pt x="4211" y="16"/>
                  </a:lnTo>
                  <a:lnTo>
                    <a:pt x="4219" y="16"/>
                  </a:lnTo>
                  <a:lnTo>
                    <a:pt x="4219" y="16"/>
                  </a:lnTo>
                  <a:lnTo>
                    <a:pt x="4227" y="16"/>
                  </a:lnTo>
                  <a:lnTo>
                    <a:pt x="4227" y="16"/>
                  </a:lnTo>
                  <a:lnTo>
                    <a:pt x="4227" y="16"/>
                  </a:lnTo>
                  <a:lnTo>
                    <a:pt x="4227" y="8"/>
                  </a:lnTo>
                  <a:lnTo>
                    <a:pt x="4235" y="8"/>
                  </a:lnTo>
                  <a:lnTo>
                    <a:pt x="4235" y="8"/>
                  </a:lnTo>
                  <a:lnTo>
                    <a:pt x="4242" y="8"/>
                  </a:lnTo>
                  <a:lnTo>
                    <a:pt x="4242" y="8"/>
                  </a:lnTo>
                  <a:lnTo>
                    <a:pt x="4250" y="8"/>
                  </a:lnTo>
                  <a:lnTo>
                    <a:pt x="4250" y="8"/>
                  </a:lnTo>
                  <a:lnTo>
                    <a:pt x="4250" y="8"/>
                  </a:lnTo>
                  <a:lnTo>
                    <a:pt x="4250" y="8"/>
                  </a:lnTo>
                  <a:lnTo>
                    <a:pt x="4258" y="8"/>
                  </a:lnTo>
                  <a:lnTo>
                    <a:pt x="4258" y="8"/>
                  </a:lnTo>
                  <a:lnTo>
                    <a:pt x="4265" y="8"/>
                  </a:lnTo>
                  <a:lnTo>
                    <a:pt x="4265" y="8"/>
                  </a:lnTo>
                  <a:lnTo>
                    <a:pt x="4273" y="8"/>
                  </a:lnTo>
                  <a:lnTo>
                    <a:pt x="4273" y="8"/>
                  </a:lnTo>
                  <a:lnTo>
                    <a:pt x="4281" y="8"/>
                  </a:lnTo>
                  <a:lnTo>
                    <a:pt x="4281" y="8"/>
                  </a:lnTo>
                  <a:lnTo>
                    <a:pt x="4281" y="8"/>
                  </a:lnTo>
                  <a:lnTo>
                    <a:pt x="4281" y="8"/>
                  </a:lnTo>
                  <a:lnTo>
                    <a:pt x="4288" y="8"/>
                  </a:lnTo>
                  <a:lnTo>
                    <a:pt x="4288" y="8"/>
                  </a:lnTo>
                  <a:lnTo>
                    <a:pt x="4296" y="8"/>
                  </a:lnTo>
                  <a:lnTo>
                    <a:pt x="4296" y="8"/>
                  </a:lnTo>
                  <a:lnTo>
                    <a:pt x="4304" y="8"/>
                  </a:lnTo>
                  <a:lnTo>
                    <a:pt x="4304" y="8"/>
                  </a:lnTo>
                  <a:lnTo>
                    <a:pt x="4304" y="8"/>
                  </a:lnTo>
                  <a:lnTo>
                    <a:pt x="4304" y="8"/>
                  </a:lnTo>
                  <a:lnTo>
                    <a:pt x="4311" y="8"/>
                  </a:lnTo>
                  <a:lnTo>
                    <a:pt x="4311" y="8"/>
                  </a:lnTo>
                  <a:lnTo>
                    <a:pt x="4319" y="8"/>
                  </a:lnTo>
                  <a:lnTo>
                    <a:pt x="4319" y="0"/>
                  </a:lnTo>
                  <a:lnTo>
                    <a:pt x="4327" y="0"/>
                  </a:lnTo>
                  <a:lnTo>
                    <a:pt x="4327" y="0"/>
                  </a:lnTo>
                  <a:lnTo>
                    <a:pt x="4327" y="0"/>
                  </a:lnTo>
                  <a:lnTo>
                    <a:pt x="4327" y="0"/>
                  </a:lnTo>
                  <a:lnTo>
                    <a:pt x="4334" y="0"/>
                  </a:lnTo>
                  <a:lnTo>
                    <a:pt x="4334" y="0"/>
                  </a:lnTo>
                  <a:lnTo>
                    <a:pt x="4342" y="0"/>
                  </a:lnTo>
                  <a:lnTo>
                    <a:pt x="4342" y="0"/>
                  </a:lnTo>
                  <a:lnTo>
                    <a:pt x="4350" y="0"/>
                  </a:lnTo>
                  <a:lnTo>
                    <a:pt x="4350" y="0"/>
                  </a:lnTo>
                  <a:lnTo>
                    <a:pt x="4357" y="0"/>
                  </a:lnTo>
                  <a:lnTo>
                    <a:pt x="4357" y="0"/>
                  </a:lnTo>
                  <a:lnTo>
                    <a:pt x="4357" y="0"/>
                  </a:lnTo>
                  <a:lnTo>
                    <a:pt x="4357" y="0"/>
                  </a:lnTo>
                  <a:lnTo>
                    <a:pt x="4365" y="0"/>
                  </a:lnTo>
                  <a:lnTo>
                    <a:pt x="4365" y="0"/>
                  </a:lnTo>
                  <a:lnTo>
                    <a:pt x="4373" y="0"/>
                  </a:lnTo>
                  <a:lnTo>
                    <a:pt x="4373" y="0"/>
                  </a:lnTo>
                  <a:lnTo>
                    <a:pt x="4380" y="0"/>
                  </a:lnTo>
                  <a:lnTo>
                    <a:pt x="4380" y="0"/>
                  </a:lnTo>
                  <a:lnTo>
                    <a:pt x="4380" y="0"/>
                  </a:lnTo>
                  <a:lnTo>
                    <a:pt x="4380" y="0"/>
                  </a:lnTo>
                  <a:lnTo>
                    <a:pt x="4388" y="0"/>
                  </a:lnTo>
                  <a:lnTo>
                    <a:pt x="4388" y="0"/>
                  </a:lnTo>
                  <a:lnTo>
                    <a:pt x="4396" y="0"/>
                  </a:lnTo>
                  <a:lnTo>
                    <a:pt x="4396" y="0"/>
                  </a:lnTo>
                  <a:lnTo>
                    <a:pt x="4403" y="0"/>
                  </a:lnTo>
                  <a:lnTo>
                    <a:pt x="4403" y="0"/>
                  </a:lnTo>
                  <a:lnTo>
                    <a:pt x="4403" y="0"/>
                  </a:lnTo>
                  <a:lnTo>
                    <a:pt x="4403" y="0"/>
                  </a:lnTo>
                  <a:lnTo>
                    <a:pt x="4411" y="0"/>
                  </a:lnTo>
                  <a:lnTo>
                    <a:pt x="4411" y="0"/>
                  </a:lnTo>
                  <a:lnTo>
                    <a:pt x="4419" y="0"/>
                  </a:lnTo>
                  <a:lnTo>
                    <a:pt x="4419" y="0"/>
                  </a:lnTo>
                  <a:lnTo>
                    <a:pt x="4426" y="0"/>
                  </a:lnTo>
                  <a:lnTo>
                    <a:pt x="4426" y="0"/>
                  </a:lnTo>
                  <a:lnTo>
                    <a:pt x="4426" y="0"/>
                  </a:lnTo>
                  <a:lnTo>
                    <a:pt x="4426" y="0"/>
                  </a:lnTo>
                  <a:lnTo>
                    <a:pt x="4434" y="0"/>
                  </a:lnTo>
                  <a:lnTo>
                    <a:pt x="4434" y="0"/>
                  </a:lnTo>
                  <a:lnTo>
                    <a:pt x="4442" y="0"/>
                  </a:lnTo>
                  <a:lnTo>
                    <a:pt x="4442" y="0"/>
                  </a:lnTo>
                  <a:lnTo>
                    <a:pt x="4449" y="0"/>
                  </a:lnTo>
                  <a:lnTo>
                    <a:pt x="4449" y="0"/>
                  </a:lnTo>
                  <a:lnTo>
                    <a:pt x="4457" y="0"/>
                  </a:lnTo>
                  <a:lnTo>
                    <a:pt x="4457" y="0"/>
                  </a:lnTo>
                  <a:lnTo>
                    <a:pt x="4457" y="0"/>
                  </a:lnTo>
                  <a:lnTo>
                    <a:pt x="4457" y="0"/>
                  </a:lnTo>
                  <a:lnTo>
                    <a:pt x="4465" y="0"/>
                  </a:lnTo>
                  <a:lnTo>
                    <a:pt x="4465" y="0"/>
                  </a:lnTo>
                  <a:lnTo>
                    <a:pt x="4472" y="0"/>
                  </a:lnTo>
                  <a:lnTo>
                    <a:pt x="4472" y="0"/>
                  </a:lnTo>
                  <a:lnTo>
                    <a:pt x="4480" y="0"/>
                  </a:lnTo>
                  <a:lnTo>
                    <a:pt x="4480" y="0"/>
                  </a:lnTo>
                  <a:lnTo>
                    <a:pt x="4480" y="0"/>
                  </a:lnTo>
                  <a:lnTo>
                    <a:pt x="4480" y="0"/>
                  </a:lnTo>
                  <a:lnTo>
                    <a:pt x="4488" y="0"/>
                  </a:lnTo>
                  <a:lnTo>
                    <a:pt x="4488" y="0"/>
                  </a:lnTo>
                  <a:lnTo>
                    <a:pt x="4495" y="0"/>
                  </a:lnTo>
                  <a:lnTo>
                    <a:pt x="4495" y="0"/>
                  </a:lnTo>
                  <a:lnTo>
                    <a:pt x="4503" y="0"/>
                  </a:lnTo>
                  <a:lnTo>
                    <a:pt x="4503" y="0"/>
                  </a:lnTo>
                  <a:lnTo>
                    <a:pt x="4503" y="0"/>
                  </a:lnTo>
                  <a:lnTo>
                    <a:pt x="4503" y="0"/>
                  </a:lnTo>
                  <a:lnTo>
                    <a:pt x="4511" y="0"/>
                  </a:lnTo>
                  <a:lnTo>
                    <a:pt x="4511" y="0"/>
                  </a:lnTo>
                </a:path>
              </a:pathLst>
            </a:custGeom>
            <a:noFill/>
            <a:ln w="23813" cap="sq">
              <a:solidFill>
                <a:srgbClr val="C8568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90" name="Freeform 89"/>
            <p:cNvSpPr>
              <a:spLocks/>
            </p:cNvSpPr>
            <p:nvPr/>
          </p:nvSpPr>
          <p:spPr bwMode="auto">
            <a:xfrm>
              <a:off x="6020" y="3180"/>
              <a:ext cx="851" cy="30"/>
            </a:xfrm>
            <a:custGeom>
              <a:avLst/>
              <a:gdLst>
                <a:gd name="T0" fmla="*/ 15 w 851"/>
                <a:gd name="T1" fmla="*/ 30 h 30"/>
                <a:gd name="T2" fmla="*/ 30 w 851"/>
                <a:gd name="T3" fmla="*/ 30 h 30"/>
                <a:gd name="T4" fmla="*/ 46 w 851"/>
                <a:gd name="T5" fmla="*/ 30 h 30"/>
                <a:gd name="T6" fmla="*/ 61 w 851"/>
                <a:gd name="T7" fmla="*/ 30 h 30"/>
                <a:gd name="T8" fmla="*/ 69 w 851"/>
                <a:gd name="T9" fmla="*/ 30 h 30"/>
                <a:gd name="T10" fmla="*/ 92 w 851"/>
                <a:gd name="T11" fmla="*/ 30 h 30"/>
                <a:gd name="T12" fmla="*/ 99 w 851"/>
                <a:gd name="T13" fmla="*/ 30 h 30"/>
                <a:gd name="T14" fmla="*/ 122 w 851"/>
                <a:gd name="T15" fmla="*/ 23 h 30"/>
                <a:gd name="T16" fmla="*/ 130 w 851"/>
                <a:gd name="T17" fmla="*/ 23 h 30"/>
                <a:gd name="T18" fmla="*/ 145 w 851"/>
                <a:gd name="T19" fmla="*/ 23 h 30"/>
                <a:gd name="T20" fmla="*/ 161 w 851"/>
                <a:gd name="T21" fmla="*/ 23 h 30"/>
                <a:gd name="T22" fmla="*/ 176 w 851"/>
                <a:gd name="T23" fmla="*/ 23 h 30"/>
                <a:gd name="T24" fmla="*/ 191 w 851"/>
                <a:gd name="T25" fmla="*/ 15 h 30"/>
                <a:gd name="T26" fmla="*/ 207 w 851"/>
                <a:gd name="T27" fmla="*/ 15 h 30"/>
                <a:gd name="T28" fmla="*/ 222 w 851"/>
                <a:gd name="T29" fmla="*/ 15 h 30"/>
                <a:gd name="T30" fmla="*/ 237 w 851"/>
                <a:gd name="T31" fmla="*/ 15 h 30"/>
                <a:gd name="T32" fmla="*/ 253 w 851"/>
                <a:gd name="T33" fmla="*/ 15 h 30"/>
                <a:gd name="T34" fmla="*/ 268 w 851"/>
                <a:gd name="T35" fmla="*/ 15 h 30"/>
                <a:gd name="T36" fmla="*/ 283 w 851"/>
                <a:gd name="T37" fmla="*/ 15 h 30"/>
                <a:gd name="T38" fmla="*/ 299 w 851"/>
                <a:gd name="T39" fmla="*/ 15 h 30"/>
                <a:gd name="T40" fmla="*/ 314 w 851"/>
                <a:gd name="T41" fmla="*/ 15 h 30"/>
                <a:gd name="T42" fmla="*/ 329 w 851"/>
                <a:gd name="T43" fmla="*/ 15 h 30"/>
                <a:gd name="T44" fmla="*/ 345 w 851"/>
                <a:gd name="T45" fmla="*/ 15 h 30"/>
                <a:gd name="T46" fmla="*/ 360 w 851"/>
                <a:gd name="T47" fmla="*/ 15 h 30"/>
                <a:gd name="T48" fmla="*/ 376 w 851"/>
                <a:gd name="T49" fmla="*/ 15 h 30"/>
                <a:gd name="T50" fmla="*/ 391 w 851"/>
                <a:gd name="T51" fmla="*/ 15 h 30"/>
                <a:gd name="T52" fmla="*/ 399 w 851"/>
                <a:gd name="T53" fmla="*/ 15 h 30"/>
                <a:gd name="T54" fmla="*/ 422 w 851"/>
                <a:gd name="T55" fmla="*/ 15 h 30"/>
                <a:gd name="T56" fmla="*/ 429 w 851"/>
                <a:gd name="T57" fmla="*/ 15 h 30"/>
                <a:gd name="T58" fmla="*/ 445 w 851"/>
                <a:gd name="T59" fmla="*/ 7 h 30"/>
                <a:gd name="T60" fmla="*/ 460 w 851"/>
                <a:gd name="T61" fmla="*/ 7 h 30"/>
                <a:gd name="T62" fmla="*/ 475 w 851"/>
                <a:gd name="T63" fmla="*/ 7 h 30"/>
                <a:gd name="T64" fmla="*/ 491 w 851"/>
                <a:gd name="T65" fmla="*/ 7 h 30"/>
                <a:gd name="T66" fmla="*/ 506 w 851"/>
                <a:gd name="T67" fmla="*/ 7 h 30"/>
                <a:gd name="T68" fmla="*/ 521 w 851"/>
                <a:gd name="T69" fmla="*/ 7 h 30"/>
                <a:gd name="T70" fmla="*/ 537 w 851"/>
                <a:gd name="T71" fmla="*/ 7 h 30"/>
                <a:gd name="T72" fmla="*/ 544 w 851"/>
                <a:gd name="T73" fmla="*/ 7 h 30"/>
                <a:gd name="T74" fmla="*/ 567 w 851"/>
                <a:gd name="T75" fmla="*/ 7 h 30"/>
                <a:gd name="T76" fmla="*/ 575 w 851"/>
                <a:gd name="T77" fmla="*/ 7 h 30"/>
                <a:gd name="T78" fmla="*/ 598 w 851"/>
                <a:gd name="T79" fmla="*/ 7 h 30"/>
                <a:gd name="T80" fmla="*/ 606 w 851"/>
                <a:gd name="T81" fmla="*/ 7 h 30"/>
                <a:gd name="T82" fmla="*/ 621 w 851"/>
                <a:gd name="T83" fmla="*/ 7 h 30"/>
                <a:gd name="T84" fmla="*/ 636 w 851"/>
                <a:gd name="T85" fmla="*/ 7 h 30"/>
                <a:gd name="T86" fmla="*/ 652 w 851"/>
                <a:gd name="T87" fmla="*/ 7 h 30"/>
                <a:gd name="T88" fmla="*/ 667 w 851"/>
                <a:gd name="T89" fmla="*/ 7 h 30"/>
                <a:gd name="T90" fmla="*/ 682 w 851"/>
                <a:gd name="T91" fmla="*/ 7 h 30"/>
                <a:gd name="T92" fmla="*/ 698 w 851"/>
                <a:gd name="T93" fmla="*/ 7 h 30"/>
                <a:gd name="T94" fmla="*/ 713 w 851"/>
                <a:gd name="T95" fmla="*/ 7 h 30"/>
                <a:gd name="T96" fmla="*/ 721 w 851"/>
                <a:gd name="T97" fmla="*/ 7 h 30"/>
                <a:gd name="T98" fmla="*/ 744 w 851"/>
                <a:gd name="T99" fmla="*/ 7 h 30"/>
                <a:gd name="T100" fmla="*/ 751 w 851"/>
                <a:gd name="T101" fmla="*/ 0 h 30"/>
                <a:gd name="T102" fmla="*/ 774 w 851"/>
                <a:gd name="T103" fmla="*/ 0 h 30"/>
                <a:gd name="T104" fmla="*/ 782 w 851"/>
                <a:gd name="T105" fmla="*/ 0 h 30"/>
                <a:gd name="T106" fmla="*/ 797 w 851"/>
                <a:gd name="T107" fmla="*/ 0 h 30"/>
                <a:gd name="T108" fmla="*/ 813 w 851"/>
                <a:gd name="T109" fmla="*/ 0 h 30"/>
                <a:gd name="T110" fmla="*/ 828 w 851"/>
                <a:gd name="T111" fmla="*/ 0 h 30"/>
                <a:gd name="T112" fmla="*/ 843 w 851"/>
                <a:gd name="T1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51" h="30">
                  <a:moveTo>
                    <a:pt x="0" y="30"/>
                  </a:moveTo>
                  <a:lnTo>
                    <a:pt x="7" y="30"/>
                  </a:lnTo>
                  <a:lnTo>
                    <a:pt x="7" y="30"/>
                  </a:lnTo>
                  <a:lnTo>
                    <a:pt x="15" y="30"/>
                  </a:lnTo>
                  <a:lnTo>
                    <a:pt x="15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61" y="30"/>
                  </a:lnTo>
                  <a:lnTo>
                    <a:pt x="61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107" y="30"/>
                  </a:lnTo>
                  <a:lnTo>
                    <a:pt x="107" y="30"/>
                  </a:lnTo>
                  <a:lnTo>
                    <a:pt x="115" y="30"/>
                  </a:lnTo>
                  <a:lnTo>
                    <a:pt x="115" y="23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30" y="23"/>
                  </a:lnTo>
                  <a:lnTo>
                    <a:pt x="130" y="23"/>
                  </a:lnTo>
                  <a:lnTo>
                    <a:pt x="138" y="23"/>
                  </a:lnTo>
                  <a:lnTo>
                    <a:pt x="138" y="23"/>
                  </a:lnTo>
                  <a:lnTo>
                    <a:pt x="145" y="23"/>
                  </a:lnTo>
                  <a:lnTo>
                    <a:pt x="145" y="23"/>
                  </a:lnTo>
                  <a:lnTo>
                    <a:pt x="145" y="23"/>
                  </a:lnTo>
                  <a:lnTo>
                    <a:pt x="145" y="23"/>
                  </a:lnTo>
                  <a:lnTo>
                    <a:pt x="153" y="23"/>
                  </a:lnTo>
                  <a:lnTo>
                    <a:pt x="153" y="23"/>
                  </a:lnTo>
                  <a:lnTo>
                    <a:pt x="161" y="23"/>
                  </a:lnTo>
                  <a:lnTo>
                    <a:pt x="161" y="23"/>
                  </a:lnTo>
                  <a:lnTo>
                    <a:pt x="168" y="23"/>
                  </a:lnTo>
                  <a:lnTo>
                    <a:pt x="168" y="23"/>
                  </a:lnTo>
                  <a:lnTo>
                    <a:pt x="168" y="23"/>
                  </a:lnTo>
                  <a:lnTo>
                    <a:pt x="168" y="23"/>
                  </a:lnTo>
                  <a:lnTo>
                    <a:pt x="176" y="23"/>
                  </a:lnTo>
                  <a:lnTo>
                    <a:pt x="176" y="23"/>
                  </a:lnTo>
                  <a:lnTo>
                    <a:pt x="184" y="23"/>
                  </a:lnTo>
                  <a:lnTo>
                    <a:pt x="184" y="15"/>
                  </a:lnTo>
                  <a:lnTo>
                    <a:pt x="191" y="15"/>
                  </a:lnTo>
                  <a:lnTo>
                    <a:pt x="191" y="15"/>
                  </a:lnTo>
                  <a:lnTo>
                    <a:pt x="199" y="15"/>
                  </a:lnTo>
                  <a:lnTo>
                    <a:pt x="199" y="15"/>
                  </a:lnTo>
                  <a:lnTo>
                    <a:pt x="199" y="15"/>
                  </a:lnTo>
                  <a:lnTo>
                    <a:pt x="199" y="15"/>
                  </a:lnTo>
                  <a:lnTo>
                    <a:pt x="207" y="15"/>
                  </a:lnTo>
                  <a:lnTo>
                    <a:pt x="207" y="15"/>
                  </a:lnTo>
                  <a:lnTo>
                    <a:pt x="214" y="15"/>
                  </a:lnTo>
                  <a:lnTo>
                    <a:pt x="214" y="15"/>
                  </a:lnTo>
                  <a:lnTo>
                    <a:pt x="222" y="15"/>
                  </a:lnTo>
                  <a:lnTo>
                    <a:pt x="222" y="15"/>
                  </a:lnTo>
                  <a:lnTo>
                    <a:pt x="222" y="15"/>
                  </a:lnTo>
                  <a:lnTo>
                    <a:pt x="222" y="15"/>
                  </a:lnTo>
                  <a:lnTo>
                    <a:pt x="230" y="15"/>
                  </a:lnTo>
                  <a:lnTo>
                    <a:pt x="230" y="15"/>
                  </a:lnTo>
                  <a:lnTo>
                    <a:pt x="237" y="15"/>
                  </a:lnTo>
                  <a:lnTo>
                    <a:pt x="237" y="15"/>
                  </a:lnTo>
                  <a:lnTo>
                    <a:pt x="245" y="15"/>
                  </a:lnTo>
                  <a:lnTo>
                    <a:pt x="245" y="15"/>
                  </a:lnTo>
                  <a:lnTo>
                    <a:pt x="253" y="15"/>
                  </a:lnTo>
                  <a:lnTo>
                    <a:pt x="253" y="15"/>
                  </a:lnTo>
                  <a:lnTo>
                    <a:pt x="260" y="15"/>
                  </a:lnTo>
                  <a:lnTo>
                    <a:pt x="260" y="15"/>
                  </a:lnTo>
                  <a:lnTo>
                    <a:pt x="268" y="15"/>
                  </a:lnTo>
                  <a:lnTo>
                    <a:pt x="268" y="15"/>
                  </a:lnTo>
                  <a:lnTo>
                    <a:pt x="268" y="15"/>
                  </a:lnTo>
                  <a:lnTo>
                    <a:pt x="268" y="15"/>
                  </a:lnTo>
                  <a:lnTo>
                    <a:pt x="276" y="15"/>
                  </a:lnTo>
                  <a:lnTo>
                    <a:pt x="276" y="15"/>
                  </a:lnTo>
                  <a:lnTo>
                    <a:pt x="283" y="15"/>
                  </a:lnTo>
                  <a:lnTo>
                    <a:pt x="283" y="15"/>
                  </a:lnTo>
                  <a:lnTo>
                    <a:pt x="291" y="15"/>
                  </a:lnTo>
                  <a:lnTo>
                    <a:pt x="291" y="15"/>
                  </a:lnTo>
                  <a:lnTo>
                    <a:pt x="299" y="15"/>
                  </a:lnTo>
                  <a:lnTo>
                    <a:pt x="299" y="15"/>
                  </a:lnTo>
                  <a:lnTo>
                    <a:pt x="299" y="15"/>
                  </a:lnTo>
                  <a:lnTo>
                    <a:pt x="299" y="15"/>
                  </a:lnTo>
                  <a:lnTo>
                    <a:pt x="306" y="15"/>
                  </a:lnTo>
                  <a:lnTo>
                    <a:pt x="306" y="15"/>
                  </a:lnTo>
                  <a:lnTo>
                    <a:pt x="314" y="15"/>
                  </a:lnTo>
                  <a:lnTo>
                    <a:pt x="314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9" y="15"/>
                  </a:lnTo>
                  <a:lnTo>
                    <a:pt x="329" y="15"/>
                  </a:lnTo>
                  <a:lnTo>
                    <a:pt x="337" y="15"/>
                  </a:lnTo>
                  <a:lnTo>
                    <a:pt x="337" y="15"/>
                  </a:lnTo>
                  <a:lnTo>
                    <a:pt x="345" y="15"/>
                  </a:lnTo>
                  <a:lnTo>
                    <a:pt x="345" y="15"/>
                  </a:lnTo>
                  <a:lnTo>
                    <a:pt x="345" y="15"/>
                  </a:lnTo>
                  <a:lnTo>
                    <a:pt x="345" y="15"/>
                  </a:lnTo>
                  <a:lnTo>
                    <a:pt x="353" y="15"/>
                  </a:lnTo>
                  <a:lnTo>
                    <a:pt x="353" y="15"/>
                  </a:lnTo>
                  <a:lnTo>
                    <a:pt x="360" y="15"/>
                  </a:lnTo>
                  <a:lnTo>
                    <a:pt x="360" y="15"/>
                  </a:lnTo>
                  <a:lnTo>
                    <a:pt x="368" y="15"/>
                  </a:lnTo>
                  <a:lnTo>
                    <a:pt x="368" y="15"/>
                  </a:lnTo>
                  <a:lnTo>
                    <a:pt x="376" y="15"/>
                  </a:lnTo>
                  <a:lnTo>
                    <a:pt x="376" y="15"/>
                  </a:lnTo>
                  <a:lnTo>
                    <a:pt x="376" y="15"/>
                  </a:lnTo>
                  <a:lnTo>
                    <a:pt x="376" y="15"/>
                  </a:lnTo>
                  <a:lnTo>
                    <a:pt x="383" y="15"/>
                  </a:lnTo>
                  <a:lnTo>
                    <a:pt x="383" y="15"/>
                  </a:lnTo>
                  <a:lnTo>
                    <a:pt x="391" y="15"/>
                  </a:lnTo>
                  <a:lnTo>
                    <a:pt x="391" y="15"/>
                  </a:lnTo>
                  <a:lnTo>
                    <a:pt x="399" y="15"/>
                  </a:lnTo>
                  <a:lnTo>
                    <a:pt x="399" y="15"/>
                  </a:lnTo>
                  <a:lnTo>
                    <a:pt x="399" y="15"/>
                  </a:lnTo>
                  <a:lnTo>
                    <a:pt x="399" y="15"/>
                  </a:lnTo>
                  <a:lnTo>
                    <a:pt x="406" y="15"/>
                  </a:lnTo>
                  <a:lnTo>
                    <a:pt x="406" y="15"/>
                  </a:lnTo>
                  <a:lnTo>
                    <a:pt x="414" y="15"/>
                  </a:lnTo>
                  <a:lnTo>
                    <a:pt x="414" y="15"/>
                  </a:lnTo>
                  <a:lnTo>
                    <a:pt x="422" y="15"/>
                  </a:lnTo>
                  <a:lnTo>
                    <a:pt x="422" y="15"/>
                  </a:lnTo>
                  <a:lnTo>
                    <a:pt x="422" y="15"/>
                  </a:lnTo>
                  <a:lnTo>
                    <a:pt x="422" y="15"/>
                  </a:lnTo>
                  <a:lnTo>
                    <a:pt x="429" y="15"/>
                  </a:lnTo>
                  <a:lnTo>
                    <a:pt x="429" y="15"/>
                  </a:lnTo>
                  <a:lnTo>
                    <a:pt x="437" y="15"/>
                  </a:lnTo>
                  <a:lnTo>
                    <a:pt x="437" y="15"/>
                  </a:lnTo>
                  <a:lnTo>
                    <a:pt x="445" y="15"/>
                  </a:lnTo>
                  <a:lnTo>
                    <a:pt x="445" y="7"/>
                  </a:lnTo>
                  <a:lnTo>
                    <a:pt x="445" y="7"/>
                  </a:lnTo>
                  <a:lnTo>
                    <a:pt x="445" y="7"/>
                  </a:lnTo>
                  <a:lnTo>
                    <a:pt x="452" y="7"/>
                  </a:lnTo>
                  <a:lnTo>
                    <a:pt x="452" y="7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8" y="7"/>
                  </a:lnTo>
                  <a:lnTo>
                    <a:pt x="468" y="7"/>
                  </a:lnTo>
                  <a:lnTo>
                    <a:pt x="475" y="7"/>
                  </a:lnTo>
                  <a:lnTo>
                    <a:pt x="475" y="7"/>
                  </a:lnTo>
                  <a:lnTo>
                    <a:pt x="475" y="7"/>
                  </a:lnTo>
                  <a:lnTo>
                    <a:pt x="475" y="7"/>
                  </a:lnTo>
                  <a:lnTo>
                    <a:pt x="483" y="7"/>
                  </a:lnTo>
                  <a:lnTo>
                    <a:pt x="483" y="7"/>
                  </a:lnTo>
                  <a:lnTo>
                    <a:pt x="491" y="7"/>
                  </a:lnTo>
                  <a:lnTo>
                    <a:pt x="491" y="7"/>
                  </a:lnTo>
                  <a:lnTo>
                    <a:pt x="498" y="7"/>
                  </a:lnTo>
                  <a:lnTo>
                    <a:pt x="498" y="7"/>
                  </a:lnTo>
                  <a:lnTo>
                    <a:pt x="498" y="7"/>
                  </a:lnTo>
                  <a:lnTo>
                    <a:pt x="498" y="7"/>
                  </a:lnTo>
                  <a:lnTo>
                    <a:pt x="506" y="7"/>
                  </a:lnTo>
                  <a:lnTo>
                    <a:pt x="506" y="7"/>
                  </a:lnTo>
                  <a:lnTo>
                    <a:pt x="514" y="7"/>
                  </a:lnTo>
                  <a:lnTo>
                    <a:pt x="514" y="7"/>
                  </a:lnTo>
                  <a:lnTo>
                    <a:pt x="521" y="7"/>
                  </a:lnTo>
                  <a:lnTo>
                    <a:pt x="521" y="7"/>
                  </a:lnTo>
                  <a:lnTo>
                    <a:pt x="521" y="7"/>
                  </a:lnTo>
                  <a:lnTo>
                    <a:pt x="521" y="7"/>
                  </a:lnTo>
                  <a:lnTo>
                    <a:pt x="529" y="7"/>
                  </a:lnTo>
                  <a:lnTo>
                    <a:pt x="529" y="7"/>
                  </a:lnTo>
                  <a:lnTo>
                    <a:pt x="537" y="7"/>
                  </a:lnTo>
                  <a:lnTo>
                    <a:pt x="537" y="7"/>
                  </a:lnTo>
                  <a:lnTo>
                    <a:pt x="544" y="7"/>
                  </a:lnTo>
                  <a:lnTo>
                    <a:pt x="544" y="7"/>
                  </a:lnTo>
                  <a:lnTo>
                    <a:pt x="544" y="7"/>
                  </a:lnTo>
                  <a:lnTo>
                    <a:pt x="544" y="7"/>
                  </a:lnTo>
                  <a:lnTo>
                    <a:pt x="552" y="7"/>
                  </a:lnTo>
                  <a:lnTo>
                    <a:pt x="552" y="7"/>
                  </a:lnTo>
                  <a:lnTo>
                    <a:pt x="560" y="7"/>
                  </a:lnTo>
                  <a:lnTo>
                    <a:pt x="560" y="7"/>
                  </a:lnTo>
                  <a:lnTo>
                    <a:pt x="567" y="7"/>
                  </a:lnTo>
                  <a:lnTo>
                    <a:pt x="567" y="7"/>
                  </a:lnTo>
                  <a:lnTo>
                    <a:pt x="575" y="7"/>
                  </a:lnTo>
                  <a:lnTo>
                    <a:pt x="575" y="7"/>
                  </a:lnTo>
                  <a:lnTo>
                    <a:pt x="575" y="7"/>
                  </a:lnTo>
                  <a:lnTo>
                    <a:pt x="575" y="7"/>
                  </a:lnTo>
                  <a:lnTo>
                    <a:pt x="583" y="7"/>
                  </a:lnTo>
                  <a:lnTo>
                    <a:pt x="583" y="7"/>
                  </a:lnTo>
                  <a:lnTo>
                    <a:pt x="590" y="7"/>
                  </a:lnTo>
                  <a:lnTo>
                    <a:pt x="590" y="7"/>
                  </a:lnTo>
                  <a:lnTo>
                    <a:pt x="598" y="7"/>
                  </a:lnTo>
                  <a:lnTo>
                    <a:pt x="598" y="7"/>
                  </a:lnTo>
                  <a:lnTo>
                    <a:pt x="598" y="7"/>
                  </a:lnTo>
                  <a:lnTo>
                    <a:pt x="598" y="7"/>
                  </a:lnTo>
                  <a:lnTo>
                    <a:pt x="606" y="7"/>
                  </a:lnTo>
                  <a:lnTo>
                    <a:pt x="606" y="7"/>
                  </a:lnTo>
                  <a:lnTo>
                    <a:pt x="613" y="7"/>
                  </a:lnTo>
                  <a:lnTo>
                    <a:pt x="613" y="7"/>
                  </a:lnTo>
                  <a:lnTo>
                    <a:pt x="621" y="7"/>
                  </a:lnTo>
                  <a:lnTo>
                    <a:pt x="621" y="7"/>
                  </a:lnTo>
                  <a:lnTo>
                    <a:pt x="621" y="7"/>
                  </a:lnTo>
                  <a:lnTo>
                    <a:pt x="621" y="7"/>
                  </a:lnTo>
                  <a:lnTo>
                    <a:pt x="629" y="7"/>
                  </a:lnTo>
                  <a:lnTo>
                    <a:pt x="629" y="7"/>
                  </a:lnTo>
                  <a:lnTo>
                    <a:pt x="636" y="7"/>
                  </a:lnTo>
                  <a:lnTo>
                    <a:pt x="636" y="7"/>
                  </a:lnTo>
                  <a:lnTo>
                    <a:pt x="644" y="7"/>
                  </a:lnTo>
                  <a:lnTo>
                    <a:pt x="644" y="7"/>
                  </a:lnTo>
                  <a:lnTo>
                    <a:pt x="652" y="7"/>
                  </a:lnTo>
                  <a:lnTo>
                    <a:pt x="652" y="7"/>
                  </a:lnTo>
                  <a:lnTo>
                    <a:pt x="652" y="7"/>
                  </a:lnTo>
                  <a:lnTo>
                    <a:pt x="652" y="7"/>
                  </a:lnTo>
                  <a:lnTo>
                    <a:pt x="659" y="7"/>
                  </a:lnTo>
                  <a:lnTo>
                    <a:pt x="659" y="7"/>
                  </a:lnTo>
                  <a:lnTo>
                    <a:pt x="667" y="7"/>
                  </a:lnTo>
                  <a:lnTo>
                    <a:pt x="667" y="7"/>
                  </a:lnTo>
                  <a:lnTo>
                    <a:pt x="675" y="7"/>
                  </a:lnTo>
                  <a:lnTo>
                    <a:pt x="675" y="7"/>
                  </a:lnTo>
                  <a:lnTo>
                    <a:pt x="675" y="7"/>
                  </a:lnTo>
                  <a:lnTo>
                    <a:pt x="675" y="7"/>
                  </a:lnTo>
                  <a:lnTo>
                    <a:pt x="682" y="7"/>
                  </a:lnTo>
                  <a:lnTo>
                    <a:pt x="682" y="7"/>
                  </a:lnTo>
                  <a:lnTo>
                    <a:pt x="690" y="7"/>
                  </a:lnTo>
                  <a:lnTo>
                    <a:pt x="690" y="7"/>
                  </a:lnTo>
                  <a:lnTo>
                    <a:pt x="698" y="7"/>
                  </a:lnTo>
                  <a:lnTo>
                    <a:pt x="698" y="7"/>
                  </a:lnTo>
                  <a:lnTo>
                    <a:pt x="698" y="7"/>
                  </a:lnTo>
                  <a:lnTo>
                    <a:pt x="698" y="7"/>
                  </a:lnTo>
                  <a:lnTo>
                    <a:pt x="705" y="7"/>
                  </a:lnTo>
                  <a:lnTo>
                    <a:pt x="705" y="7"/>
                  </a:lnTo>
                  <a:lnTo>
                    <a:pt x="713" y="7"/>
                  </a:lnTo>
                  <a:lnTo>
                    <a:pt x="713" y="7"/>
                  </a:lnTo>
                  <a:lnTo>
                    <a:pt x="721" y="7"/>
                  </a:lnTo>
                  <a:lnTo>
                    <a:pt x="721" y="7"/>
                  </a:lnTo>
                  <a:lnTo>
                    <a:pt x="721" y="7"/>
                  </a:lnTo>
                  <a:lnTo>
                    <a:pt x="721" y="7"/>
                  </a:lnTo>
                  <a:lnTo>
                    <a:pt x="728" y="7"/>
                  </a:lnTo>
                  <a:lnTo>
                    <a:pt x="728" y="7"/>
                  </a:lnTo>
                  <a:lnTo>
                    <a:pt x="736" y="7"/>
                  </a:lnTo>
                  <a:lnTo>
                    <a:pt x="736" y="7"/>
                  </a:lnTo>
                  <a:lnTo>
                    <a:pt x="744" y="7"/>
                  </a:lnTo>
                  <a:lnTo>
                    <a:pt x="744" y="7"/>
                  </a:lnTo>
                  <a:lnTo>
                    <a:pt x="751" y="7"/>
                  </a:lnTo>
                  <a:lnTo>
                    <a:pt x="751" y="7"/>
                  </a:lnTo>
                  <a:lnTo>
                    <a:pt x="751" y="7"/>
                  </a:lnTo>
                  <a:lnTo>
                    <a:pt x="751" y="0"/>
                  </a:lnTo>
                  <a:lnTo>
                    <a:pt x="759" y="0"/>
                  </a:lnTo>
                  <a:lnTo>
                    <a:pt x="759" y="0"/>
                  </a:lnTo>
                  <a:lnTo>
                    <a:pt x="767" y="0"/>
                  </a:lnTo>
                  <a:lnTo>
                    <a:pt x="767" y="0"/>
                  </a:lnTo>
                  <a:lnTo>
                    <a:pt x="774" y="0"/>
                  </a:lnTo>
                  <a:lnTo>
                    <a:pt x="774" y="0"/>
                  </a:lnTo>
                  <a:lnTo>
                    <a:pt x="774" y="0"/>
                  </a:lnTo>
                  <a:lnTo>
                    <a:pt x="774" y="0"/>
                  </a:lnTo>
                  <a:lnTo>
                    <a:pt x="782" y="0"/>
                  </a:lnTo>
                  <a:lnTo>
                    <a:pt x="782" y="0"/>
                  </a:lnTo>
                  <a:lnTo>
                    <a:pt x="790" y="0"/>
                  </a:lnTo>
                  <a:lnTo>
                    <a:pt x="790" y="0"/>
                  </a:lnTo>
                  <a:lnTo>
                    <a:pt x="797" y="0"/>
                  </a:lnTo>
                  <a:lnTo>
                    <a:pt x="797" y="0"/>
                  </a:lnTo>
                  <a:lnTo>
                    <a:pt x="797" y="0"/>
                  </a:lnTo>
                  <a:lnTo>
                    <a:pt x="797" y="0"/>
                  </a:lnTo>
                  <a:lnTo>
                    <a:pt x="805" y="0"/>
                  </a:lnTo>
                  <a:lnTo>
                    <a:pt x="805" y="0"/>
                  </a:lnTo>
                  <a:lnTo>
                    <a:pt x="813" y="0"/>
                  </a:lnTo>
                  <a:lnTo>
                    <a:pt x="813" y="0"/>
                  </a:lnTo>
                  <a:lnTo>
                    <a:pt x="820" y="0"/>
                  </a:lnTo>
                  <a:lnTo>
                    <a:pt x="820" y="0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836" y="0"/>
                  </a:lnTo>
                  <a:lnTo>
                    <a:pt x="836" y="0"/>
                  </a:lnTo>
                  <a:lnTo>
                    <a:pt x="843" y="0"/>
                  </a:lnTo>
                  <a:lnTo>
                    <a:pt x="843" y="0"/>
                  </a:lnTo>
                  <a:lnTo>
                    <a:pt x="851" y="0"/>
                  </a:lnTo>
                  <a:lnTo>
                    <a:pt x="851" y="0"/>
                  </a:lnTo>
                  <a:lnTo>
                    <a:pt x="851" y="0"/>
                  </a:lnTo>
                  <a:lnTo>
                    <a:pt x="851" y="0"/>
                  </a:lnTo>
                </a:path>
              </a:pathLst>
            </a:custGeom>
            <a:noFill/>
            <a:ln w="23813" cap="sq">
              <a:solidFill>
                <a:srgbClr val="C8568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91" name="Rectangle 90"/>
            <p:cNvSpPr>
              <a:spLocks noChangeArrowheads="1"/>
            </p:cNvSpPr>
            <p:nvPr/>
          </p:nvSpPr>
          <p:spPr bwMode="auto">
            <a:xfrm>
              <a:off x="5797" y="3456"/>
              <a:ext cx="7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rgbClr val="DF536B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</p:grpSp>
      <p:sp>
        <p:nvSpPr>
          <p:cNvPr id="98" name="Rechteck 14">
            <a:extLst>
              <a:ext uri="{FF2B5EF4-FFF2-40B4-BE49-F238E27FC236}">
                <a16:creationId xmlns:a16="http://schemas.microsoft.com/office/drawing/2014/main" id="{54D898B0-0C3C-CE48-9DA1-6FD93F125A29}"/>
              </a:ext>
            </a:extLst>
          </p:cNvPr>
          <p:cNvSpPr/>
          <p:nvPr/>
        </p:nvSpPr>
        <p:spPr>
          <a:xfrm>
            <a:off x="7608568" y="1682923"/>
            <a:ext cx="3411857" cy="609966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28575">
            <a:solidFill>
              <a:schemeClr val="accent3">
                <a:lumMod val="75000"/>
              </a:schemeClr>
            </a:solidFill>
          </a:ln>
        </p:spPr>
        <p:txBody>
          <a:bodyPr wrap="square" lIns="90000" tIns="108000" bIns="108000" rtlCol="0" anchor="ctr">
            <a:noAutofit/>
          </a:bodyPr>
          <a:lstStyle/>
          <a:p>
            <a:pPr marL="0" marR="0" lvl="2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Death from heart (cardiovascular)</a:t>
            </a:r>
            <a:r>
              <a:rPr kumimoji="0" lang="en-GB" sz="20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 disease</a:t>
            </a:r>
            <a:r>
              <a:rPr kumimoji="0" lang="en-GB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 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ulish" pitchFamily="2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99" name="Rechteck 14">
            <a:extLst>
              <a:ext uri="{FF2B5EF4-FFF2-40B4-BE49-F238E27FC236}">
                <a16:creationId xmlns:a16="http://schemas.microsoft.com/office/drawing/2014/main" id="{DAD1E1BD-0D8A-2348-8B7B-09F7641C4568}"/>
              </a:ext>
            </a:extLst>
          </p:cNvPr>
          <p:cNvSpPr/>
          <p:nvPr/>
        </p:nvSpPr>
        <p:spPr>
          <a:xfrm>
            <a:off x="1777783" y="1678858"/>
            <a:ext cx="3137303" cy="63709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90000" tIns="108000" bIns="108000" rtlCol="0" anchor="ctr">
            <a:noAutofit/>
          </a:bodyPr>
          <a:lstStyle/>
          <a:p>
            <a:pPr marL="0" marR="0" lvl="2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Kidney disease progress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1296826" y="2580630"/>
            <a:ext cx="446201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In those allocated to </a:t>
            </a:r>
            <a:r>
              <a:rPr lang="en-US" altLang="en-US" b="1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PLACEBO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: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   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504 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out of 3305 people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(15.2%)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  <a:p>
            <a:pPr lvl="0"/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In those allocated to </a:t>
            </a:r>
            <a:r>
              <a:rPr lang="en-US" altLang="en-US" b="1" dirty="0">
                <a:solidFill>
                  <a:srgbClr val="CE08A8"/>
                </a:solidFill>
                <a:latin typeface="Mulish" pitchFamily="2" charset="0"/>
              </a:rPr>
              <a:t>EMPAGLIFLOZIN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:</a:t>
            </a:r>
          </a:p>
          <a:p>
            <a:pPr lvl="0"/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   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384 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out of 3304 people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(11.6%)</a:t>
            </a:r>
            <a:endParaRPr lang="en-US" alt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7011266" y="2571567"/>
            <a:ext cx="446201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In those allocated to </a:t>
            </a:r>
            <a:r>
              <a:rPr lang="en-US" altLang="en-US" b="1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PLACEBO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: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   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69 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out of 3305 people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(2.1%)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  <a:p>
            <a:pPr lvl="0"/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In those allocated to </a:t>
            </a:r>
            <a:r>
              <a:rPr lang="en-US" altLang="en-US" b="1" dirty="0">
                <a:solidFill>
                  <a:srgbClr val="CE08A8"/>
                </a:solidFill>
                <a:latin typeface="Mulish" pitchFamily="2" charset="0"/>
              </a:rPr>
              <a:t>EMPAGLIFLOZIN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:</a:t>
            </a:r>
          </a:p>
          <a:p>
            <a:pPr lvl="0"/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   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59 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out of 3304 people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(1.8%)</a:t>
            </a:r>
            <a:endParaRPr lang="en-US" altLang="en-US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113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Both components examined separately</a:t>
            </a:r>
            <a:endParaRPr dirty="0"/>
          </a:p>
        </p:txBody>
      </p:sp>
      <p:grpSp>
        <p:nvGrpSpPr>
          <p:cNvPr id="4" name="Group 3"/>
          <p:cNvGrpSpPr/>
          <p:nvPr/>
        </p:nvGrpSpPr>
        <p:grpSpPr>
          <a:xfrm>
            <a:off x="162790" y="2289865"/>
            <a:ext cx="5312958" cy="3939361"/>
            <a:chOff x="647864" y="1838326"/>
            <a:chExt cx="10418375" cy="3939361"/>
          </a:xfrm>
        </p:grpSpPr>
        <p:sp>
          <p:nvSpPr>
            <p:cNvPr id="6" name="Line 5"/>
            <p:cNvSpPr>
              <a:spLocks noChangeShapeType="1"/>
            </p:cNvSpPr>
            <p:nvPr/>
          </p:nvSpPr>
          <p:spPr bwMode="auto">
            <a:xfrm>
              <a:off x="2538413" y="5138738"/>
              <a:ext cx="8183563" cy="0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7" name="Line 6"/>
            <p:cNvSpPr>
              <a:spLocks noChangeShapeType="1"/>
            </p:cNvSpPr>
            <p:nvPr/>
          </p:nvSpPr>
          <p:spPr bwMode="auto">
            <a:xfrm flipV="1">
              <a:off x="2538413" y="2036763"/>
              <a:ext cx="0" cy="3101975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2538413" y="5138738"/>
              <a:ext cx="8183563" cy="0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2538413" y="5138738"/>
              <a:ext cx="0" cy="93663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4176713" y="5138738"/>
              <a:ext cx="0" cy="93663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1" name="Line 10"/>
            <p:cNvSpPr>
              <a:spLocks noChangeShapeType="1"/>
            </p:cNvSpPr>
            <p:nvPr/>
          </p:nvSpPr>
          <p:spPr bwMode="auto">
            <a:xfrm>
              <a:off x="4176713" y="5138738"/>
              <a:ext cx="0" cy="93663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2" name="Line 11"/>
            <p:cNvSpPr>
              <a:spLocks noChangeShapeType="1"/>
            </p:cNvSpPr>
            <p:nvPr/>
          </p:nvSpPr>
          <p:spPr bwMode="auto">
            <a:xfrm>
              <a:off x="5816600" y="5138738"/>
              <a:ext cx="0" cy="93663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3" name="Line 12"/>
            <p:cNvSpPr>
              <a:spLocks noChangeShapeType="1"/>
            </p:cNvSpPr>
            <p:nvPr/>
          </p:nvSpPr>
          <p:spPr bwMode="auto">
            <a:xfrm>
              <a:off x="5816600" y="5138738"/>
              <a:ext cx="0" cy="93663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4" name="Line 13"/>
            <p:cNvSpPr>
              <a:spLocks noChangeShapeType="1"/>
            </p:cNvSpPr>
            <p:nvPr/>
          </p:nvSpPr>
          <p:spPr bwMode="auto">
            <a:xfrm>
              <a:off x="7454900" y="5138738"/>
              <a:ext cx="0" cy="93663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5" name="Line 14"/>
            <p:cNvSpPr>
              <a:spLocks noChangeShapeType="1"/>
            </p:cNvSpPr>
            <p:nvPr/>
          </p:nvSpPr>
          <p:spPr bwMode="auto">
            <a:xfrm>
              <a:off x="7454900" y="5138738"/>
              <a:ext cx="0" cy="93663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6" name="Line 15"/>
            <p:cNvSpPr>
              <a:spLocks noChangeShapeType="1"/>
            </p:cNvSpPr>
            <p:nvPr/>
          </p:nvSpPr>
          <p:spPr bwMode="auto">
            <a:xfrm>
              <a:off x="9083675" y="5138738"/>
              <a:ext cx="0" cy="93663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7" name="Line 16"/>
            <p:cNvSpPr>
              <a:spLocks noChangeShapeType="1"/>
            </p:cNvSpPr>
            <p:nvPr/>
          </p:nvSpPr>
          <p:spPr bwMode="auto">
            <a:xfrm>
              <a:off x="9083675" y="5138738"/>
              <a:ext cx="0" cy="93663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8" name="Line 17"/>
            <p:cNvSpPr>
              <a:spLocks noChangeShapeType="1"/>
            </p:cNvSpPr>
            <p:nvPr/>
          </p:nvSpPr>
          <p:spPr bwMode="auto">
            <a:xfrm>
              <a:off x="10721975" y="5138738"/>
              <a:ext cx="0" cy="93663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19" name="Line 18"/>
            <p:cNvSpPr>
              <a:spLocks noChangeShapeType="1"/>
            </p:cNvSpPr>
            <p:nvPr/>
          </p:nvSpPr>
          <p:spPr bwMode="auto">
            <a:xfrm flipV="1">
              <a:off x="2538413" y="2036763"/>
              <a:ext cx="0" cy="3101975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0" name="Line 19"/>
            <p:cNvSpPr>
              <a:spLocks noChangeShapeType="1"/>
            </p:cNvSpPr>
            <p:nvPr/>
          </p:nvSpPr>
          <p:spPr bwMode="auto">
            <a:xfrm flipH="1">
              <a:off x="2444750" y="5138738"/>
              <a:ext cx="93663" cy="0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1" name="Line 20"/>
            <p:cNvSpPr>
              <a:spLocks noChangeShapeType="1"/>
            </p:cNvSpPr>
            <p:nvPr/>
          </p:nvSpPr>
          <p:spPr bwMode="auto">
            <a:xfrm flipH="1">
              <a:off x="2444750" y="4365626"/>
              <a:ext cx="93663" cy="0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2" name="Line 21"/>
            <p:cNvSpPr>
              <a:spLocks noChangeShapeType="1"/>
            </p:cNvSpPr>
            <p:nvPr/>
          </p:nvSpPr>
          <p:spPr bwMode="auto">
            <a:xfrm flipH="1">
              <a:off x="2444750" y="3594101"/>
              <a:ext cx="93663" cy="0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3" name="Line 22"/>
            <p:cNvSpPr>
              <a:spLocks noChangeShapeType="1"/>
            </p:cNvSpPr>
            <p:nvPr/>
          </p:nvSpPr>
          <p:spPr bwMode="auto">
            <a:xfrm flipH="1">
              <a:off x="2444750" y="2820988"/>
              <a:ext cx="93663" cy="0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4" name="Line 23"/>
            <p:cNvSpPr>
              <a:spLocks noChangeShapeType="1"/>
            </p:cNvSpPr>
            <p:nvPr/>
          </p:nvSpPr>
          <p:spPr bwMode="auto">
            <a:xfrm flipH="1">
              <a:off x="2444750" y="2036763"/>
              <a:ext cx="93663" cy="0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2349502" y="5278438"/>
              <a:ext cx="270331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3860802" y="5278438"/>
              <a:ext cx="65382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0.5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</a:endParaRPr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5624514" y="5278438"/>
              <a:ext cx="270331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1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</a:endParaRP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7134225" y="5278438"/>
              <a:ext cx="65382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1.5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</a:endParaRPr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8902700" y="5278438"/>
              <a:ext cx="270331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2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</a:endParaRPr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>
              <a:off x="10412414" y="5278438"/>
              <a:ext cx="65382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2.5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</a:endParaRPr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1944690" y="4938713"/>
              <a:ext cx="270331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1770063" y="4167188"/>
              <a:ext cx="54066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1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1770063" y="3394076"/>
              <a:ext cx="54066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2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</a:endParaRPr>
            </a:p>
          </p:txBody>
        </p:sp>
        <p:sp>
          <p:nvSpPr>
            <p:cNvPr id="34" name="Rectangle 33"/>
            <p:cNvSpPr>
              <a:spLocks noChangeArrowheads="1"/>
            </p:cNvSpPr>
            <p:nvPr/>
          </p:nvSpPr>
          <p:spPr bwMode="auto">
            <a:xfrm>
              <a:off x="1770063" y="2622551"/>
              <a:ext cx="54066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3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</a:endParaRPr>
            </a:p>
          </p:txBody>
        </p:sp>
        <p:sp>
          <p:nvSpPr>
            <p:cNvPr id="35" name="Rectangle 34"/>
            <p:cNvSpPr>
              <a:spLocks noChangeArrowheads="1"/>
            </p:cNvSpPr>
            <p:nvPr/>
          </p:nvSpPr>
          <p:spPr bwMode="auto">
            <a:xfrm>
              <a:off x="1770063" y="1838326"/>
              <a:ext cx="54066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40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</a:endParaRPr>
            </a:p>
          </p:txBody>
        </p:sp>
        <p:sp>
          <p:nvSpPr>
            <p:cNvPr id="36" name="Rectangle 35"/>
            <p:cNvSpPr>
              <a:spLocks noChangeArrowheads="1"/>
            </p:cNvSpPr>
            <p:nvPr/>
          </p:nvSpPr>
          <p:spPr bwMode="auto">
            <a:xfrm>
              <a:off x="5160964" y="5500688"/>
              <a:ext cx="407697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dirty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Years of Follow-up</a:t>
              </a:r>
              <a:endParaRPr kumimoji="0" lang="en-US" altLang="en-US" sz="14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</a:endParaRPr>
            </a:p>
          </p:txBody>
        </p:sp>
        <p:sp>
          <p:nvSpPr>
            <p:cNvPr id="37" name="Rectangle 36"/>
            <p:cNvSpPr>
              <a:spLocks noChangeArrowheads="1"/>
            </p:cNvSpPr>
            <p:nvPr/>
          </p:nvSpPr>
          <p:spPr bwMode="auto">
            <a:xfrm rot="16200000">
              <a:off x="-592179" y="3310591"/>
              <a:ext cx="3023264" cy="5431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dirty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Participants with Event (%)</a:t>
              </a:r>
              <a:endParaRPr kumimoji="0" lang="en-US" altLang="en-US" sz="14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2538413" y="4178301"/>
              <a:ext cx="6227763" cy="960438"/>
            </a:xfrm>
            <a:custGeom>
              <a:avLst/>
              <a:gdLst>
                <a:gd name="T0" fmla="*/ 287 w 3923"/>
                <a:gd name="T1" fmla="*/ 605 h 605"/>
                <a:gd name="T2" fmla="*/ 376 w 3923"/>
                <a:gd name="T3" fmla="*/ 598 h 605"/>
                <a:gd name="T4" fmla="*/ 487 w 3923"/>
                <a:gd name="T5" fmla="*/ 590 h 605"/>
                <a:gd name="T6" fmla="*/ 627 w 3923"/>
                <a:gd name="T7" fmla="*/ 590 h 605"/>
                <a:gd name="T8" fmla="*/ 730 w 3923"/>
                <a:gd name="T9" fmla="*/ 590 h 605"/>
                <a:gd name="T10" fmla="*/ 841 w 3923"/>
                <a:gd name="T11" fmla="*/ 583 h 605"/>
                <a:gd name="T12" fmla="*/ 914 w 3923"/>
                <a:gd name="T13" fmla="*/ 583 h 605"/>
                <a:gd name="T14" fmla="*/ 988 w 3923"/>
                <a:gd name="T15" fmla="*/ 568 h 605"/>
                <a:gd name="T16" fmla="*/ 1062 w 3923"/>
                <a:gd name="T17" fmla="*/ 553 h 605"/>
                <a:gd name="T18" fmla="*/ 1121 w 3923"/>
                <a:gd name="T19" fmla="*/ 546 h 605"/>
                <a:gd name="T20" fmla="*/ 1209 w 3923"/>
                <a:gd name="T21" fmla="*/ 539 h 605"/>
                <a:gd name="T22" fmla="*/ 1357 w 3923"/>
                <a:gd name="T23" fmla="*/ 539 h 605"/>
                <a:gd name="T24" fmla="*/ 1460 w 3923"/>
                <a:gd name="T25" fmla="*/ 539 h 605"/>
                <a:gd name="T26" fmla="*/ 1534 w 3923"/>
                <a:gd name="T27" fmla="*/ 524 h 605"/>
                <a:gd name="T28" fmla="*/ 1622 w 3923"/>
                <a:gd name="T29" fmla="*/ 517 h 605"/>
                <a:gd name="T30" fmla="*/ 1755 w 3923"/>
                <a:gd name="T31" fmla="*/ 517 h 605"/>
                <a:gd name="T32" fmla="*/ 1829 w 3923"/>
                <a:gd name="T33" fmla="*/ 509 h 605"/>
                <a:gd name="T34" fmla="*/ 1888 w 3923"/>
                <a:gd name="T35" fmla="*/ 494 h 605"/>
                <a:gd name="T36" fmla="*/ 1932 w 3923"/>
                <a:gd name="T37" fmla="*/ 480 h 605"/>
                <a:gd name="T38" fmla="*/ 1984 w 3923"/>
                <a:gd name="T39" fmla="*/ 465 h 605"/>
                <a:gd name="T40" fmla="*/ 2028 w 3923"/>
                <a:gd name="T41" fmla="*/ 450 h 605"/>
                <a:gd name="T42" fmla="*/ 2080 w 3923"/>
                <a:gd name="T43" fmla="*/ 421 h 605"/>
                <a:gd name="T44" fmla="*/ 2124 w 3923"/>
                <a:gd name="T45" fmla="*/ 406 h 605"/>
                <a:gd name="T46" fmla="*/ 2168 w 3923"/>
                <a:gd name="T47" fmla="*/ 399 h 605"/>
                <a:gd name="T48" fmla="*/ 2212 w 3923"/>
                <a:gd name="T49" fmla="*/ 391 h 605"/>
                <a:gd name="T50" fmla="*/ 2257 w 3923"/>
                <a:gd name="T51" fmla="*/ 391 h 605"/>
                <a:gd name="T52" fmla="*/ 2316 w 3923"/>
                <a:gd name="T53" fmla="*/ 384 h 605"/>
                <a:gd name="T54" fmla="*/ 2360 w 3923"/>
                <a:gd name="T55" fmla="*/ 376 h 605"/>
                <a:gd name="T56" fmla="*/ 2404 w 3923"/>
                <a:gd name="T57" fmla="*/ 362 h 605"/>
                <a:gd name="T58" fmla="*/ 2448 w 3923"/>
                <a:gd name="T59" fmla="*/ 362 h 605"/>
                <a:gd name="T60" fmla="*/ 2493 w 3923"/>
                <a:gd name="T61" fmla="*/ 362 h 605"/>
                <a:gd name="T62" fmla="*/ 2537 w 3923"/>
                <a:gd name="T63" fmla="*/ 362 h 605"/>
                <a:gd name="T64" fmla="*/ 2589 w 3923"/>
                <a:gd name="T65" fmla="*/ 354 h 605"/>
                <a:gd name="T66" fmla="*/ 2633 w 3923"/>
                <a:gd name="T67" fmla="*/ 347 h 605"/>
                <a:gd name="T68" fmla="*/ 2677 w 3923"/>
                <a:gd name="T69" fmla="*/ 340 h 605"/>
                <a:gd name="T70" fmla="*/ 2721 w 3923"/>
                <a:gd name="T71" fmla="*/ 340 h 605"/>
                <a:gd name="T72" fmla="*/ 2766 w 3923"/>
                <a:gd name="T73" fmla="*/ 332 h 605"/>
                <a:gd name="T74" fmla="*/ 2810 w 3923"/>
                <a:gd name="T75" fmla="*/ 332 h 605"/>
                <a:gd name="T76" fmla="*/ 2854 w 3923"/>
                <a:gd name="T77" fmla="*/ 310 h 605"/>
                <a:gd name="T78" fmla="*/ 2906 w 3923"/>
                <a:gd name="T79" fmla="*/ 303 h 605"/>
                <a:gd name="T80" fmla="*/ 2950 w 3923"/>
                <a:gd name="T81" fmla="*/ 281 h 605"/>
                <a:gd name="T82" fmla="*/ 2994 w 3923"/>
                <a:gd name="T83" fmla="*/ 266 h 605"/>
                <a:gd name="T84" fmla="*/ 3038 w 3923"/>
                <a:gd name="T85" fmla="*/ 244 h 605"/>
                <a:gd name="T86" fmla="*/ 3083 w 3923"/>
                <a:gd name="T87" fmla="*/ 222 h 605"/>
                <a:gd name="T88" fmla="*/ 3127 w 3923"/>
                <a:gd name="T89" fmla="*/ 200 h 605"/>
                <a:gd name="T90" fmla="*/ 3171 w 3923"/>
                <a:gd name="T91" fmla="*/ 170 h 605"/>
                <a:gd name="T92" fmla="*/ 3215 w 3923"/>
                <a:gd name="T93" fmla="*/ 141 h 605"/>
                <a:gd name="T94" fmla="*/ 3267 w 3923"/>
                <a:gd name="T95" fmla="*/ 126 h 605"/>
                <a:gd name="T96" fmla="*/ 3311 w 3923"/>
                <a:gd name="T97" fmla="*/ 111 h 605"/>
                <a:gd name="T98" fmla="*/ 3356 w 3923"/>
                <a:gd name="T99" fmla="*/ 104 h 605"/>
                <a:gd name="T100" fmla="*/ 3400 w 3923"/>
                <a:gd name="T101" fmla="*/ 89 h 605"/>
                <a:gd name="T102" fmla="*/ 3444 w 3923"/>
                <a:gd name="T103" fmla="*/ 74 h 605"/>
                <a:gd name="T104" fmla="*/ 3488 w 3923"/>
                <a:gd name="T105" fmla="*/ 74 h 605"/>
                <a:gd name="T106" fmla="*/ 3533 w 3923"/>
                <a:gd name="T107" fmla="*/ 74 h 605"/>
                <a:gd name="T108" fmla="*/ 3584 w 3923"/>
                <a:gd name="T109" fmla="*/ 67 h 605"/>
                <a:gd name="T110" fmla="*/ 3628 w 3923"/>
                <a:gd name="T111" fmla="*/ 52 h 605"/>
                <a:gd name="T112" fmla="*/ 3673 w 3923"/>
                <a:gd name="T113" fmla="*/ 45 h 605"/>
                <a:gd name="T114" fmla="*/ 3717 w 3923"/>
                <a:gd name="T115" fmla="*/ 37 h 605"/>
                <a:gd name="T116" fmla="*/ 3761 w 3923"/>
                <a:gd name="T117" fmla="*/ 30 h 605"/>
                <a:gd name="T118" fmla="*/ 3805 w 3923"/>
                <a:gd name="T119" fmla="*/ 23 h 605"/>
                <a:gd name="T120" fmla="*/ 3850 w 3923"/>
                <a:gd name="T121" fmla="*/ 15 h 605"/>
                <a:gd name="T122" fmla="*/ 3901 w 3923"/>
                <a:gd name="T123" fmla="*/ 8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923" h="605">
                  <a:moveTo>
                    <a:pt x="0" y="605"/>
                  </a:moveTo>
                  <a:lnTo>
                    <a:pt x="103" y="605"/>
                  </a:lnTo>
                  <a:lnTo>
                    <a:pt x="103" y="605"/>
                  </a:lnTo>
                  <a:lnTo>
                    <a:pt x="169" y="605"/>
                  </a:lnTo>
                  <a:lnTo>
                    <a:pt x="169" y="605"/>
                  </a:lnTo>
                  <a:lnTo>
                    <a:pt x="214" y="605"/>
                  </a:lnTo>
                  <a:lnTo>
                    <a:pt x="214" y="605"/>
                  </a:lnTo>
                  <a:lnTo>
                    <a:pt x="221" y="605"/>
                  </a:lnTo>
                  <a:lnTo>
                    <a:pt x="221" y="605"/>
                  </a:lnTo>
                  <a:lnTo>
                    <a:pt x="236" y="605"/>
                  </a:lnTo>
                  <a:lnTo>
                    <a:pt x="236" y="605"/>
                  </a:lnTo>
                  <a:lnTo>
                    <a:pt x="243" y="605"/>
                  </a:lnTo>
                  <a:lnTo>
                    <a:pt x="243" y="605"/>
                  </a:lnTo>
                  <a:lnTo>
                    <a:pt x="258" y="605"/>
                  </a:lnTo>
                  <a:lnTo>
                    <a:pt x="258" y="605"/>
                  </a:lnTo>
                  <a:lnTo>
                    <a:pt x="287" y="605"/>
                  </a:lnTo>
                  <a:lnTo>
                    <a:pt x="287" y="605"/>
                  </a:lnTo>
                  <a:lnTo>
                    <a:pt x="310" y="605"/>
                  </a:lnTo>
                  <a:lnTo>
                    <a:pt x="310" y="605"/>
                  </a:lnTo>
                  <a:lnTo>
                    <a:pt x="317" y="605"/>
                  </a:lnTo>
                  <a:lnTo>
                    <a:pt x="317" y="605"/>
                  </a:lnTo>
                  <a:lnTo>
                    <a:pt x="339" y="605"/>
                  </a:lnTo>
                  <a:lnTo>
                    <a:pt x="339" y="605"/>
                  </a:lnTo>
                  <a:lnTo>
                    <a:pt x="354" y="605"/>
                  </a:lnTo>
                  <a:lnTo>
                    <a:pt x="354" y="605"/>
                  </a:lnTo>
                  <a:lnTo>
                    <a:pt x="361" y="605"/>
                  </a:lnTo>
                  <a:lnTo>
                    <a:pt x="361" y="598"/>
                  </a:lnTo>
                  <a:lnTo>
                    <a:pt x="361" y="598"/>
                  </a:lnTo>
                  <a:lnTo>
                    <a:pt x="361" y="598"/>
                  </a:lnTo>
                  <a:lnTo>
                    <a:pt x="369" y="598"/>
                  </a:lnTo>
                  <a:lnTo>
                    <a:pt x="369" y="598"/>
                  </a:lnTo>
                  <a:lnTo>
                    <a:pt x="376" y="598"/>
                  </a:lnTo>
                  <a:lnTo>
                    <a:pt x="376" y="598"/>
                  </a:lnTo>
                  <a:lnTo>
                    <a:pt x="383" y="598"/>
                  </a:lnTo>
                  <a:lnTo>
                    <a:pt x="383" y="598"/>
                  </a:lnTo>
                  <a:lnTo>
                    <a:pt x="383" y="598"/>
                  </a:lnTo>
                  <a:lnTo>
                    <a:pt x="383" y="598"/>
                  </a:lnTo>
                  <a:lnTo>
                    <a:pt x="413" y="598"/>
                  </a:lnTo>
                  <a:lnTo>
                    <a:pt x="413" y="590"/>
                  </a:lnTo>
                  <a:lnTo>
                    <a:pt x="420" y="590"/>
                  </a:lnTo>
                  <a:lnTo>
                    <a:pt x="420" y="590"/>
                  </a:lnTo>
                  <a:lnTo>
                    <a:pt x="428" y="590"/>
                  </a:lnTo>
                  <a:lnTo>
                    <a:pt x="428" y="590"/>
                  </a:lnTo>
                  <a:lnTo>
                    <a:pt x="464" y="590"/>
                  </a:lnTo>
                  <a:lnTo>
                    <a:pt x="464" y="590"/>
                  </a:lnTo>
                  <a:lnTo>
                    <a:pt x="487" y="590"/>
                  </a:lnTo>
                  <a:lnTo>
                    <a:pt x="487" y="590"/>
                  </a:lnTo>
                  <a:lnTo>
                    <a:pt x="487" y="590"/>
                  </a:lnTo>
                  <a:lnTo>
                    <a:pt x="487" y="590"/>
                  </a:lnTo>
                  <a:lnTo>
                    <a:pt x="553" y="590"/>
                  </a:lnTo>
                  <a:lnTo>
                    <a:pt x="553" y="590"/>
                  </a:lnTo>
                  <a:lnTo>
                    <a:pt x="560" y="590"/>
                  </a:lnTo>
                  <a:lnTo>
                    <a:pt x="560" y="590"/>
                  </a:lnTo>
                  <a:lnTo>
                    <a:pt x="575" y="590"/>
                  </a:lnTo>
                  <a:lnTo>
                    <a:pt x="575" y="590"/>
                  </a:lnTo>
                  <a:lnTo>
                    <a:pt x="597" y="590"/>
                  </a:lnTo>
                  <a:lnTo>
                    <a:pt x="597" y="590"/>
                  </a:lnTo>
                  <a:lnTo>
                    <a:pt x="605" y="590"/>
                  </a:lnTo>
                  <a:lnTo>
                    <a:pt x="605" y="590"/>
                  </a:lnTo>
                  <a:lnTo>
                    <a:pt x="619" y="590"/>
                  </a:lnTo>
                  <a:lnTo>
                    <a:pt x="619" y="590"/>
                  </a:lnTo>
                  <a:lnTo>
                    <a:pt x="627" y="590"/>
                  </a:lnTo>
                  <a:lnTo>
                    <a:pt x="627" y="590"/>
                  </a:lnTo>
                  <a:lnTo>
                    <a:pt x="627" y="590"/>
                  </a:lnTo>
                  <a:lnTo>
                    <a:pt x="627" y="590"/>
                  </a:lnTo>
                  <a:lnTo>
                    <a:pt x="649" y="590"/>
                  </a:lnTo>
                  <a:lnTo>
                    <a:pt x="649" y="590"/>
                  </a:lnTo>
                  <a:lnTo>
                    <a:pt x="678" y="590"/>
                  </a:lnTo>
                  <a:lnTo>
                    <a:pt x="678" y="590"/>
                  </a:lnTo>
                  <a:lnTo>
                    <a:pt x="686" y="590"/>
                  </a:lnTo>
                  <a:lnTo>
                    <a:pt x="686" y="590"/>
                  </a:lnTo>
                  <a:lnTo>
                    <a:pt x="693" y="590"/>
                  </a:lnTo>
                  <a:lnTo>
                    <a:pt x="693" y="590"/>
                  </a:lnTo>
                  <a:lnTo>
                    <a:pt x="715" y="590"/>
                  </a:lnTo>
                  <a:lnTo>
                    <a:pt x="715" y="590"/>
                  </a:lnTo>
                  <a:lnTo>
                    <a:pt x="723" y="590"/>
                  </a:lnTo>
                  <a:lnTo>
                    <a:pt x="723" y="590"/>
                  </a:lnTo>
                  <a:lnTo>
                    <a:pt x="723" y="590"/>
                  </a:lnTo>
                  <a:lnTo>
                    <a:pt x="723" y="590"/>
                  </a:lnTo>
                  <a:lnTo>
                    <a:pt x="730" y="590"/>
                  </a:lnTo>
                  <a:lnTo>
                    <a:pt x="730" y="590"/>
                  </a:lnTo>
                  <a:lnTo>
                    <a:pt x="745" y="590"/>
                  </a:lnTo>
                  <a:lnTo>
                    <a:pt x="745" y="590"/>
                  </a:lnTo>
                  <a:lnTo>
                    <a:pt x="752" y="590"/>
                  </a:lnTo>
                  <a:lnTo>
                    <a:pt x="752" y="590"/>
                  </a:lnTo>
                  <a:lnTo>
                    <a:pt x="752" y="590"/>
                  </a:lnTo>
                  <a:lnTo>
                    <a:pt x="752" y="590"/>
                  </a:lnTo>
                  <a:lnTo>
                    <a:pt x="782" y="590"/>
                  </a:lnTo>
                  <a:lnTo>
                    <a:pt x="782" y="590"/>
                  </a:lnTo>
                  <a:lnTo>
                    <a:pt x="796" y="590"/>
                  </a:lnTo>
                  <a:lnTo>
                    <a:pt x="796" y="583"/>
                  </a:lnTo>
                  <a:lnTo>
                    <a:pt x="818" y="583"/>
                  </a:lnTo>
                  <a:lnTo>
                    <a:pt x="818" y="583"/>
                  </a:lnTo>
                  <a:lnTo>
                    <a:pt x="826" y="583"/>
                  </a:lnTo>
                  <a:lnTo>
                    <a:pt x="826" y="583"/>
                  </a:lnTo>
                  <a:lnTo>
                    <a:pt x="841" y="583"/>
                  </a:lnTo>
                  <a:lnTo>
                    <a:pt x="841" y="583"/>
                  </a:lnTo>
                  <a:lnTo>
                    <a:pt x="848" y="583"/>
                  </a:lnTo>
                  <a:lnTo>
                    <a:pt x="848" y="583"/>
                  </a:lnTo>
                  <a:lnTo>
                    <a:pt x="855" y="583"/>
                  </a:lnTo>
                  <a:lnTo>
                    <a:pt x="855" y="583"/>
                  </a:lnTo>
                  <a:lnTo>
                    <a:pt x="870" y="583"/>
                  </a:lnTo>
                  <a:lnTo>
                    <a:pt x="870" y="583"/>
                  </a:lnTo>
                  <a:lnTo>
                    <a:pt x="870" y="583"/>
                  </a:lnTo>
                  <a:lnTo>
                    <a:pt x="870" y="583"/>
                  </a:lnTo>
                  <a:lnTo>
                    <a:pt x="877" y="583"/>
                  </a:lnTo>
                  <a:lnTo>
                    <a:pt x="877" y="583"/>
                  </a:lnTo>
                  <a:lnTo>
                    <a:pt x="885" y="583"/>
                  </a:lnTo>
                  <a:lnTo>
                    <a:pt x="885" y="583"/>
                  </a:lnTo>
                  <a:lnTo>
                    <a:pt x="892" y="583"/>
                  </a:lnTo>
                  <a:lnTo>
                    <a:pt x="892" y="583"/>
                  </a:lnTo>
                  <a:lnTo>
                    <a:pt x="914" y="583"/>
                  </a:lnTo>
                  <a:lnTo>
                    <a:pt x="914" y="576"/>
                  </a:lnTo>
                  <a:lnTo>
                    <a:pt x="922" y="576"/>
                  </a:lnTo>
                  <a:lnTo>
                    <a:pt x="922" y="576"/>
                  </a:lnTo>
                  <a:lnTo>
                    <a:pt x="936" y="576"/>
                  </a:lnTo>
                  <a:lnTo>
                    <a:pt x="936" y="568"/>
                  </a:lnTo>
                  <a:lnTo>
                    <a:pt x="944" y="568"/>
                  </a:lnTo>
                  <a:lnTo>
                    <a:pt x="944" y="568"/>
                  </a:lnTo>
                  <a:lnTo>
                    <a:pt x="944" y="568"/>
                  </a:lnTo>
                  <a:lnTo>
                    <a:pt x="944" y="568"/>
                  </a:lnTo>
                  <a:lnTo>
                    <a:pt x="951" y="568"/>
                  </a:lnTo>
                  <a:lnTo>
                    <a:pt x="951" y="568"/>
                  </a:lnTo>
                  <a:lnTo>
                    <a:pt x="966" y="568"/>
                  </a:lnTo>
                  <a:lnTo>
                    <a:pt x="966" y="568"/>
                  </a:lnTo>
                  <a:lnTo>
                    <a:pt x="981" y="568"/>
                  </a:lnTo>
                  <a:lnTo>
                    <a:pt x="981" y="568"/>
                  </a:lnTo>
                  <a:lnTo>
                    <a:pt x="988" y="568"/>
                  </a:lnTo>
                  <a:lnTo>
                    <a:pt x="988" y="568"/>
                  </a:lnTo>
                  <a:lnTo>
                    <a:pt x="988" y="568"/>
                  </a:lnTo>
                  <a:lnTo>
                    <a:pt x="988" y="561"/>
                  </a:lnTo>
                  <a:lnTo>
                    <a:pt x="995" y="561"/>
                  </a:lnTo>
                  <a:lnTo>
                    <a:pt x="995" y="561"/>
                  </a:lnTo>
                  <a:lnTo>
                    <a:pt x="1003" y="561"/>
                  </a:lnTo>
                  <a:lnTo>
                    <a:pt x="1003" y="561"/>
                  </a:lnTo>
                  <a:lnTo>
                    <a:pt x="1018" y="561"/>
                  </a:lnTo>
                  <a:lnTo>
                    <a:pt x="1018" y="553"/>
                  </a:lnTo>
                  <a:lnTo>
                    <a:pt x="1025" y="553"/>
                  </a:lnTo>
                  <a:lnTo>
                    <a:pt x="1025" y="553"/>
                  </a:lnTo>
                  <a:lnTo>
                    <a:pt x="1032" y="553"/>
                  </a:lnTo>
                  <a:lnTo>
                    <a:pt x="1032" y="553"/>
                  </a:lnTo>
                  <a:lnTo>
                    <a:pt x="1040" y="553"/>
                  </a:lnTo>
                  <a:lnTo>
                    <a:pt x="1040" y="553"/>
                  </a:lnTo>
                  <a:lnTo>
                    <a:pt x="1062" y="553"/>
                  </a:lnTo>
                  <a:lnTo>
                    <a:pt x="1062" y="546"/>
                  </a:lnTo>
                  <a:lnTo>
                    <a:pt x="1062" y="546"/>
                  </a:lnTo>
                  <a:lnTo>
                    <a:pt x="1062" y="546"/>
                  </a:lnTo>
                  <a:lnTo>
                    <a:pt x="1084" y="546"/>
                  </a:lnTo>
                  <a:lnTo>
                    <a:pt x="1084" y="546"/>
                  </a:lnTo>
                  <a:lnTo>
                    <a:pt x="1091" y="546"/>
                  </a:lnTo>
                  <a:lnTo>
                    <a:pt x="1091" y="546"/>
                  </a:lnTo>
                  <a:lnTo>
                    <a:pt x="1099" y="546"/>
                  </a:lnTo>
                  <a:lnTo>
                    <a:pt x="1099" y="546"/>
                  </a:lnTo>
                  <a:lnTo>
                    <a:pt x="1106" y="546"/>
                  </a:lnTo>
                  <a:lnTo>
                    <a:pt x="1106" y="546"/>
                  </a:lnTo>
                  <a:lnTo>
                    <a:pt x="1113" y="546"/>
                  </a:lnTo>
                  <a:lnTo>
                    <a:pt x="1113" y="546"/>
                  </a:lnTo>
                  <a:lnTo>
                    <a:pt x="1113" y="546"/>
                  </a:lnTo>
                  <a:lnTo>
                    <a:pt x="1113" y="546"/>
                  </a:lnTo>
                  <a:lnTo>
                    <a:pt x="1121" y="546"/>
                  </a:lnTo>
                  <a:lnTo>
                    <a:pt x="1121" y="546"/>
                  </a:lnTo>
                  <a:lnTo>
                    <a:pt x="1136" y="546"/>
                  </a:lnTo>
                  <a:lnTo>
                    <a:pt x="1136" y="546"/>
                  </a:lnTo>
                  <a:lnTo>
                    <a:pt x="1150" y="546"/>
                  </a:lnTo>
                  <a:lnTo>
                    <a:pt x="1150" y="539"/>
                  </a:lnTo>
                  <a:lnTo>
                    <a:pt x="1158" y="539"/>
                  </a:lnTo>
                  <a:lnTo>
                    <a:pt x="1158" y="539"/>
                  </a:lnTo>
                  <a:lnTo>
                    <a:pt x="1158" y="539"/>
                  </a:lnTo>
                  <a:lnTo>
                    <a:pt x="1158" y="539"/>
                  </a:lnTo>
                  <a:lnTo>
                    <a:pt x="1172" y="539"/>
                  </a:lnTo>
                  <a:lnTo>
                    <a:pt x="1172" y="539"/>
                  </a:lnTo>
                  <a:lnTo>
                    <a:pt x="1180" y="539"/>
                  </a:lnTo>
                  <a:lnTo>
                    <a:pt x="1180" y="539"/>
                  </a:lnTo>
                  <a:lnTo>
                    <a:pt x="1187" y="539"/>
                  </a:lnTo>
                  <a:lnTo>
                    <a:pt x="1187" y="539"/>
                  </a:lnTo>
                  <a:lnTo>
                    <a:pt x="1209" y="539"/>
                  </a:lnTo>
                  <a:lnTo>
                    <a:pt x="1209" y="539"/>
                  </a:lnTo>
                  <a:lnTo>
                    <a:pt x="1239" y="539"/>
                  </a:lnTo>
                  <a:lnTo>
                    <a:pt x="1239" y="539"/>
                  </a:lnTo>
                  <a:lnTo>
                    <a:pt x="1254" y="539"/>
                  </a:lnTo>
                  <a:lnTo>
                    <a:pt x="1254" y="539"/>
                  </a:lnTo>
                  <a:lnTo>
                    <a:pt x="1283" y="539"/>
                  </a:lnTo>
                  <a:lnTo>
                    <a:pt x="1283" y="539"/>
                  </a:lnTo>
                  <a:lnTo>
                    <a:pt x="1298" y="539"/>
                  </a:lnTo>
                  <a:lnTo>
                    <a:pt x="1298" y="539"/>
                  </a:lnTo>
                  <a:lnTo>
                    <a:pt x="1305" y="539"/>
                  </a:lnTo>
                  <a:lnTo>
                    <a:pt x="1305" y="539"/>
                  </a:lnTo>
                  <a:lnTo>
                    <a:pt x="1305" y="539"/>
                  </a:lnTo>
                  <a:lnTo>
                    <a:pt x="1305" y="539"/>
                  </a:lnTo>
                  <a:lnTo>
                    <a:pt x="1349" y="539"/>
                  </a:lnTo>
                  <a:lnTo>
                    <a:pt x="1349" y="539"/>
                  </a:lnTo>
                  <a:lnTo>
                    <a:pt x="1357" y="539"/>
                  </a:lnTo>
                  <a:lnTo>
                    <a:pt x="1357" y="539"/>
                  </a:lnTo>
                  <a:lnTo>
                    <a:pt x="1364" y="539"/>
                  </a:lnTo>
                  <a:lnTo>
                    <a:pt x="1364" y="539"/>
                  </a:lnTo>
                  <a:lnTo>
                    <a:pt x="1386" y="539"/>
                  </a:lnTo>
                  <a:lnTo>
                    <a:pt x="1386" y="539"/>
                  </a:lnTo>
                  <a:lnTo>
                    <a:pt x="1401" y="539"/>
                  </a:lnTo>
                  <a:lnTo>
                    <a:pt x="1401" y="539"/>
                  </a:lnTo>
                  <a:lnTo>
                    <a:pt x="1401" y="539"/>
                  </a:lnTo>
                  <a:lnTo>
                    <a:pt x="1401" y="539"/>
                  </a:lnTo>
                  <a:lnTo>
                    <a:pt x="1438" y="539"/>
                  </a:lnTo>
                  <a:lnTo>
                    <a:pt x="1438" y="539"/>
                  </a:lnTo>
                  <a:lnTo>
                    <a:pt x="1453" y="539"/>
                  </a:lnTo>
                  <a:lnTo>
                    <a:pt x="1453" y="539"/>
                  </a:lnTo>
                  <a:lnTo>
                    <a:pt x="1453" y="539"/>
                  </a:lnTo>
                  <a:lnTo>
                    <a:pt x="1453" y="539"/>
                  </a:lnTo>
                  <a:lnTo>
                    <a:pt x="1460" y="539"/>
                  </a:lnTo>
                  <a:lnTo>
                    <a:pt x="1460" y="539"/>
                  </a:lnTo>
                  <a:lnTo>
                    <a:pt x="1475" y="539"/>
                  </a:lnTo>
                  <a:lnTo>
                    <a:pt x="1475" y="531"/>
                  </a:lnTo>
                  <a:lnTo>
                    <a:pt x="1482" y="531"/>
                  </a:lnTo>
                  <a:lnTo>
                    <a:pt x="1482" y="531"/>
                  </a:lnTo>
                  <a:lnTo>
                    <a:pt x="1490" y="531"/>
                  </a:lnTo>
                  <a:lnTo>
                    <a:pt x="1490" y="531"/>
                  </a:lnTo>
                  <a:lnTo>
                    <a:pt x="1497" y="531"/>
                  </a:lnTo>
                  <a:lnTo>
                    <a:pt x="1497" y="531"/>
                  </a:lnTo>
                  <a:lnTo>
                    <a:pt x="1497" y="531"/>
                  </a:lnTo>
                  <a:lnTo>
                    <a:pt x="1497" y="531"/>
                  </a:lnTo>
                  <a:lnTo>
                    <a:pt x="1512" y="531"/>
                  </a:lnTo>
                  <a:lnTo>
                    <a:pt x="1512" y="524"/>
                  </a:lnTo>
                  <a:lnTo>
                    <a:pt x="1526" y="524"/>
                  </a:lnTo>
                  <a:lnTo>
                    <a:pt x="1526" y="524"/>
                  </a:lnTo>
                  <a:lnTo>
                    <a:pt x="1534" y="524"/>
                  </a:lnTo>
                  <a:lnTo>
                    <a:pt x="1534" y="524"/>
                  </a:lnTo>
                  <a:lnTo>
                    <a:pt x="1541" y="524"/>
                  </a:lnTo>
                  <a:lnTo>
                    <a:pt x="1541" y="524"/>
                  </a:lnTo>
                  <a:lnTo>
                    <a:pt x="1549" y="524"/>
                  </a:lnTo>
                  <a:lnTo>
                    <a:pt x="1549" y="524"/>
                  </a:lnTo>
                  <a:lnTo>
                    <a:pt x="1549" y="524"/>
                  </a:lnTo>
                  <a:lnTo>
                    <a:pt x="1549" y="524"/>
                  </a:lnTo>
                  <a:lnTo>
                    <a:pt x="1556" y="524"/>
                  </a:lnTo>
                  <a:lnTo>
                    <a:pt x="1556" y="517"/>
                  </a:lnTo>
                  <a:lnTo>
                    <a:pt x="1593" y="517"/>
                  </a:lnTo>
                  <a:lnTo>
                    <a:pt x="1593" y="517"/>
                  </a:lnTo>
                  <a:lnTo>
                    <a:pt x="1600" y="517"/>
                  </a:lnTo>
                  <a:lnTo>
                    <a:pt x="1600" y="517"/>
                  </a:lnTo>
                  <a:lnTo>
                    <a:pt x="1622" y="517"/>
                  </a:lnTo>
                  <a:lnTo>
                    <a:pt x="1622" y="517"/>
                  </a:lnTo>
                  <a:lnTo>
                    <a:pt x="1622" y="517"/>
                  </a:lnTo>
                  <a:lnTo>
                    <a:pt x="1622" y="517"/>
                  </a:lnTo>
                  <a:lnTo>
                    <a:pt x="1645" y="517"/>
                  </a:lnTo>
                  <a:lnTo>
                    <a:pt x="1645" y="517"/>
                  </a:lnTo>
                  <a:lnTo>
                    <a:pt x="1645" y="517"/>
                  </a:lnTo>
                  <a:lnTo>
                    <a:pt x="1645" y="517"/>
                  </a:lnTo>
                  <a:lnTo>
                    <a:pt x="1674" y="517"/>
                  </a:lnTo>
                  <a:lnTo>
                    <a:pt x="1674" y="517"/>
                  </a:lnTo>
                  <a:lnTo>
                    <a:pt x="1696" y="517"/>
                  </a:lnTo>
                  <a:lnTo>
                    <a:pt x="1696" y="517"/>
                  </a:lnTo>
                  <a:lnTo>
                    <a:pt x="1718" y="517"/>
                  </a:lnTo>
                  <a:lnTo>
                    <a:pt x="1718" y="517"/>
                  </a:lnTo>
                  <a:lnTo>
                    <a:pt x="1740" y="517"/>
                  </a:lnTo>
                  <a:lnTo>
                    <a:pt x="1740" y="517"/>
                  </a:lnTo>
                  <a:lnTo>
                    <a:pt x="1748" y="517"/>
                  </a:lnTo>
                  <a:lnTo>
                    <a:pt x="1748" y="517"/>
                  </a:lnTo>
                  <a:lnTo>
                    <a:pt x="1755" y="517"/>
                  </a:lnTo>
                  <a:lnTo>
                    <a:pt x="1755" y="517"/>
                  </a:lnTo>
                  <a:lnTo>
                    <a:pt x="1763" y="517"/>
                  </a:lnTo>
                  <a:lnTo>
                    <a:pt x="1763" y="517"/>
                  </a:lnTo>
                  <a:lnTo>
                    <a:pt x="1792" y="517"/>
                  </a:lnTo>
                  <a:lnTo>
                    <a:pt x="1792" y="517"/>
                  </a:lnTo>
                  <a:lnTo>
                    <a:pt x="1792" y="517"/>
                  </a:lnTo>
                  <a:lnTo>
                    <a:pt x="1792" y="517"/>
                  </a:lnTo>
                  <a:lnTo>
                    <a:pt x="1799" y="517"/>
                  </a:lnTo>
                  <a:lnTo>
                    <a:pt x="1799" y="509"/>
                  </a:lnTo>
                  <a:lnTo>
                    <a:pt x="1814" y="509"/>
                  </a:lnTo>
                  <a:lnTo>
                    <a:pt x="1814" y="509"/>
                  </a:lnTo>
                  <a:lnTo>
                    <a:pt x="1814" y="509"/>
                  </a:lnTo>
                  <a:lnTo>
                    <a:pt x="1814" y="509"/>
                  </a:lnTo>
                  <a:lnTo>
                    <a:pt x="1822" y="509"/>
                  </a:lnTo>
                  <a:lnTo>
                    <a:pt x="1822" y="509"/>
                  </a:lnTo>
                  <a:lnTo>
                    <a:pt x="1829" y="509"/>
                  </a:lnTo>
                  <a:lnTo>
                    <a:pt x="1829" y="509"/>
                  </a:lnTo>
                  <a:lnTo>
                    <a:pt x="1836" y="509"/>
                  </a:lnTo>
                  <a:lnTo>
                    <a:pt x="1836" y="509"/>
                  </a:lnTo>
                  <a:lnTo>
                    <a:pt x="1836" y="509"/>
                  </a:lnTo>
                  <a:lnTo>
                    <a:pt x="1836" y="509"/>
                  </a:lnTo>
                  <a:lnTo>
                    <a:pt x="1866" y="509"/>
                  </a:lnTo>
                  <a:lnTo>
                    <a:pt x="1866" y="502"/>
                  </a:lnTo>
                  <a:lnTo>
                    <a:pt x="1866" y="502"/>
                  </a:lnTo>
                  <a:lnTo>
                    <a:pt x="1866" y="502"/>
                  </a:lnTo>
                  <a:lnTo>
                    <a:pt x="1873" y="502"/>
                  </a:lnTo>
                  <a:lnTo>
                    <a:pt x="1873" y="502"/>
                  </a:lnTo>
                  <a:lnTo>
                    <a:pt x="1881" y="502"/>
                  </a:lnTo>
                  <a:lnTo>
                    <a:pt x="1881" y="494"/>
                  </a:lnTo>
                  <a:lnTo>
                    <a:pt x="1888" y="494"/>
                  </a:lnTo>
                  <a:lnTo>
                    <a:pt x="1888" y="494"/>
                  </a:lnTo>
                  <a:lnTo>
                    <a:pt x="1888" y="494"/>
                  </a:lnTo>
                  <a:lnTo>
                    <a:pt x="1888" y="494"/>
                  </a:lnTo>
                  <a:lnTo>
                    <a:pt x="1895" y="494"/>
                  </a:lnTo>
                  <a:lnTo>
                    <a:pt x="1895" y="494"/>
                  </a:lnTo>
                  <a:lnTo>
                    <a:pt x="1903" y="494"/>
                  </a:lnTo>
                  <a:lnTo>
                    <a:pt x="1903" y="487"/>
                  </a:lnTo>
                  <a:lnTo>
                    <a:pt x="1910" y="487"/>
                  </a:lnTo>
                  <a:lnTo>
                    <a:pt x="1910" y="487"/>
                  </a:lnTo>
                  <a:lnTo>
                    <a:pt x="1910" y="487"/>
                  </a:lnTo>
                  <a:lnTo>
                    <a:pt x="1910" y="480"/>
                  </a:lnTo>
                  <a:lnTo>
                    <a:pt x="1917" y="480"/>
                  </a:lnTo>
                  <a:lnTo>
                    <a:pt x="1917" y="480"/>
                  </a:lnTo>
                  <a:lnTo>
                    <a:pt x="1925" y="480"/>
                  </a:lnTo>
                  <a:lnTo>
                    <a:pt x="1925" y="480"/>
                  </a:lnTo>
                  <a:lnTo>
                    <a:pt x="1932" y="480"/>
                  </a:lnTo>
                  <a:lnTo>
                    <a:pt x="1932" y="480"/>
                  </a:lnTo>
                  <a:lnTo>
                    <a:pt x="1932" y="480"/>
                  </a:lnTo>
                  <a:lnTo>
                    <a:pt x="1932" y="480"/>
                  </a:lnTo>
                  <a:lnTo>
                    <a:pt x="1940" y="480"/>
                  </a:lnTo>
                  <a:lnTo>
                    <a:pt x="1940" y="472"/>
                  </a:lnTo>
                  <a:lnTo>
                    <a:pt x="1947" y="472"/>
                  </a:lnTo>
                  <a:lnTo>
                    <a:pt x="1947" y="472"/>
                  </a:lnTo>
                  <a:lnTo>
                    <a:pt x="1954" y="472"/>
                  </a:lnTo>
                  <a:lnTo>
                    <a:pt x="1954" y="472"/>
                  </a:lnTo>
                  <a:lnTo>
                    <a:pt x="1962" y="472"/>
                  </a:lnTo>
                  <a:lnTo>
                    <a:pt x="1962" y="472"/>
                  </a:lnTo>
                  <a:lnTo>
                    <a:pt x="1962" y="472"/>
                  </a:lnTo>
                  <a:lnTo>
                    <a:pt x="1962" y="472"/>
                  </a:lnTo>
                  <a:lnTo>
                    <a:pt x="1969" y="472"/>
                  </a:lnTo>
                  <a:lnTo>
                    <a:pt x="1969" y="472"/>
                  </a:lnTo>
                  <a:lnTo>
                    <a:pt x="1976" y="472"/>
                  </a:lnTo>
                  <a:lnTo>
                    <a:pt x="1976" y="465"/>
                  </a:lnTo>
                  <a:lnTo>
                    <a:pt x="1984" y="465"/>
                  </a:lnTo>
                  <a:lnTo>
                    <a:pt x="1984" y="465"/>
                  </a:lnTo>
                  <a:lnTo>
                    <a:pt x="1984" y="465"/>
                  </a:lnTo>
                  <a:lnTo>
                    <a:pt x="1984" y="465"/>
                  </a:lnTo>
                  <a:lnTo>
                    <a:pt x="1991" y="465"/>
                  </a:lnTo>
                  <a:lnTo>
                    <a:pt x="1991" y="458"/>
                  </a:lnTo>
                  <a:lnTo>
                    <a:pt x="1999" y="458"/>
                  </a:lnTo>
                  <a:lnTo>
                    <a:pt x="1999" y="458"/>
                  </a:lnTo>
                  <a:lnTo>
                    <a:pt x="2006" y="458"/>
                  </a:lnTo>
                  <a:lnTo>
                    <a:pt x="2006" y="458"/>
                  </a:lnTo>
                  <a:lnTo>
                    <a:pt x="2006" y="458"/>
                  </a:lnTo>
                  <a:lnTo>
                    <a:pt x="2006" y="458"/>
                  </a:lnTo>
                  <a:lnTo>
                    <a:pt x="2013" y="458"/>
                  </a:lnTo>
                  <a:lnTo>
                    <a:pt x="2013" y="450"/>
                  </a:lnTo>
                  <a:lnTo>
                    <a:pt x="2021" y="450"/>
                  </a:lnTo>
                  <a:lnTo>
                    <a:pt x="2021" y="450"/>
                  </a:lnTo>
                  <a:lnTo>
                    <a:pt x="2028" y="450"/>
                  </a:lnTo>
                  <a:lnTo>
                    <a:pt x="2028" y="443"/>
                  </a:lnTo>
                  <a:lnTo>
                    <a:pt x="2035" y="443"/>
                  </a:lnTo>
                  <a:lnTo>
                    <a:pt x="2035" y="443"/>
                  </a:lnTo>
                  <a:lnTo>
                    <a:pt x="2035" y="443"/>
                  </a:lnTo>
                  <a:lnTo>
                    <a:pt x="2035" y="435"/>
                  </a:lnTo>
                  <a:lnTo>
                    <a:pt x="2043" y="435"/>
                  </a:lnTo>
                  <a:lnTo>
                    <a:pt x="2043" y="435"/>
                  </a:lnTo>
                  <a:lnTo>
                    <a:pt x="2058" y="435"/>
                  </a:lnTo>
                  <a:lnTo>
                    <a:pt x="2058" y="435"/>
                  </a:lnTo>
                  <a:lnTo>
                    <a:pt x="2058" y="435"/>
                  </a:lnTo>
                  <a:lnTo>
                    <a:pt x="2058" y="428"/>
                  </a:lnTo>
                  <a:lnTo>
                    <a:pt x="2065" y="428"/>
                  </a:lnTo>
                  <a:lnTo>
                    <a:pt x="2065" y="428"/>
                  </a:lnTo>
                  <a:lnTo>
                    <a:pt x="2072" y="428"/>
                  </a:lnTo>
                  <a:lnTo>
                    <a:pt x="2072" y="421"/>
                  </a:lnTo>
                  <a:lnTo>
                    <a:pt x="2080" y="421"/>
                  </a:lnTo>
                  <a:lnTo>
                    <a:pt x="2080" y="421"/>
                  </a:lnTo>
                  <a:lnTo>
                    <a:pt x="2080" y="421"/>
                  </a:lnTo>
                  <a:lnTo>
                    <a:pt x="2080" y="421"/>
                  </a:lnTo>
                  <a:lnTo>
                    <a:pt x="2087" y="421"/>
                  </a:lnTo>
                  <a:lnTo>
                    <a:pt x="2087" y="421"/>
                  </a:lnTo>
                  <a:lnTo>
                    <a:pt x="2094" y="421"/>
                  </a:lnTo>
                  <a:lnTo>
                    <a:pt x="2094" y="413"/>
                  </a:lnTo>
                  <a:lnTo>
                    <a:pt x="2102" y="413"/>
                  </a:lnTo>
                  <a:lnTo>
                    <a:pt x="2102" y="413"/>
                  </a:lnTo>
                  <a:lnTo>
                    <a:pt x="2102" y="413"/>
                  </a:lnTo>
                  <a:lnTo>
                    <a:pt x="2102" y="413"/>
                  </a:lnTo>
                  <a:lnTo>
                    <a:pt x="2109" y="413"/>
                  </a:lnTo>
                  <a:lnTo>
                    <a:pt x="2109" y="413"/>
                  </a:lnTo>
                  <a:lnTo>
                    <a:pt x="2117" y="413"/>
                  </a:lnTo>
                  <a:lnTo>
                    <a:pt x="2117" y="406"/>
                  </a:lnTo>
                  <a:lnTo>
                    <a:pt x="2124" y="406"/>
                  </a:lnTo>
                  <a:lnTo>
                    <a:pt x="2124" y="406"/>
                  </a:lnTo>
                  <a:lnTo>
                    <a:pt x="2131" y="406"/>
                  </a:lnTo>
                  <a:lnTo>
                    <a:pt x="2131" y="406"/>
                  </a:lnTo>
                  <a:lnTo>
                    <a:pt x="2131" y="406"/>
                  </a:lnTo>
                  <a:lnTo>
                    <a:pt x="2131" y="406"/>
                  </a:lnTo>
                  <a:lnTo>
                    <a:pt x="2139" y="406"/>
                  </a:lnTo>
                  <a:lnTo>
                    <a:pt x="2139" y="399"/>
                  </a:lnTo>
                  <a:lnTo>
                    <a:pt x="2146" y="399"/>
                  </a:lnTo>
                  <a:lnTo>
                    <a:pt x="2146" y="399"/>
                  </a:lnTo>
                  <a:lnTo>
                    <a:pt x="2153" y="399"/>
                  </a:lnTo>
                  <a:lnTo>
                    <a:pt x="2153" y="399"/>
                  </a:lnTo>
                  <a:lnTo>
                    <a:pt x="2153" y="399"/>
                  </a:lnTo>
                  <a:lnTo>
                    <a:pt x="2153" y="399"/>
                  </a:lnTo>
                  <a:lnTo>
                    <a:pt x="2161" y="399"/>
                  </a:lnTo>
                  <a:lnTo>
                    <a:pt x="2161" y="399"/>
                  </a:lnTo>
                  <a:lnTo>
                    <a:pt x="2168" y="399"/>
                  </a:lnTo>
                  <a:lnTo>
                    <a:pt x="2168" y="399"/>
                  </a:lnTo>
                  <a:lnTo>
                    <a:pt x="2176" y="399"/>
                  </a:lnTo>
                  <a:lnTo>
                    <a:pt x="2176" y="399"/>
                  </a:lnTo>
                  <a:lnTo>
                    <a:pt x="2176" y="399"/>
                  </a:lnTo>
                  <a:lnTo>
                    <a:pt x="2176" y="399"/>
                  </a:lnTo>
                  <a:lnTo>
                    <a:pt x="2183" y="399"/>
                  </a:lnTo>
                  <a:lnTo>
                    <a:pt x="2183" y="391"/>
                  </a:lnTo>
                  <a:lnTo>
                    <a:pt x="2190" y="391"/>
                  </a:lnTo>
                  <a:lnTo>
                    <a:pt x="2190" y="391"/>
                  </a:lnTo>
                  <a:lnTo>
                    <a:pt x="2198" y="391"/>
                  </a:lnTo>
                  <a:lnTo>
                    <a:pt x="2198" y="391"/>
                  </a:lnTo>
                  <a:lnTo>
                    <a:pt x="2205" y="391"/>
                  </a:lnTo>
                  <a:lnTo>
                    <a:pt x="2205" y="391"/>
                  </a:lnTo>
                  <a:lnTo>
                    <a:pt x="2205" y="391"/>
                  </a:lnTo>
                  <a:lnTo>
                    <a:pt x="2205" y="391"/>
                  </a:lnTo>
                  <a:lnTo>
                    <a:pt x="2212" y="391"/>
                  </a:lnTo>
                  <a:lnTo>
                    <a:pt x="2212" y="391"/>
                  </a:lnTo>
                  <a:lnTo>
                    <a:pt x="2220" y="391"/>
                  </a:lnTo>
                  <a:lnTo>
                    <a:pt x="2220" y="391"/>
                  </a:lnTo>
                  <a:lnTo>
                    <a:pt x="2227" y="391"/>
                  </a:lnTo>
                  <a:lnTo>
                    <a:pt x="2227" y="391"/>
                  </a:lnTo>
                  <a:lnTo>
                    <a:pt x="2227" y="391"/>
                  </a:lnTo>
                  <a:lnTo>
                    <a:pt x="2227" y="391"/>
                  </a:lnTo>
                  <a:lnTo>
                    <a:pt x="2235" y="391"/>
                  </a:lnTo>
                  <a:lnTo>
                    <a:pt x="2235" y="391"/>
                  </a:lnTo>
                  <a:lnTo>
                    <a:pt x="2242" y="391"/>
                  </a:lnTo>
                  <a:lnTo>
                    <a:pt x="2242" y="391"/>
                  </a:lnTo>
                  <a:lnTo>
                    <a:pt x="2249" y="391"/>
                  </a:lnTo>
                  <a:lnTo>
                    <a:pt x="2249" y="391"/>
                  </a:lnTo>
                  <a:lnTo>
                    <a:pt x="2249" y="391"/>
                  </a:lnTo>
                  <a:lnTo>
                    <a:pt x="2249" y="391"/>
                  </a:lnTo>
                  <a:lnTo>
                    <a:pt x="2257" y="391"/>
                  </a:lnTo>
                  <a:lnTo>
                    <a:pt x="2257" y="391"/>
                  </a:lnTo>
                  <a:lnTo>
                    <a:pt x="2264" y="391"/>
                  </a:lnTo>
                  <a:lnTo>
                    <a:pt x="2264" y="384"/>
                  </a:lnTo>
                  <a:lnTo>
                    <a:pt x="2271" y="384"/>
                  </a:lnTo>
                  <a:lnTo>
                    <a:pt x="2271" y="384"/>
                  </a:lnTo>
                  <a:lnTo>
                    <a:pt x="2286" y="384"/>
                  </a:lnTo>
                  <a:lnTo>
                    <a:pt x="2286" y="384"/>
                  </a:lnTo>
                  <a:lnTo>
                    <a:pt x="2294" y="384"/>
                  </a:lnTo>
                  <a:lnTo>
                    <a:pt x="2294" y="384"/>
                  </a:lnTo>
                  <a:lnTo>
                    <a:pt x="2301" y="384"/>
                  </a:lnTo>
                  <a:lnTo>
                    <a:pt x="2301" y="384"/>
                  </a:lnTo>
                  <a:lnTo>
                    <a:pt x="2301" y="384"/>
                  </a:lnTo>
                  <a:lnTo>
                    <a:pt x="2301" y="384"/>
                  </a:lnTo>
                  <a:lnTo>
                    <a:pt x="2308" y="384"/>
                  </a:lnTo>
                  <a:lnTo>
                    <a:pt x="2308" y="384"/>
                  </a:lnTo>
                  <a:lnTo>
                    <a:pt x="2316" y="384"/>
                  </a:lnTo>
                  <a:lnTo>
                    <a:pt x="2316" y="384"/>
                  </a:lnTo>
                  <a:lnTo>
                    <a:pt x="2323" y="384"/>
                  </a:lnTo>
                  <a:lnTo>
                    <a:pt x="2323" y="384"/>
                  </a:lnTo>
                  <a:lnTo>
                    <a:pt x="2323" y="384"/>
                  </a:lnTo>
                  <a:lnTo>
                    <a:pt x="2323" y="384"/>
                  </a:lnTo>
                  <a:lnTo>
                    <a:pt x="2330" y="384"/>
                  </a:lnTo>
                  <a:lnTo>
                    <a:pt x="2330" y="384"/>
                  </a:lnTo>
                  <a:lnTo>
                    <a:pt x="2338" y="384"/>
                  </a:lnTo>
                  <a:lnTo>
                    <a:pt x="2338" y="384"/>
                  </a:lnTo>
                  <a:lnTo>
                    <a:pt x="2345" y="384"/>
                  </a:lnTo>
                  <a:lnTo>
                    <a:pt x="2345" y="376"/>
                  </a:lnTo>
                  <a:lnTo>
                    <a:pt x="2345" y="376"/>
                  </a:lnTo>
                  <a:lnTo>
                    <a:pt x="2345" y="376"/>
                  </a:lnTo>
                  <a:lnTo>
                    <a:pt x="2353" y="376"/>
                  </a:lnTo>
                  <a:lnTo>
                    <a:pt x="2353" y="376"/>
                  </a:lnTo>
                  <a:lnTo>
                    <a:pt x="2360" y="376"/>
                  </a:lnTo>
                  <a:lnTo>
                    <a:pt x="2360" y="376"/>
                  </a:lnTo>
                  <a:lnTo>
                    <a:pt x="2367" y="376"/>
                  </a:lnTo>
                  <a:lnTo>
                    <a:pt x="2367" y="376"/>
                  </a:lnTo>
                  <a:lnTo>
                    <a:pt x="2375" y="376"/>
                  </a:lnTo>
                  <a:lnTo>
                    <a:pt x="2375" y="369"/>
                  </a:lnTo>
                  <a:lnTo>
                    <a:pt x="2375" y="369"/>
                  </a:lnTo>
                  <a:lnTo>
                    <a:pt x="2375" y="369"/>
                  </a:lnTo>
                  <a:lnTo>
                    <a:pt x="2382" y="369"/>
                  </a:lnTo>
                  <a:lnTo>
                    <a:pt x="2382" y="369"/>
                  </a:lnTo>
                  <a:lnTo>
                    <a:pt x="2389" y="369"/>
                  </a:lnTo>
                  <a:lnTo>
                    <a:pt x="2389" y="369"/>
                  </a:lnTo>
                  <a:lnTo>
                    <a:pt x="2397" y="369"/>
                  </a:lnTo>
                  <a:lnTo>
                    <a:pt x="2397" y="369"/>
                  </a:lnTo>
                  <a:lnTo>
                    <a:pt x="2397" y="369"/>
                  </a:lnTo>
                  <a:lnTo>
                    <a:pt x="2397" y="362"/>
                  </a:lnTo>
                  <a:lnTo>
                    <a:pt x="2404" y="362"/>
                  </a:lnTo>
                  <a:lnTo>
                    <a:pt x="2404" y="362"/>
                  </a:lnTo>
                  <a:lnTo>
                    <a:pt x="2412" y="362"/>
                  </a:lnTo>
                  <a:lnTo>
                    <a:pt x="2412" y="362"/>
                  </a:lnTo>
                  <a:lnTo>
                    <a:pt x="2419" y="362"/>
                  </a:lnTo>
                  <a:lnTo>
                    <a:pt x="2419" y="362"/>
                  </a:lnTo>
                  <a:lnTo>
                    <a:pt x="2419" y="362"/>
                  </a:lnTo>
                  <a:lnTo>
                    <a:pt x="2419" y="362"/>
                  </a:lnTo>
                  <a:lnTo>
                    <a:pt x="2426" y="362"/>
                  </a:lnTo>
                  <a:lnTo>
                    <a:pt x="2426" y="362"/>
                  </a:lnTo>
                  <a:lnTo>
                    <a:pt x="2434" y="362"/>
                  </a:lnTo>
                  <a:lnTo>
                    <a:pt x="2434" y="362"/>
                  </a:lnTo>
                  <a:lnTo>
                    <a:pt x="2441" y="362"/>
                  </a:lnTo>
                  <a:lnTo>
                    <a:pt x="2441" y="362"/>
                  </a:lnTo>
                  <a:lnTo>
                    <a:pt x="2441" y="362"/>
                  </a:lnTo>
                  <a:lnTo>
                    <a:pt x="2441" y="362"/>
                  </a:lnTo>
                  <a:lnTo>
                    <a:pt x="2448" y="362"/>
                  </a:lnTo>
                  <a:lnTo>
                    <a:pt x="2448" y="362"/>
                  </a:lnTo>
                  <a:lnTo>
                    <a:pt x="2456" y="362"/>
                  </a:lnTo>
                  <a:lnTo>
                    <a:pt x="2456" y="362"/>
                  </a:lnTo>
                  <a:lnTo>
                    <a:pt x="2463" y="362"/>
                  </a:lnTo>
                  <a:lnTo>
                    <a:pt x="2463" y="362"/>
                  </a:lnTo>
                  <a:lnTo>
                    <a:pt x="2471" y="362"/>
                  </a:lnTo>
                  <a:lnTo>
                    <a:pt x="2471" y="362"/>
                  </a:lnTo>
                  <a:lnTo>
                    <a:pt x="2471" y="362"/>
                  </a:lnTo>
                  <a:lnTo>
                    <a:pt x="2471" y="362"/>
                  </a:lnTo>
                  <a:lnTo>
                    <a:pt x="2478" y="362"/>
                  </a:lnTo>
                  <a:lnTo>
                    <a:pt x="2478" y="362"/>
                  </a:lnTo>
                  <a:lnTo>
                    <a:pt x="2485" y="362"/>
                  </a:lnTo>
                  <a:lnTo>
                    <a:pt x="2485" y="362"/>
                  </a:lnTo>
                  <a:lnTo>
                    <a:pt x="2493" y="362"/>
                  </a:lnTo>
                  <a:lnTo>
                    <a:pt x="2493" y="362"/>
                  </a:lnTo>
                  <a:lnTo>
                    <a:pt x="2493" y="362"/>
                  </a:lnTo>
                  <a:lnTo>
                    <a:pt x="2493" y="362"/>
                  </a:lnTo>
                  <a:lnTo>
                    <a:pt x="2500" y="362"/>
                  </a:lnTo>
                  <a:lnTo>
                    <a:pt x="2500" y="362"/>
                  </a:lnTo>
                  <a:lnTo>
                    <a:pt x="2507" y="362"/>
                  </a:lnTo>
                  <a:lnTo>
                    <a:pt x="2507" y="362"/>
                  </a:lnTo>
                  <a:lnTo>
                    <a:pt x="2515" y="362"/>
                  </a:lnTo>
                  <a:lnTo>
                    <a:pt x="2515" y="362"/>
                  </a:lnTo>
                  <a:lnTo>
                    <a:pt x="2515" y="362"/>
                  </a:lnTo>
                  <a:lnTo>
                    <a:pt x="2515" y="362"/>
                  </a:lnTo>
                  <a:lnTo>
                    <a:pt x="2522" y="362"/>
                  </a:lnTo>
                  <a:lnTo>
                    <a:pt x="2522" y="362"/>
                  </a:lnTo>
                  <a:lnTo>
                    <a:pt x="2530" y="362"/>
                  </a:lnTo>
                  <a:lnTo>
                    <a:pt x="2530" y="362"/>
                  </a:lnTo>
                  <a:lnTo>
                    <a:pt x="2537" y="362"/>
                  </a:lnTo>
                  <a:lnTo>
                    <a:pt x="2537" y="362"/>
                  </a:lnTo>
                  <a:lnTo>
                    <a:pt x="2537" y="362"/>
                  </a:lnTo>
                  <a:lnTo>
                    <a:pt x="2537" y="362"/>
                  </a:lnTo>
                  <a:lnTo>
                    <a:pt x="2544" y="362"/>
                  </a:lnTo>
                  <a:lnTo>
                    <a:pt x="2544" y="362"/>
                  </a:lnTo>
                  <a:lnTo>
                    <a:pt x="2552" y="362"/>
                  </a:lnTo>
                  <a:lnTo>
                    <a:pt x="2552" y="362"/>
                  </a:lnTo>
                  <a:lnTo>
                    <a:pt x="2559" y="362"/>
                  </a:lnTo>
                  <a:lnTo>
                    <a:pt x="2559" y="362"/>
                  </a:lnTo>
                  <a:lnTo>
                    <a:pt x="2566" y="362"/>
                  </a:lnTo>
                  <a:lnTo>
                    <a:pt x="2566" y="362"/>
                  </a:lnTo>
                  <a:lnTo>
                    <a:pt x="2566" y="362"/>
                  </a:lnTo>
                  <a:lnTo>
                    <a:pt x="2566" y="354"/>
                  </a:lnTo>
                  <a:lnTo>
                    <a:pt x="2574" y="354"/>
                  </a:lnTo>
                  <a:lnTo>
                    <a:pt x="2574" y="354"/>
                  </a:lnTo>
                  <a:lnTo>
                    <a:pt x="2581" y="354"/>
                  </a:lnTo>
                  <a:lnTo>
                    <a:pt x="2581" y="354"/>
                  </a:lnTo>
                  <a:lnTo>
                    <a:pt x="2589" y="354"/>
                  </a:lnTo>
                  <a:lnTo>
                    <a:pt x="2589" y="347"/>
                  </a:lnTo>
                  <a:lnTo>
                    <a:pt x="2589" y="347"/>
                  </a:lnTo>
                  <a:lnTo>
                    <a:pt x="2589" y="347"/>
                  </a:lnTo>
                  <a:lnTo>
                    <a:pt x="2596" y="347"/>
                  </a:lnTo>
                  <a:lnTo>
                    <a:pt x="2596" y="347"/>
                  </a:lnTo>
                  <a:lnTo>
                    <a:pt x="2603" y="347"/>
                  </a:lnTo>
                  <a:lnTo>
                    <a:pt x="2603" y="347"/>
                  </a:lnTo>
                  <a:lnTo>
                    <a:pt x="2611" y="347"/>
                  </a:lnTo>
                  <a:lnTo>
                    <a:pt x="2611" y="347"/>
                  </a:lnTo>
                  <a:lnTo>
                    <a:pt x="2611" y="347"/>
                  </a:lnTo>
                  <a:lnTo>
                    <a:pt x="2611" y="347"/>
                  </a:lnTo>
                  <a:lnTo>
                    <a:pt x="2618" y="347"/>
                  </a:lnTo>
                  <a:lnTo>
                    <a:pt x="2618" y="347"/>
                  </a:lnTo>
                  <a:lnTo>
                    <a:pt x="2625" y="347"/>
                  </a:lnTo>
                  <a:lnTo>
                    <a:pt x="2625" y="347"/>
                  </a:lnTo>
                  <a:lnTo>
                    <a:pt x="2633" y="347"/>
                  </a:lnTo>
                  <a:lnTo>
                    <a:pt x="2633" y="347"/>
                  </a:lnTo>
                  <a:lnTo>
                    <a:pt x="2640" y="347"/>
                  </a:lnTo>
                  <a:lnTo>
                    <a:pt x="2640" y="347"/>
                  </a:lnTo>
                  <a:lnTo>
                    <a:pt x="2640" y="347"/>
                  </a:lnTo>
                  <a:lnTo>
                    <a:pt x="2640" y="340"/>
                  </a:lnTo>
                  <a:lnTo>
                    <a:pt x="2648" y="340"/>
                  </a:lnTo>
                  <a:lnTo>
                    <a:pt x="2648" y="340"/>
                  </a:lnTo>
                  <a:lnTo>
                    <a:pt x="2655" y="340"/>
                  </a:lnTo>
                  <a:lnTo>
                    <a:pt x="2655" y="340"/>
                  </a:lnTo>
                  <a:lnTo>
                    <a:pt x="2662" y="340"/>
                  </a:lnTo>
                  <a:lnTo>
                    <a:pt x="2662" y="340"/>
                  </a:lnTo>
                  <a:lnTo>
                    <a:pt x="2662" y="340"/>
                  </a:lnTo>
                  <a:lnTo>
                    <a:pt x="2662" y="340"/>
                  </a:lnTo>
                  <a:lnTo>
                    <a:pt x="2670" y="340"/>
                  </a:lnTo>
                  <a:lnTo>
                    <a:pt x="2670" y="340"/>
                  </a:lnTo>
                  <a:lnTo>
                    <a:pt x="2677" y="340"/>
                  </a:lnTo>
                  <a:lnTo>
                    <a:pt x="2677" y="340"/>
                  </a:lnTo>
                  <a:lnTo>
                    <a:pt x="2684" y="340"/>
                  </a:lnTo>
                  <a:lnTo>
                    <a:pt x="2684" y="340"/>
                  </a:lnTo>
                  <a:lnTo>
                    <a:pt x="2684" y="340"/>
                  </a:lnTo>
                  <a:lnTo>
                    <a:pt x="2684" y="340"/>
                  </a:lnTo>
                  <a:lnTo>
                    <a:pt x="2692" y="340"/>
                  </a:lnTo>
                  <a:lnTo>
                    <a:pt x="2692" y="340"/>
                  </a:lnTo>
                  <a:lnTo>
                    <a:pt x="2699" y="340"/>
                  </a:lnTo>
                  <a:lnTo>
                    <a:pt x="2699" y="340"/>
                  </a:lnTo>
                  <a:lnTo>
                    <a:pt x="2707" y="340"/>
                  </a:lnTo>
                  <a:lnTo>
                    <a:pt x="2707" y="340"/>
                  </a:lnTo>
                  <a:lnTo>
                    <a:pt x="2707" y="340"/>
                  </a:lnTo>
                  <a:lnTo>
                    <a:pt x="2707" y="340"/>
                  </a:lnTo>
                  <a:lnTo>
                    <a:pt x="2714" y="340"/>
                  </a:lnTo>
                  <a:lnTo>
                    <a:pt x="2714" y="340"/>
                  </a:lnTo>
                  <a:lnTo>
                    <a:pt x="2721" y="340"/>
                  </a:lnTo>
                  <a:lnTo>
                    <a:pt x="2721" y="340"/>
                  </a:lnTo>
                  <a:lnTo>
                    <a:pt x="2729" y="340"/>
                  </a:lnTo>
                  <a:lnTo>
                    <a:pt x="2729" y="340"/>
                  </a:lnTo>
                  <a:lnTo>
                    <a:pt x="2736" y="340"/>
                  </a:lnTo>
                  <a:lnTo>
                    <a:pt x="2736" y="332"/>
                  </a:lnTo>
                  <a:lnTo>
                    <a:pt x="2736" y="332"/>
                  </a:lnTo>
                  <a:lnTo>
                    <a:pt x="2736" y="332"/>
                  </a:lnTo>
                  <a:lnTo>
                    <a:pt x="2743" y="332"/>
                  </a:lnTo>
                  <a:lnTo>
                    <a:pt x="2743" y="332"/>
                  </a:lnTo>
                  <a:lnTo>
                    <a:pt x="2751" y="332"/>
                  </a:lnTo>
                  <a:lnTo>
                    <a:pt x="2751" y="332"/>
                  </a:lnTo>
                  <a:lnTo>
                    <a:pt x="2758" y="332"/>
                  </a:lnTo>
                  <a:lnTo>
                    <a:pt x="2758" y="332"/>
                  </a:lnTo>
                  <a:lnTo>
                    <a:pt x="2758" y="332"/>
                  </a:lnTo>
                  <a:lnTo>
                    <a:pt x="2758" y="332"/>
                  </a:lnTo>
                  <a:lnTo>
                    <a:pt x="2766" y="332"/>
                  </a:lnTo>
                  <a:lnTo>
                    <a:pt x="2766" y="332"/>
                  </a:lnTo>
                  <a:lnTo>
                    <a:pt x="2773" y="332"/>
                  </a:lnTo>
                  <a:lnTo>
                    <a:pt x="2773" y="332"/>
                  </a:lnTo>
                  <a:lnTo>
                    <a:pt x="2780" y="332"/>
                  </a:lnTo>
                  <a:lnTo>
                    <a:pt x="2780" y="332"/>
                  </a:lnTo>
                  <a:lnTo>
                    <a:pt x="2780" y="332"/>
                  </a:lnTo>
                  <a:lnTo>
                    <a:pt x="2780" y="332"/>
                  </a:lnTo>
                  <a:lnTo>
                    <a:pt x="2788" y="332"/>
                  </a:lnTo>
                  <a:lnTo>
                    <a:pt x="2788" y="332"/>
                  </a:lnTo>
                  <a:lnTo>
                    <a:pt x="2795" y="332"/>
                  </a:lnTo>
                  <a:lnTo>
                    <a:pt x="2795" y="332"/>
                  </a:lnTo>
                  <a:lnTo>
                    <a:pt x="2802" y="332"/>
                  </a:lnTo>
                  <a:lnTo>
                    <a:pt x="2802" y="332"/>
                  </a:lnTo>
                  <a:lnTo>
                    <a:pt x="2810" y="332"/>
                  </a:lnTo>
                  <a:lnTo>
                    <a:pt x="2810" y="332"/>
                  </a:lnTo>
                  <a:lnTo>
                    <a:pt x="2810" y="332"/>
                  </a:lnTo>
                  <a:lnTo>
                    <a:pt x="2810" y="325"/>
                  </a:lnTo>
                  <a:lnTo>
                    <a:pt x="2817" y="325"/>
                  </a:lnTo>
                  <a:lnTo>
                    <a:pt x="2817" y="325"/>
                  </a:lnTo>
                  <a:lnTo>
                    <a:pt x="2825" y="325"/>
                  </a:lnTo>
                  <a:lnTo>
                    <a:pt x="2825" y="325"/>
                  </a:lnTo>
                  <a:lnTo>
                    <a:pt x="2832" y="325"/>
                  </a:lnTo>
                  <a:lnTo>
                    <a:pt x="2832" y="325"/>
                  </a:lnTo>
                  <a:lnTo>
                    <a:pt x="2832" y="325"/>
                  </a:lnTo>
                  <a:lnTo>
                    <a:pt x="2832" y="325"/>
                  </a:lnTo>
                  <a:lnTo>
                    <a:pt x="2839" y="325"/>
                  </a:lnTo>
                  <a:lnTo>
                    <a:pt x="2839" y="325"/>
                  </a:lnTo>
                  <a:lnTo>
                    <a:pt x="2847" y="325"/>
                  </a:lnTo>
                  <a:lnTo>
                    <a:pt x="2847" y="317"/>
                  </a:lnTo>
                  <a:lnTo>
                    <a:pt x="2854" y="317"/>
                  </a:lnTo>
                  <a:lnTo>
                    <a:pt x="2854" y="310"/>
                  </a:lnTo>
                  <a:lnTo>
                    <a:pt x="2854" y="310"/>
                  </a:lnTo>
                  <a:lnTo>
                    <a:pt x="2854" y="310"/>
                  </a:lnTo>
                  <a:lnTo>
                    <a:pt x="2861" y="310"/>
                  </a:lnTo>
                  <a:lnTo>
                    <a:pt x="2861" y="310"/>
                  </a:lnTo>
                  <a:lnTo>
                    <a:pt x="2869" y="310"/>
                  </a:lnTo>
                  <a:lnTo>
                    <a:pt x="2869" y="310"/>
                  </a:lnTo>
                  <a:lnTo>
                    <a:pt x="2876" y="310"/>
                  </a:lnTo>
                  <a:lnTo>
                    <a:pt x="2876" y="310"/>
                  </a:lnTo>
                  <a:lnTo>
                    <a:pt x="2876" y="310"/>
                  </a:lnTo>
                  <a:lnTo>
                    <a:pt x="2876" y="310"/>
                  </a:lnTo>
                  <a:lnTo>
                    <a:pt x="2884" y="310"/>
                  </a:lnTo>
                  <a:lnTo>
                    <a:pt x="2884" y="310"/>
                  </a:lnTo>
                  <a:lnTo>
                    <a:pt x="2891" y="310"/>
                  </a:lnTo>
                  <a:lnTo>
                    <a:pt x="2891" y="310"/>
                  </a:lnTo>
                  <a:lnTo>
                    <a:pt x="2898" y="310"/>
                  </a:lnTo>
                  <a:lnTo>
                    <a:pt x="2898" y="303"/>
                  </a:lnTo>
                  <a:lnTo>
                    <a:pt x="2906" y="303"/>
                  </a:lnTo>
                  <a:lnTo>
                    <a:pt x="2906" y="303"/>
                  </a:lnTo>
                  <a:lnTo>
                    <a:pt x="2906" y="303"/>
                  </a:lnTo>
                  <a:lnTo>
                    <a:pt x="2906" y="303"/>
                  </a:lnTo>
                  <a:lnTo>
                    <a:pt x="2913" y="303"/>
                  </a:lnTo>
                  <a:lnTo>
                    <a:pt x="2913" y="303"/>
                  </a:lnTo>
                  <a:lnTo>
                    <a:pt x="2920" y="303"/>
                  </a:lnTo>
                  <a:lnTo>
                    <a:pt x="2920" y="295"/>
                  </a:lnTo>
                  <a:lnTo>
                    <a:pt x="2928" y="295"/>
                  </a:lnTo>
                  <a:lnTo>
                    <a:pt x="2928" y="295"/>
                  </a:lnTo>
                  <a:lnTo>
                    <a:pt x="2928" y="295"/>
                  </a:lnTo>
                  <a:lnTo>
                    <a:pt x="2928" y="288"/>
                  </a:lnTo>
                  <a:lnTo>
                    <a:pt x="2935" y="288"/>
                  </a:lnTo>
                  <a:lnTo>
                    <a:pt x="2935" y="281"/>
                  </a:lnTo>
                  <a:lnTo>
                    <a:pt x="2943" y="281"/>
                  </a:lnTo>
                  <a:lnTo>
                    <a:pt x="2943" y="281"/>
                  </a:lnTo>
                  <a:lnTo>
                    <a:pt x="2950" y="281"/>
                  </a:lnTo>
                  <a:lnTo>
                    <a:pt x="2950" y="281"/>
                  </a:lnTo>
                  <a:lnTo>
                    <a:pt x="2950" y="281"/>
                  </a:lnTo>
                  <a:lnTo>
                    <a:pt x="2950" y="281"/>
                  </a:lnTo>
                  <a:lnTo>
                    <a:pt x="2957" y="281"/>
                  </a:lnTo>
                  <a:lnTo>
                    <a:pt x="2957" y="281"/>
                  </a:lnTo>
                  <a:lnTo>
                    <a:pt x="2965" y="281"/>
                  </a:lnTo>
                  <a:lnTo>
                    <a:pt x="2965" y="281"/>
                  </a:lnTo>
                  <a:lnTo>
                    <a:pt x="2972" y="281"/>
                  </a:lnTo>
                  <a:lnTo>
                    <a:pt x="2972" y="266"/>
                  </a:lnTo>
                  <a:lnTo>
                    <a:pt x="2979" y="266"/>
                  </a:lnTo>
                  <a:lnTo>
                    <a:pt x="2979" y="266"/>
                  </a:lnTo>
                  <a:lnTo>
                    <a:pt x="2979" y="266"/>
                  </a:lnTo>
                  <a:lnTo>
                    <a:pt x="2979" y="266"/>
                  </a:lnTo>
                  <a:lnTo>
                    <a:pt x="2987" y="266"/>
                  </a:lnTo>
                  <a:lnTo>
                    <a:pt x="2987" y="266"/>
                  </a:lnTo>
                  <a:lnTo>
                    <a:pt x="2994" y="266"/>
                  </a:lnTo>
                  <a:lnTo>
                    <a:pt x="2994" y="266"/>
                  </a:lnTo>
                  <a:lnTo>
                    <a:pt x="3002" y="266"/>
                  </a:lnTo>
                  <a:lnTo>
                    <a:pt x="3002" y="266"/>
                  </a:lnTo>
                  <a:lnTo>
                    <a:pt x="3002" y="266"/>
                  </a:lnTo>
                  <a:lnTo>
                    <a:pt x="3002" y="258"/>
                  </a:lnTo>
                  <a:lnTo>
                    <a:pt x="3009" y="258"/>
                  </a:lnTo>
                  <a:lnTo>
                    <a:pt x="3009" y="258"/>
                  </a:lnTo>
                  <a:lnTo>
                    <a:pt x="3016" y="258"/>
                  </a:lnTo>
                  <a:lnTo>
                    <a:pt x="3016" y="251"/>
                  </a:lnTo>
                  <a:lnTo>
                    <a:pt x="3024" y="251"/>
                  </a:lnTo>
                  <a:lnTo>
                    <a:pt x="3024" y="251"/>
                  </a:lnTo>
                  <a:lnTo>
                    <a:pt x="3024" y="251"/>
                  </a:lnTo>
                  <a:lnTo>
                    <a:pt x="3024" y="244"/>
                  </a:lnTo>
                  <a:lnTo>
                    <a:pt x="3031" y="244"/>
                  </a:lnTo>
                  <a:lnTo>
                    <a:pt x="3031" y="244"/>
                  </a:lnTo>
                  <a:lnTo>
                    <a:pt x="3038" y="244"/>
                  </a:lnTo>
                  <a:lnTo>
                    <a:pt x="3038" y="244"/>
                  </a:lnTo>
                  <a:lnTo>
                    <a:pt x="3046" y="244"/>
                  </a:lnTo>
                  <a:lnTo>
                    <a:pt x="3046" y="236"/>
                  </a:lnTo>
                  <a:lnTo>
                    <a:pt x="3046" y="236"/>
                  </a:lnTo>
                  <a:lnTo>
                    <a:pt x="3046" y="236"/>
                  </a:lnTo>
                  <a:lnTo>
                    <a:pt x="3053" y="236"/>
                  </a:lnTo>
                  <a:lnTo>
                    <a:pt x="3053" y="236"/>
                  </a:lnTo>
                  <a:lnTo>
                    <a:pt x="3061" y="236"/>
                  </a:lnTo>
                  <a:lnTo>
                    <a:pt x="3061" y="229"/>
                  </a:lnTo>
                  <a:lnTo>
                    <a:pt x="3068" y="229"/>
                  </a:lnTo>
                  <a:lnTo>
                    <a:pt x="3068" y="229"/>
                  </a:lnTo>
                  <a:lnTo>
                    <a:pt x="3075" y="229"/>
                  </a:lnTo>
                  <a:lnTo>
                    <a:pt x="3075" y="229"/>
                  </a:lnTo>
                  <a:lnTo>
                    <a:pt x="3075" y="229"/>
                  </a:lnTo>
                  <a:lnTo>
                    <a:pt x="3075" y="222"/>
                  </a:lnTo>
                  <a:lnTo>
                    <a:pt x="3083" y="222"/>
                  </a:lnTo>
                  <a:lnTo>
                    <a:pt x="3083" y="222"/>
                  </a:lnTo>
                  <a:lnTo>
                    <a:pt x="3090" y="222"/>
                  </a:lnTo>
                  <a:lnTo>
                    <a:pt x="3090" y="214"/>
                  </a:lnTo>
                  <a:lnTo>
                    <a:pt x="3097" y="214"/>
                  </a:lnTo>
                  <a:lnTo>
                    <a:pt x="3097" y="207"/>
                  </a:lnTo>
                  <a:lnTo>
                    <a:pt x="3097" y="207"/>
                  </a:lnTo>
                  <a:lnTo>
                    <a:pt x="3097" y="207"/>
                  </a:lnTo>
                  <a:lnTo>
                    <a:pt x="3105" y="207"/>
                  </a:lnTo>
                  <a:lnTo>
                    <a:pt x="3105" y="207"/>
                  </a:lnTo>
                  <a:lnTo>
                    <a:pt x="3112" y="207"/>
                  </a:lnTo>
                  <a:lnTo>
                    <a:pt x="3112" y="207"/>
                  </a:lnTo>
                  <a:lnTo>
                    <a:pt x="3120" y="207"/>
                  </a:lnTo>
                  <a:lnTo>
                    <a:pt x="3120" y="207"/>
                  </a:lnTo>
                  <a:lnTo>
                    <a:pt x="3120" y="207"/>
                  </a:lnTo>
                  <a:lnTo>
                    <a:pt x="3120" y="200"/>
                  </a:lnTo>
                  <a:lnTo>
                    <a:pt x="3127" y="200"/>
                  </a:lnTo>
                  <a:lnTo>
                    <a:pt x="3127" y="192"/>
                  </a:lnTo>
                  <a:lnTo>
                    <a:pt x="3134" y="192"/>
                  </a:lnTo>
                  <a:lnTo>
                    <a:pt x="3134" y="185"/>
                  </a:lnTo>
                  <a:lnTo>
                    <a:pt x="3142" y="185"/>
                  </a:lnTo>
                  <a:lnTo>
                    <a:pt x="3142" y="185"/>
                  </a:lnTo>
                  <a:lnTo>
                    <a:pt x="3149" y="185"/>
                  </a:lnTo>
                  <a:lnTo>
                    <a:pt x="3149" y="185"/>
                  </a:lnTo>
                  <a:lnTo>
                    <a:pt x="3149" y="185"/>
                  </a:lnTo>
                  <a:lnTo>
                    <a:pt x="3149" y="185"/>
                  </a:lnTo>
                  <a:lnTo>
                    <a:pt x="3156" y="185"/>
                  </a:lnTo>
                  <a:lnTo>
                    <a:pt x="3156" y="185"/>
                  </a:lnTo>
                  <a:lnTo>
                    <a:pt x="3164" y="185"/>
                  </a:lnTo>
                  <a:lnTo>
                    <a:pt x="3164" y="177"/>
                  </a:lnTo>
                  <a:lnTo>
                    <a:pt x="3171" y="177"/>
                  </a:lnTo>
                  <a:lnTo>
                    <a:pt x="3171" y="170"/>
                  </a:lnTo>
                  <a:lnTo>
                    <a:pt x="3171" y="170"/>
                  </a:lnTo>
                  <a:lnTo>
                    <a:pt x="3171" y="163"/>
                  </a:lnTo>
                  <a:lnTo>
                    <a:pt x="3179" y="163"/>
                  </a:lnTo>
                  <a:lnTo>
                    <a:pt x="3179" y="163"/>
                  </a:lnTo>
                  <a:lnTo>
                    <a:pt x="3186" y="163"/>
                  </a:lnTo>
                  <a:lnTo>
                    <a:pt x="3186" y="155"/>
                  </a:lnTo>
                  <a:lnTo>
                    <a:pt x="3193" y="155"/>
                  </a:lnTo>
                  <a:lnTo>
                    <a:pt x="3193" y="155"/>
                  </a:lnTo>
                  <a:lnTo>
                    <a:pt x="3193" y="155"/>
                  </a:lnTo>
                  <a:lnTo>
                    <a:pt x="3193" y="155"/>
                  </a:lnTo>
                  <a:lnTo>
                    <a:pt x="3201" y="155"/>
                  </a:lnTo>
                  <a:lnTo>
                    <a:pt x="3201" y="148"/>
                  </a:lnTo>
                  <a:lnTo>
                    <a:pt x="3208" y="148"/>
                  </a:lnTo>
                  <a:lnTo>
                    <a:pt x="3208" y="141"/>
                  </a:lnTo>
                  <a:lnTo>
                    <a:pt x="3215" y="141"/>
                  </a:lnTo>
                  <a:lnTo>
                    <a:pt x="3215" y="141"/>
                  </a:lnTo>
                  <a:lnTo>
                    <a:pt x="3215" y="141"/>
                  </a:lnTo>
                  <a:lnTo>
                    <a:pt x="3215" y="141"/>
                  </a:lnTo>
                  <a:lnTo>
                    <a:pt x="3223" y="141"/>
                  </a:lnTo>
                  <a:lnTo>
                    <a:pt x="3223" y="141"/>
                  </a:lnTo>
                  <a:lnTo>
                    <a:pt x="3230" y="141"/>
                  </a:lnTo>
                  <a:lnTo>
                    <a:pt x="3230" y="141"/>
                  </a:lnTo>
                  <a:lnTo>
                    <a:pt x="3238" y="141"/>
                  </a:lnTo>
                  <a:lnTo>
                    <a:pt x="3238" y="141"/>
                  </a:lnTo>
                  <a:lnTo>
                    <a:pt x="3245" y="141"/>
                  </a:lnTo>
                  <a:lnTo>
                    <a:pt x="3245" y="133"/>
                  </a:lnTo>
                  <a:lnTo>
                    <a:pt x="3245" y="133"/>
                  </a:lnTo>
                  <a:lnTo>
                    <a:pt x="3245" y="126"/>
                  </a:lnTo>
                  <a:lnTo>
                    <a:pt x="3252" y="126"/>
                  </a:lnTo>
                  <a:lnTo>
                    <a:pt x="3252" y="126"/>
                  </a:lnTo>
                  <a:lnTo>
                    <a:pt x="3260" y="126"/>
                  </a:lnTo>
                  <a:lnTo>
                    <a:pt x="3260" y="126"/>
                  </a:lnTo>
                  <a:lnTo>
                    <a:pt x="3267" y="126"/>
                  </a:lnTo>
                  <a:lnTo>
                    <a:pt x="3267" y="126"/>
                  </a:lnTo>
                  <a:lnTo>
                    <a:pt x="3267" y="126"/>
                  </a:lnTo>
                  <a:lnTo>
                    <a:pt x="3267" y="126"/>
                  </a:lnTo>
                  <a:lnTo>
                    <a:pt x="3274" y="126"/>
                  </a:lnTo>
                  <a:lnTo>
                    <a:pt x="3274" y="118"/>
                  </a:lnTo>
                  <a:lnTo>
                    <a:pt x="3282" y="118"/>
                  </a:lnTo>
                  <a:lnTo>
                    <a:pt x="3282" y="118"/>
                  </a:lnTo>
                  <a:lnTo>
                    <a:pt x="3289" y="118"/>
                  </a:lnTo>
                  <a:lnTo>
                    <a:pt x="3289" y="118"/>
                  </a:lnTo>
                  <a:lnTo>
                    <a:pt x="3289" y="118"/>
                  </a:lnTo>
                  <a:lnTo>
                    <a:pt x="3289" y="118"/>
                  </a:lnTo>
                  <a:lnTo>
                    <a:pt x="3297" y="118"/>
                  </a:lnTo>
                  <a:lnTo>
                    <a:pt x="3297" y="111"/>
                  </a:lnTo>
                  <a:lnTo>
                    <a:pt x="3304" y="111"/>
                  </a:lnTo>
                  <a:lnTo>
                    <a:pt x="3304" y="111"/>
                  </a:lnTo>
                  <a:lnTo>
                    <a:pt x="3311" y="111"/>
                  </a:lnTo>
                  <a:lnTo>
                    <a:pt x="3311" y="111"/>
                  </a:lnTo>
                  <a:lnTo>
                    <a:pt x="3311" y="111"/>
                  </a:lnTo>
                  <a:lnTo>
                    <a:pt x="3311" y="111"/>
                  </a:lnTo>
                  <a:lnTo>
                    <a:pt x="3319" y="111"/>
                  </a:lnTo>
                  <a:lnTo>
                    <a:pt x="3319" y="104"/>
                  </a:lnTo>
                  <a:lnTo>
                    <a:pt x="3326" y="104"/>
                  </a:lnTo>
                  <a:lnTo>
                    <a:pt x="3326" y="104"/>
                  </a:lnTo>
                  <a:lnTo>
                    <a:pt x="3333" y="104"/>
                  </a:lnTo>
                  <a:lnTo>
                    <a:pt x="3333" y="104"/>
                  </a:lnTo>
                  <a:lnTo>
                    <a:pt x="3341" y="104"/>
                  </a:lnTo>
                  <a:lnTo>
                    <a:pt x="3341" y="104"/>
                  </a:lnTo>
                  <a:lnTo>
                    <a:pt x="3341" y="104"/>
                  </a:lnTo>
                  <a:lnTo>
                    <a:pt x="3341" y="104"/>
                  </a:lnTo>
                  <a:lnTo>
                    <a:pt x="3348" y="104"/>
                  </a:lnTo>
                  <a:lnTo>
                    <a:pt x="3348" y="104"/>
                  </a:lnTo>
                  <a:lnTo>
                    <a:pt x="3356" y="104"/>
                  </a:lnTo>
                  <a:lnTo>
                    <a:pt x="3356" y="104"/>
                  </a:lnTo>
                  <a:lnTo>
                    <a:pt x="3363" y="104"/>
                  </a:lnTo>
                  <a:lnTo>
                    <a:pt x="3363" y="104"/>
                  </a:lnTo>
                  <a:lnTo>
                    <a:pt x="3363" y="104"/>
                  </a:lnTo>
                  <a:lnTo>
                    <a:pt x="3363" y="96"/>
                  </a:lnTo>
                  <a:lnTo>
                    <a:pt x="3370" y="96"/>
                  </a:lnTo>
                  <a:lnTo>
                    <a:pt x="3370" y="96"/>
                  </a:lnTo>
                  <a:lnTo>
                    <a:pt x="3378" y="96"/>
                  </a:lnTo>
                  <a:lnTo>
                    <a:pt x="3378" y="96"/>
                  </a:lnTo>
                  <a:lnTo>
                    <a:pt x="3385" y="96"/>
                  </a:lnTo>
                  <a:lnTo>
                    <a:pt x="3385" y="89"/>
                  </a:lnTo>
                  <a:lnTo>
                    <a:pt x="3385" y="89"/>
                  </a:lnTo>
                  <a:lnTo>
                    <a:pt x="3385" y="89"/>
                  </a:lnTo>
                  <a:lnTo>
                    <a:pt x="3392" y="89"/>
                  </a:lnTo>
                  <a:lnTo>
                    <a:pt x="3392" y="89"/>
                  </a:lnTo>
                  <a:lnTo>
                    <a:pt x="3400" y="89"/>
                  </a:lnTo>
                  <a:lnTo>
                    <a:pt x="3400" y="89"/>
                  </a:lnTo>
                  <a:lnTo>
                    <a:pt x="3407" y="89"/>
                  </a:lnTo>
                  <a:lnTo>
                    <a:pt x="3407" y="82"/>
                  </a:lnTo>
                  <a:lnTo>
                    <a:pt x="3415" y="82"/>
                  </a:lnTo>
                  <a:lnTo>
                    <a:pt x="3415" y="82"/>
                  </a:lnTo>
                  <a:lnTo>
                    <a:pt x="3415" y="82"/>
                  </a:lnTo>
                  <a:lnTo>
                    <a:pt x="3415" y="82"/>
                  </a:lnTo>
                  <a:lnTo>
                    <a:pt x="3422" y="82"/>
                  </a:lnTo>
                  <a:lnTo>
                    <a:pt x="3422" y="82"/>
                  </a:lnTo>
                  <a:lnTo>
                    <a:pt x="3429" y="82"/>
                  </a:lnTo>
                  <a:lnTo>
                    <a:pt x="3429" y="74"/>
                  </a:lnTo>
                  <a:lnTo>
                    <a:pt x="3437" y="74"/>
                  </a:lnTo>
                  <a:lnTo>
                    <a:pt x="3437" y="74"/>
                  </a:lnTo>
                  <a:lnTo>
                    <a:pt x="3437" y="74"/>
                  </a:lnTo>
                  <a:lnTo>
                    <a:pt x="3437" y="74"/>
                  </a:lnTo>
                  <a:lnTo>
                    <a:pt x="3444" y="74"/>
                  </a:lnTo>
                  <a:lnTo>
                    <a:pt x="3444" y="74"/>
                  </a:lnTo>
                  <a:lnTo>
                    <a:pt x="3451" y="74"/>
                  </a:lnTo>
                  <a:lnTo>
                    <a:pt x="3451" y="74"/>
                  </a:lnTo>
                  <a:lnTo>
                    <a:pt x="3459" y="74"/>
                  </a:lnTo>
                  <a:lnTo>
                    <a:pt x="3459" y="74"/>
                  </a:lnTo>
                  <a:lnTo>
                    <a:pt x="3459" y="74"/>
                  </a:lnTo>
                  <a:lnTo>
                    <a:pt x="3459" y="74"/>
                  </a:lnTo>
                  <a:lnTo>
                    <a:pt x="3466" y="74"/>
                  </a:lnTo>
                  <a:lnTo>
                    <a:pt x="3466" y="74"/>
                  </a:lnTo>
                  <a:lnTo>
                    <a:pt x="3474" y="74"/>
                  </a:lnTo>
                  <a:lnTo>
                    <a:pt x="3474" y="74"/>
                  </a:lnTo>
                  <a:lnTo>
                    <a:pt x="3481" y="74"/>
                  </a:lnTo>
                  <a:lnTo>
                    <a:pt x="3481" y="74"/>
                  </a:lnTo>
                  <a:lnTo>
                    <a:pt x="3481" y="74"/>
                  </a:lnTo>
                  <a:lnTo>
                    <a:pt x="3481" y="74"/>
                  </a:lnTo>
                  <a:lnTo>
                    <a:pt x="3488" y="74"/>
                  </a:lnTo>
                  <a:lnTo>
                    <a:pt x="3488" y="74"/>
                  </a:lnTo>
                  <a:lnTo>
                    <a:pt x="3496" y="74"/>
                  </a:lnTo>
                  <a:lnTo>
                    <a:pt x="3496" y="74"/>
                  </a:lnTo>
                  <a:lnTo>
                    <a:pt x="3503" y="74"/>
                  </a:lnTo>
                  <a:lnTo>
                    <a:pt x="3503" y="74"/>
                  </a:lnTo>
                  <a:lnTo>
                    <a:pt x="3510" y="74"/>
                  </a:lnTo>
                  <a:lnTo>
                    <a:pt x="3510" y="74"/>
                  </a:lnTo>
                  <a:lnTo>
                    <a:pt x="3510" y="74"/>
                  </a:lnTo>
                  <a:lnTo>
                    <a:pt x="3510" y="74"/>
                  </a:lnTo>
                  <a:lnTo>
                    <a:pt x="3518" y="74"/>
                  </a:lnTo>
                  <a:lnTo>
                    <a:pt x="3518" y="74"/>
                  </a:lnTo>
                  <a:lnTo>
                    <a:pt x="3525" y="74"/>
                  </a:lnTo>
                  <a:lnTo>
                    <a:pt x="3525" y="74"/>
                  </a:lnTo>
                  <a:lnTo>
                    <a:pt x="3533" y="74"/>
                  </a:lnTo>
                  <a:lnTo>
                    <a:pt x="3533" y="74"/>
                  </a:lnTo>
                  <a:lnTo>
                    <a:pt x="3533" y="74"/>
                  </a:lnTo>
                  <a:lnTo>
                    <a:pt x="3533" y="74"/>
                  </a:lnTo>
                  <a:lnTo>
                    <a:pt x="3540" y="74"/>
                  </a:lnTo>
                  <a:lnTo>
                    <a:pt x="3540" y="74"/>
                  </a:lnTo>
                  <a:lnTo>
                    <a:pt x="3547" y="74"/>
                  </a:lnTo>
                  <a:lnTo>
                    <a:pt x="3547" y="74"/>
                  </a:lnTo>
                  <a:lnTo>
                    <a:pt x="3555" y="74"/>
                  </a:lnTo>
                  <a:lnTo>
                    <a:pt x="3555" y="74"/>
                  </a:lnTo>
                  <a:lnTo>
                    <a:pt x="3555" y="74"/>
                  </a:lnTo>
                  <a:lnTo>
                    <a:pt x="3555" y="67"/>
                  </a:lnTo>
                  <a:lnTo>
                    <a:pt x="3562" y="67"/>
                  </a:lnTo>
                  <a:lnTo>
                    <a:pt x="3562" y="67"/>
                  </a:lnTo>
                  <a:lnTo>
                    <a:pt x="3569" y="67"/>
                  </a:lnTo>
                  <a:lnTo>
                    <a:pt x="3569" y="67"/>
                  </a:lnTo>
                  <a:lnTo>
                    <a:pt x="3577" y="67"/>
                  </a:lnTo>
                  <a:lnTo>
                    <a:pt x="3577" y="67"/>
                  </a:lnTo>
                  <a:lnTo>
                    <a:pt x="3584" y="67"/>
                  </a:lnTo>
                  <a:lnTo>
                    <a:pt x="3584" y="59"/>
                  </a:lnTo>
                  <a:lnTo>
                    <a:pt x="3584" y="59"/>
                  </a:lnTo>
                  <a:lnTo>
                    <a:pt x="3584" y="59"/>
                  </a:lnTo>
                  <a:lnTo>
                    <a:pt x="3592" y="59"/>
                  </a:lnTo>
                  <a:lnTo>
                    <a:pt x="3592" y="59"/>
                  </a:lnTo>
                  <a:lnTo>
                    <a:pt x="3599" y="59"/>
                  </a:lnTo>
                  <a:lnTo>
                    <a:pt x="3599" y="59"/>
                  </a:lnTo>
                  <a:lnTo>
                    <a:pt x="3606" y="59"/>
                  </a:lnTo>
                  <a:lnTo>
                    <a:pt x="3606" y="52"/>
                  </a:lnTo>
                  <a:lnTo>
                    <a:pt x="3606" y="52"/>
                  </a:lnTo>
                  <a:lnTo>
                    <a:pt x="3606" y="52"/>
                  </a:lnTo>
                  <a:lnTo>
                    <a:pt x="3614" y="52"/>
                  </a:lnTo>
                  <a:lnTo>
                    <a:pt x="3614" y="52"/>
                  </a:lnTo>
                  <a:lnTo>
                    <a:pt x="3621" y="52"/>
                  </a:lnTo>
                  <a:lnTo>
                    <a:pt x="3621" y="52"/>
                  </a:lnTo>
                  <a:lnTo>
                    <a:pt x="3628" y="52"/>
                  </a:lnTo>
                  <a:lnTo>
                    <a:pt x="3628" y="52"/>
                  </a:lnTo>
                  <a:lnTo>
                    <a:pt x="3628" y="52"/>
                  </a:lnTo>
                  <a:lnTo>
                    <a:pt x="3628" y="52"/>
                  </a:lnTo>
                  <a:lnTo>
                    <a:pt x="3636" y="52"/>
                  </a:lnTo>
                  <a:lnTo>
                    <a:pt x="3636" y="52"/>
                  </a:lnTo>
                  <a:lnTo>
                    <a:pt x="3643" y="52"/>
                  </a:lnTo>
                  <a:lnTo>
                    <a:pt x="3643" y="52"/>
                  </a:lnTo>
                  <a:lnTo>
                    <a:pt x="3651" y="52"/>
                  </a:lnTo>
                  <a:lnTo>
                    <a:pt x="3651" y="45"/>
                  </a:lnTo>
                  <a:lnTo>
                    <a:pt x="3651" y="45"/>
                  </a:lnTo>
                  <a:lnTo>
                    <a:pt x="3651" y="45"/>
                  </a:lnTo>
                  <a:lnTo>
                    <a:pt x="3658" y="45"/>
                  </a:lnTo>
                  <a:lnTo>
                    <a:pt x="3658" y="45"/>
                  </a:lnTo>
                  <a:lnTo>
                    <a:pt x="3665" y="45"/>
                  </a:lnTo>
                  <a:lnTo>
                    <a:pt x="3665" y="45"/>
                  </a:lnTo>
                  <a:lnTo>
                    <a:pt x="3673" y="45"/>
                  </a:lnTo>
                  <a:lnTo>
                    <a:pt x="3673" y="37"/>
                  </a:lnTo>
                  <a:lnTo>
                    <a:pt x="3680" y="37"/>
                  </a:lnTo>
                  <a:lnTo>
                    <a:pt x="3680" y="37"/>
                  </a:lnTo>
                  <a:lnTo>
                    <a:pt x="3680" y="37"/>
                  </a:lnTo>
                  <a:lnTo>
                    <a:pt x="3680" y="37"/>
                  </a:lnTo>
                  <a:lnTo>
                    <a:pt x="3687" y="37"/>
                  </a:lnTo>
                  <a:lnTo>
                    <a:pt x="3687" y="37"/>
                  </a:lnTo>
                  <a:lnTo>
                    <a:pt x="3695" y="37"/>
                  </a:lnTo>
                  <a:lnTo>
                    <a:pt x="3695" y="37"/>
                  </a:lnTo>
                  <a:lnTo>
                    <a:pt x="3702" y="37"/>
                  </a:lnTo>
                  <a:lnTo>
                    <a:pt x="3702" y="37"/>
                  </a:lnTo>
                  <a:lnTo>
                    <a:pt x="3702" y="37"/>
                  </a:lnTo>
                  <a:lnTo>
                    <a:pt x="3702" y="37"/>
                  </a:lnTo>
                  <a:lnTo>
                    <a:pt x="3710" y="37"/>
                  </a:lnTo>
                  <a:lnTo>
                    <a:pt x="3710" y="37"/>
                  </a:lnTo>
                  <a:lnTo>
                    <a:pt x="3717" y="37"/>
                  </a:lnTo>
                  <a:lnTo>
                    <a:pt x="3717" y="37"/>
                  </a:lnTo>
                  <a:lnTo>
                    <a:pt x="3724" y="37"/>
                  </a:lnTo>
                  <a:lnTo>
                    <a:pt x="3724" y="37"/>
                  </a:lnTo>
                  <a:lnTo>
                    <a:pt x="3724" y="37"/>
                  </a:lnTo>
                  <a:lnTo>
                    <a:pt x="3724" y="37"/>
                  </a:lnTo>
                  <a:lnTo>
                    <a:pt x="3732" y="37"/>
                  </a:lnTo>
                  <a:lnTo>
                    <a:pt x="3732" y="37"/>
                  </a:lnTo>
                  <a:lnTo>
                    <a:pt x="3739" y="37"/>
                  </a:lnTo>
                  <a:lnTo>
                    <a:pt x="3739" y="30"/>
                  </a:lnTo>
                  <a:lnTo>
                    <a:pt x="3746" y="30"/>
                  </a:lnTo>
                  <a:lnTo>
                    <a:pt x="3746" y="30"/>
                  </a:lnTo>
                  <a:lnTo>
                    <a:pt x="3754" y="30"/>
                  </a:lnTo>
                  <a:lnTo>
                    <a:pt x="3754" y="30"/>
                  </a:lnTo>
                  <a:lnTo>
                    <a:pt x="3754" y="30"/>
                  </a:lnTo>
                  <a:lnTo>
                    <a:pt x="3754" y="30"/>
                  </a:lnTo>
                  <a:lnTo>
                    <a:pt x="3761" y="30"/>
                  </a:lnTo>
                  <a:lnTo>
                    <a:pt x="3761" y="30"/>
                  </a:lnTo>
                  <a:lnTo>
                    <a:pt x="3769" y="30"/>
                  </a:lnTo>
                  <a:lnTo>
                    <a:pt x="3769" y="30"/>
                  </a:lnTo>
                  <a:lnTo>
                    <a:pt x="3776" y="30"/>
                  </a:lnTo>
                  <a:lnTo>
                    <a:pt x="3776" y="23"/>
                  </a:lnTo>
                  <a:lnTo>
                    <a:pt x="3776" y="23"/>
                  </a:lnTo>
                  <a:lnTo>
                    <a:pt x="3776" y="23"/>
                  </a:lnTo>
                  <a:lnTo>
                    <a:pt x="3783" y="23"/>
                  </a:lnTo>
                  <a:lnTo>
                    <a:pt x="3783" y="23"/>
                  </a:lnTo>
                  <a:lnTo>
                    <a:pt x="3791" y="23"/>
                  </a:lnTo>
                  <a:lnTo>
                    <a:pt x="3791" y="23"/>
                  </a:lnTo>
                  <a:lnTo>
                    <a:pt x="3798" y="23"/>
                  </a:lnTo>
                  <a:lnTo>
                    <a:pt x="3798" y="23"/>
                  </a:lnTo>
                  <a:lnTo>
                    <a:pt x="3798" y="23"/>
                  </a:lnTo>
                  <a:lnTo>
                    <a:pt x="3798" y="23"/>
                  </a:lnTo>
                  <a:lnTo>
                    <a:pt x="3805" y="23"/>
                  </a:lnTo>
                  <a:lnTo>
                    <a:pt x="3805" y="23"/>
                  </a:lnTo>
                  <a:lnTo>
                    <a:pt x="3813" y="23"/>
                  </a:lnTo>
                  <a:lnTo>
                    <a:pt x="3813" y="23"/>
                  </a:lnTo>
                  <a:lnTo>
                    <a:pt x="3820" y="23"/>
                  </a:lnTo>
                  <a:lnTo>
                    <a:pt x="3820" y="23"/>
                  </a:lnTo>
                  <a:lnTo>
                    <a:pt x="3820" y="23"/>
                  </a:lnTo>
                  <a:lnTo>
                    <a:pt x="3820" y="23"/>
                  </a:lnTo>
                  <a:lnTo>
                    <a:pt x="3828" y="23"/>
                  </a:lnTo>
                  <a:lnTo>
                    <a:pt x="3828" y="23"/>
                  </a:lnTo>
                  <a:lnTo>
                    <a:pt x="3835" y="23"/>
                  </a:lnTo>
                  <a:lnTo>
                    <a:pt x="3835" y="23"/>
                  </a:lnTo>
                  <a:lnTo>
                    <a:pt x="3842" y="23"/>
                  </a:lnTo>
                  <a:lnTo>
                    <a:pt x="3842" y="23"/>
                  </a:lnTo>
                  <a:lnTo>
                    <a:pt x="3850" y="23"/>
                  </a:lnTo>
                  <a:lnTo>
                    <a:pt x="3850" y="15"/>
                  </a:lnTo>
                  <a:lnTo>
                    <a:pt x="3850" y="15"/>
                  </a:lnTo>
                  <a:lnTo>
                    <a:pt x="3850" y="15"/>
                  </a:lnTo>
                  <a:lnTo>
                    <a:pt x="3857" y="15"/>
                  </a:lnTo>
                  <a:lnTo>
                    <a:pt x="3857" y="15"/>
                  </a:lnTo>
                  <a:lnTo>
                    <a:pt x="3864" y="15"/>
                  </a:lnTo>
                  <a:lnTo>
                    <a:pt x="3864" y="15"/>
                  </a:lnTo>
                  <a:lnTo>
                    <a:pt x="3872" y="15"/>
                  </a:lnTo>
                  <a:lnTo>
                    <a:pt x="3872" y="15"/>
                  </a:lnTo>
                  <a:lnTo>
                    <a:pt x="3879" y="15"/>
                  </a:lnTo>
                  <a:lnTo>
                    <a:pt x="3879" y="15"/>
                  </a:lnTo>
                  <a:lnTo>
                    <a:pt x="3887" y="15"/>
                  </a:lnTo>
                  <a:lnTo>
                    <a:pt x="3887" y="8"/>
                  </a:lnTo>
                  <a:lnTo>
                    <a:pt x="3894" y="8"/>
                  </a:lnTo>
                  <a:lnTo>
                    <a:pt x="3894" y="8"/>
                  </a:lnTo>
                  <a:lnTo>
                    <a:pt x="3894" y="8"/>
                  </a:lnTo>
                  <a:lnTo>
                    <a:pt x="3894" y="8"/>
                  </a:lnTo>
                  <a:lnTo>
                    <a:pt x="3901" y="8"/>
                  </a:lnTo>
                  <a:lnTo>
                    <a:pt x="3901" y="8"/>
                  </a:lnTo>
                  <a:lnTo>
                    <a:pt x="3909" y="8"/>
                  </a:lnTo>
                  <a:lnTo>
                    <a:pt x="3909" y="8"/>
                  </a:lnTo>
                  <a:lnTo>
                    <a:pt x="3916" y="8"/>
                  </a:lnTo>
                  <a:lnTo>
                    <a:pt x="3916" y="8"/>
                  </a:lnTo>
                  <a:lnTo>
                    <a:pt x="3923" y="8"/>
                  </a:lnTo>
                  <a:lnTo>
                    <a:pt x="3923" y="0"/>
                  </a:lnTo>
                  <a:lnTo>
                    <a:pt x="3923" y="0"/>
                  </a:lnTo>
                  <a:lnTo>
                    <a:pt x="3923" y="0"/>
                  </a:lnTo>
                </a:path>
              </a:pathLst>
            </a:custGeom>
            <a:noFill/>
            <a:ln w="25400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8766175" y="3441701"/>
              <a:ext cx="1955800" cy="736600"/>
            </a:xfrm>
            <a:custGeom>
              <a:avLst/>
              <a:gdLst>
                <a:gd name="T0" fmla="*/ 23 w 1232"/>
                <a:gd name="T1" fmla="*/ 464 h 464"/>
                <a:gd name="T2" fmla="*/ 45 w 1232"/>
                <a:gd name="T3" fmla="*/ 450 h 464"/>
                <a:gd name="T4" fmla="*/ 59 w 1232"/>
                <a:gd name="T5" fmla="*/ 450 h 464"/>
                <a:gd name="T6" fmla="*/ 82 w 1232"/>
                <a:gd name="T7" fmla="*/ 442 h 464"/>
                <a:gd name="T8" fmla="*/ 96 w 1232"/>
                <a:gd name="T9" fmla="*/ 435 h 464"/>
                <a:gd name="T10" fmla="*/ 118 w 1232"/>
                <a:gd name="T11" fmla="*/ 428 h 464"/>
                <a:gd name="T12" fmla="*/ 141 w 1232"/>
                <a:gd name="T13" fmla="*/ 420 h 464"/>
                <a:gd name="T14" fmla="*/ 163 w 1232"/>
                <a:gd name="T15" fmla="*/ 420 h 464"/>
                <a:gd name="T16" fmla="*/ 177 w 1232"/>
                <a:gd name="T17" fmla="*/ 405 h 464"/>
                <a:gd name="T18" fmla="*/ 200 w 1232"/>
                <a:gd name="T19" fmla="*/ 383 h 464"/>
                <a:gd name="T20" fmla="*/ 214 w 1232"/>
                <a:gd name="T21" fmla="*/ 376 h 464"/>
                <a:gd name="T22" fmla="*/ 236 w 1232"/>
                <a:gd name="T23" fmla="*/ 361 h 464"/>
                <a:gd name="T24" fmla="*/ 259 w 1232"/>
                <a:gd name="T25" fmla="*/ 354 h 464"/>
                <a:gd name="T26" fmla="*/ 281 w 1232"/>
                <a:gd name="T27" fmla="*/ 346 h 464"/>
                <a:gd name="T28" fmla="*/ 295 w 1232"/>
                <a:gd name="T29" fmla="*/ 346 h 464"/>
                <a:gd name="T30" fmla="*/ 318 w 1232"/>
                <a:gd name="T31" fmla="*/ 339 h 464"/>
                <a:gd name="T32" fmla="*/ 332 w 1232"/>
                <a:gd name="T33" fmla="*/ 332 h 464"/>
                <a:gd name="T34" fmla="*/ 362 w 1232"/>
                <a:gd name="T35" fmla="*/ 332 h 464"/>
                <a:gd name="T36" fmla="*/ 377 w 1232"/>
                <a:gd name="T37" fmla="*/ 332 h 464"/>
                <a:gd name="T38" fmla="*/ 399 w 1232"/>
                <a:gd name="T39" fmla="*/ 310 h 464"/>
                <a:gd name="T40" fmla="*/ 413 w 1232"/>
                <a:gd name="T41" fmla="*/ 310 h 464"/>
                <a:gd name="T42" fmla="*/ 436 w 1232"/>
                <a:gd name="T43" fmla="*/ 302 h 464"/>
                <a:gd name="T44" fmla="*/ 458 w 1232"/>
                <a:gd name="T45" fmla="*/ 295 h 464"/>
                <a:gd name="T46" fmla="*/ 480 w 1232"/>
                <a:gd name="T47" fmla="*/ 295 h 464"/>
                <a:gd name="T48" fmla="*/ 495 w 1232"/>
                <a:gd name="T49" fmla="*/ 295 h 464"/>
                <a:gd name="T50" fmla="*/ 517 w 1232"/>
                <a:gd name="T51" fmla="*/ 287 h 464"/>
                <a:gd name="T52" fmla="*/ 531 w 1232"/>
                <a:gd name="T53" fmla="*/ 287 h 464"/>
                <a:gd name="T54" fmla="*/ 554 w 1232"/>
                <a:gd name="T55" fmla="*/ 280 h 464"/>
                <a:gd name="T56" fmla="*/ 576 w 1232"/>
                <a:gd name="T57" fmla="*/ 273 h 464"/>
                <a:gd name="T58" fmla="*/ 598 w 1232"/>
                <a:gd name="T59" fmla="*/ 273 h 464"/>
                <a:gd name="T60" fmla="*/ 613 w 1232"/>
                <a:gd name="T61" fmla="*/ 273 h 464"/>
                <a:gd name="T62" fmla="*/ 635 w 1232"/>
                <a:gd name="T63" fmla="*/ 265 h 464"/>
                <a:gd name="T64" fmla="*/ 657 w 1232"/>
                <a:gd name="T65" fmla="*/ 258 h 464"/>
                <a:gd name="T66" fmla="*/ 679 w 1232"/>
                <a:gd name="T67" fmla="*/ 258 h 464"/>
                <a:gd name="T68" fmla="*/ 701 w 1232"/>
                <a:gd name="T69" fmla="*/ 258 h 464"/>
                <a:gd name="T70" fmla="*/ 723 w 1232"/>
                <a:gd name="T71" fmla="*/ 251 h 464"/>
                <a:gd name="T72" fmla="*/ 738 w 1232"/>
                <a:gd name="T73" fmla="*/ 251 h 464"/>
                <a:gd name="T74" fmla="*/ 760 w 1232"/>
                <a:gd name="T75" fmla="*/ 236 h 464"/>
                <a:gd name="T76" fmla="*/ 775 w 1232"/>
                <a:gd name="T77" fmla="*/ 236 h 464"/>
                <a:gd name="T78" fmla="*/ 797 w 1232"/>
                <a:gd name="T79" fmla="*/ 236 h 464"/>
                <a:gd name="T80" fmla="*/ 819 w 1232"/>
                <a:gd name="T81" fmla="*/ 229 h 464"/>
                <a:gd name="T82" fmla="*/ 841 w 1232"/>
                <a:gd name="T83" fmla="*/ 229 h 464"/>
                <a:gd name="T84" fmla="*/ 856 w 1232"/>
                <a:gd name="T85" fmla="*/ 221 h 464"/>
                <a:gd name="T86" fmla="*/ 878 w 1232"/>
                <a:gd name="T87" fmla="*/ 206 h 464"/>
                <a:gd name="T88" fmla="*/ 893 w 1232"/>
                <a:gd name="T89" fmla="*/ 199 h 464"/>
                <a:gd name="T90" fmla="*/ 915 w 1232"/>
                <a:gd name="T91" fmla="*/ 192 h 464"/>
                <a:gd name="T92" fmla="*/ 937 w 1232"/>
                <a:gd name="T93" fmla="*/ 192 h 464"/>
                <a:gd name="T94" fmla="*/ 959 w 1232"/>
                <a:gd name="T95" fmla="*/ 177 h 464"/>
                <a:gd name="T96" fmla="*/ 974 w 1232"/>
                <a:gd name="T97" fmla="*/ 170 h 464"/>
                <a:gd name="T98" fmla="*/ 996 w 1232"/>
                <a:gd name="T99" fmla="*/ 155 h 464"/>
                <a:gd name="T100" fmla="*/ 1011 w 1232"/>
                <a:gd name="T101" fmla="*/ 155 h 464"/>
                <a:gd name="T102" fmla="*/ 1040 w 1232"/>
                <a:gd name="T103" fmla="*/ 140 h 464"/>
                <a:gd name="T104" fmla="*/ 1055 w 1232"/>
                <a:gd name="T105" fmla="*/ 133 h 464"/>
                <a:gd name="T106" fmla="*/ 1077 w 1232"/>
                <a:gd name="T107" fmla="*/ 125 h 464"/>
                <a:gd name="T108" fmla="*/ 1092 w 1232"/>
                <a:gd name="T109" fmla="*/ 111 h 464"/>
                <a:gd name="T110" fmla="*/ 1114 w 1232"/>
                <a:gd name="T111" fmla="*/ 74 h 464"/>
                <a:gd name="T112" fmla="*/ 1136 w 1232"/>
                <a:gd name="T113" fmla="*/ 66 h 464"/>
                <a:gd name="T114" fmla="*/ 1158 w 1232"/>
                <a:gd name="T115" fmla="*/ 59 h 464"/>
                <a:gd name="T116" fmla="*/ 1173 w 1232"/>
                <a:gd name="T117" fmla="*/ 52 h 464"/>
                <a:gd name="T118" fmla="*/ 1195 w 1232"/>
                <a:gd name="T119" fmla="*/ 29 h 464"/>
                <a:gd name="T120" fmla="*/ 1210 w 1232"/>
                <a:gd name="T121" fmla="*/ 22 h 464"/>
                <a:gd name="T122" fmla="*/ 1232 w 1232"/>
                <a:gd name="T123" fmla="*/ 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32" h="464">
                  <a:moveTo>
                    <a:pt x="0" y="464"/>
                  </a:moveTo>
                  <a:lnTo>
                    <a:pt x="8" y="464"/>
                  </a:lnTo>
                  <a:lnTo>
                    <a:pt x="8" y="464"/>
                  </a:lnTo>
                  <a:lnTo>
                    <a:pt x="15" y="464"/>
                  </a:lnTo>
                  <a:lnTo>
                    <a:pt x="15" y="464"/>
                  </a:lnTo>
                  <a:lnTo>
                    <a:pt x="23" y="464"/>
                  </a:lnTo>
                  <a:lnTo>
                    <a:pt x="23" y="464"/>
                  </a:lnTo>
                  <a:lnTo>
                    <a:pt x="23" y="464"/>
                  </a:lnTo>
                  <a:lnTo>
                    <a:pt x="23" y="464"/>
                  </a:lnTo>
                  <a:lnTo>
                    <a:pt x="30" y="464"/>
                  </a:lnTo>
                  <a:lnTo>
                    <a:pt x="30" y="457"/>
                  </a:lnTo>
                  <a:lnTo>
                    <a:pt x="37" y="457"/>
                  </a:lnTo>
                  <a:lnTo>
                    <a:pt x="37" y="450"/>
                  </a:lnTo>
                  <a:lnTo>
                    <a:pt x="45" y="450"/>
                  </a:lnTo>
                  <a:lnTo>
                    <a:pt x="45" y="450"/>
                  </a:lnTo>
                  <a:lnTo>
                    <a:pt x="45" y="450"/>
                  </a:lnTo>
                  <a:lnTo>
                    <a:pt x="45" y="450"/>
                  </a:lnTo>
                  <a:lnTo>
                    <a:pt x="52" y="450"/>
                  </a:lnTo>
                  <a:lnTo>
                    <a:pt x="52" y="450"/>
                  </a:lnTo>
                  <a:lnTo>
                    <a:pt x="59" y="450"/>
                  </a:lnTo>
                  <a:lnTo>
                    <a:pt x="59" y="450"/>
                  </a:lnTo>
                  <a:lnTo>
                    <a:pt x="67" y="450"/>
                  </a:lnTo>
                  <a:lnTo>
                    <a:pt x="67" y="450"/>
                  </a:lnTo>
                  <a:lnTo>
                    <a:pt x="67" y="450"/>
                  </a:lnTo>
                  <a:lnTo>
                    <a:pt x="67" y="450"/>
                  </a:lnTo>
                  <a:lnTo>
                    <a:pt x="74" y="450"/>
                  </a:lnTo>
                  <a:lnTo>
                    <a:pt x="74" y="442"/>
                  </a:lnTo>
                  <a:lnTo>
                    <a:pt x="82" y="442"/>
                  </a:lnTo>
                  <a:lnTo>
                    <a:pt x="82" y="442"/>
                  </a:lnTo>
                  <a:lnTo>
                    <a:pt x="89" y="442"/>
                  </a:lnTo>
                  <a:lnTo>
                    <a:pt x="89" y="442"/>
                  </a:lnTo>
                  <a:lnTo>
                    <a:pt x="96" y="442"/>
                  </a:lnTo>
                  <a:lnTo>
                    <a:pt x="96" y="435"/>
                  </a:lnTo>
                  <a:lnTo>
                    <a:pt x="96" y="435"/>
                  </a:lnTo>
                  <a:lnTo>
                    <a:pt x="96" y="435"/>
                  </a:lnTo>
                  <a:lnTo>
                    <a:pt x="104" y="435"/>
                  </a:lnTo>
                  <a:lnTo>
                    <a:pt x="104" y="435"/>
                  </a:lnTo>
                  <a:lnTo>
                    <a:pt x="111" y="435"/>
                  </a:lnTo>
                  <a:lnTo>
                    <a:pt x="111" y="435"/>
                  </a:lnTo>
                  <a:lnTo>
                    <a:pt x="118" y="435"/>
                  </a:lnTo>
                  <a:lnTo>
                    <a:pt x="118" y="428"/>
                  </a:lnTo>
                  <a:lnTo>
                    <a:pt x="118" y="428"/>
                  </a:lnTo>
                  <a:lnTo>
                    <a:pt x="118" y="428"/>
                  </a:lnTo>
                  <a:lnTo>
                    <a:pt x="126" y="428"/>
                  </a:lnTo>
                  <a:lnTo>
                    <a:pt x="126" y="428"/>
                  </a:lnTo>
                  <a:lnTo>
                    <a:pt x="133" y="428"/>
                  </a:lnTo>
                  <a:lnTo>
                    <a:pt x="133" y="420"/>
                  </a:lnTo>
                  <a:lnTo>
                    <a:pt x="141" y="420"/>
                  </a:lnTo>
                  <a:lnTo>
                    <a:pt x="141" y="420"/>
                  </a:lnTo>
                  <a:lnTo>
                    <a:pt x="141" y="420"/>
                  </a:lnTo>
                  <a:lnTo>
                    <a:pt x="141" y="420"/>
                  </a:lnTo>
                  <a:lnTo>
                    <a:pt x="148" y="420"/>
                  </a:lnTo>
                  <a:lnTo>
                    <a:pt x="148" y="420"/>
                  </a:lnTo>
                  <a:lnTo>
                    <a:pt x="155" y="420"/>
                  </a:lnTo>
                  <a:lnTo>
                    <a:pt x="155" y="420"/>
                  </a:lnTo>
                  <a:lnTo>
                    <a:pt x="163" y="420"/>
                  </a:lnTo>
                  <a:lnTo>
                    <a:pt x="163" y="413"/>
                  </a:lnTo>
                  <a:lnTo>
                    <a:pt x="163" y="413"/>
                  </a:lnTo>
                  <a:lnTo>
                    <a:pt x="163" y="405"/>
                  </a:lnTo>
                  <a:lnTo>
                    <a:pt x="170" y="405"/>
                  </a:lnTo>
                  <a:lnTo>
                    <a:pt x="170" y="405"/>
                  </a:lnTo>
                  <a:lnTo>
                    <a:pt x="177" y="405"/>
                  </a:lnTo>
                  <a:lnTo>
                    <a:pt x="177" y="405"/>
                  </a:lnTo>
                  <a:lnTo>
                    <a:pt x="185" y="405"/>
                  </a:lnTo>
                  <a:lnTo>
                    <a:pt x="185" y="405"/>
                  </a:lnTo>
                  <a:lnTo>
                    <a:pt x="192" y="405"/>
                  </a:lnTo>
                  <a:lnTo>
                    <a:pt x="192" y="398"/>
                  </a:lnTo>
                  <a:lnTo>
                    <a:pt x="192" y="398"/>
                  </a:lnTo>
                  <a:lnTo>
                    <a:pt x="192" y="383"/>
                  </a:lnTo>
                  <a:lnTo>
                    <a:pt x="200" y="383"/>
                  </a:lnTo>
                  <a:lnTo>
                    <a:pt x="200" y="383"/>
                  </a:lnTo>
                  <a:lnTo>
                    <a:pt x="207" y="383"/>
                  </a:lnTo>
                  <a:lnTo>
                    <a:pt x="207" y="383"/>
                  </a:lnTo>
                  <a:lnTo>
                    <a:pt x="214" y="383"/>
                  </a:lnTo>
                  <a:lnTo>
                    <a:pt x="214" y="376"/>
                  </a:lnTo>
                  <a:lnTo>
                    <a:pt x="214" y="376"/>
                  </a:lnTo>
                  <a:lnTo>
                    <a:pt x="214" y="376"/>
                  </a:lnTo>
                  <a:lnTo>
                    <a:pt x="222" y="376"/>
                  </a:lnTo>
                  <a:lnTo>
                    <a:pt x="222" y="376"/>
                  </a:lnTo>
                  <a:lnTo>
                    <a:pt x="229" y="376"/>
                  </a:lnTo>
                  <a:lnTo>
                    <a:pt x="229" y="376"/>
                  </a:lnTo>
                  <a:lnTo>
                    <a:pt x="236" y="376"/>
                  </a:lnTo>
                  <a:lnTo>
                    <a:pt x="236" y="361"/>
                  </a:lnTo>
                  <a:lnTo>
                    <a:pt x="236" y="361"/>
                  </a:lnTo>
                  <a:lnTo>
                    <a:pt x="236" y="361"/>
                  </a:lnTo>
                  <a:lnTo>
                    <a:pt x="244" y="361"/>
                  </a:lnTo>
                  <a:lnTo>
                    <a:pt x="244" y="361"/>
                  </a:lnTo>
                  <a:lnTo>
                    <a:pt x="251" y="361"/>
                  </a:lnTo>
                  <a:lnTo>
                    <a:pt x="251" y="361"/>
                  </a:lnTo>
                  <a:lnTo>
                    <a:pt x="259" y="361"/>
                  </a:lnTo>
                  <a:lnTo>
                    <a:pt x="259" y="354"/>
                  </a:lnTo>
                  <a:lnTo>
                    <a:pt x="266" y="354"/>
                  </a:lnTo>
                  <a:lnTo>
                    <a:pt x="266" y="354"/>
                  </a:lnTo>
                  <a:lnTo>
                    <a:pt x="266" y="354"/>
                  </a:lnTo>
                  <a:lnTo>
                    <a:pt x="266" y="346"/>
                  </a:lnTo>
                  <a:lnTo>
                    <a:pt x="273" y="346"/>
                  </a:lnTo>
                  <a:lnTo>
                    <a:pt x="273" y="346"/>
                  </a:lnTo>
                  <a:lnTo>
                    <a:pt x="281" y="346"/>
                  </a:lnTo>
                  <a:lnTo>
                    <a:pt x="281" y="346"/>
                  </a:lnTo>
                  <a:lnTo>
                    <a:pt x="288" y="346"/>
                  </a:lnTo>
                  <a:lnTo>
                    <a:pt x="288" y="346"/>
                  </a:lnTo>
                  <a:lnTo>
                    <a:pt x="288" y="346"/>
                  </a:lnTo>
                  <a:lnTo>
                    <a:pt x="288" y="346"/>
                  </a:lnTo>
                  <a:lnTo>
                    <a:pt x="295" y="346"/>
                  </a:lnTo>
                  <a:lnTo>
                    <a:pt x="295" y="346"/>
                  </a:lnTo>
                  <a:lnTo>
                    <a:pt x="303" y="346"/>
                  </a:lnTo>
                  <a:lnTo>
                    <a:pt x="303" y="346"/>
                  </a:lnTo>
                  <a:lnTo>
                    <a:pt x="310" y="346"/>
                  </a:lnTo>
                  <a:lnTo>
                    <a:pt x="310" y="346"/>
                  </a:lnTo>
                  <a:lnTo>
                    <a:pt x="310" y="346"/>
                  </a:lnTo>
                  <a:lnTo>
                    <a:pt x="310" y="339"/>
                  </a:lnTo>
                  <a:lnTo>
                    <a:pt x="318" y="339"/>
                  </a:lnTo>
                  <a:lnTo>
                    <a:pt x="318" y="332"/>
                  </a:lnTo>
                  <a:lnTo>
                    <a:pt x="325" y="332"/>
                  </a:lnTo>
                  <a:lnTo>
                    <a:pt x="325" y="332"/>
                  </a:lnTo>
                  <a:lnTo>
                    <a:pt x="332" y="332"/>
                  </a:lnTo>
                  <a:lnTo>
                    <a:pt x="332" y="332"/>
                  </a:lnTo>
                  <a:lnTo>
                    <a:pt x="332" y="332"/>
                  </a:lnTo>
                  <a:lnTo>
                    <a:pt x="332" y="332"/>
                  </a:lnTo>
                  <a:lnTo>
                    <a:pt x="340" y="332"/>
                  </a:lnTo>
                  <a:lnTo>
                    <a:pt x="340" y="332"/>
                  </a:lnTo>
                  <a:lnTo>
                    <a:pt x="347" y="332"/>
                  </a:lnTo>
                  <a:lnTo>
                    <a:pt x="347" y="332"/>
                  </a:lnTo>
                  <a:lnTo>
                    <a:pt x="354" y="332"/>
                  </a:lnTo>
                  <a:lnTo>
                    <a:pt x="354" y="332"/>
                  </a:lnTo>
                  <a:lnTo>
                    <a:pt x="362" y="332"/>
                  </a:lnTo>
                  <a:lnTo>
                    <a:pt x="362" y="332"/>
                  </a:lnTo>
                  <a:lnTo>
                    <a:pt x="362" y="332"/>
                  </a:lnTo>
                  <a:lnTo>
                    <a:pt x="362" y="332"/>
                  </a:lnTo>
                  <a:lnTo>
                    <a:pt x="369" y="332"/>
                  </a:lnTo>
                  <a:lnTo>
                    <a:pt x="369" y="332"/>
                  </a:lnTo>
                  <a:lnTo>
                    <a:pt x="377" y="332"/>
                  </a:lnTo>
                  <a:lnTo>
                    <a:pt x="377" y="332"/>
                  </a:lnTo>
                  <a:lnTo>
                    <a:pt x="384" y="332"/>
                  </a:lnTo>
                  <a:lnTo>
                    <a:pt x="384" y="324"/>
                  </a:lnTo>
                  <a:lnTo>
                    <a:pt x="384" y="324"/>
                  </a:lnTo>
                  <a:lnTo>
                    <a:pt x="384" y="324"/>
                  </a:lnTo>
                  <a:lnTo>
                    <a:pt x="391" y="324"/>
                  </a:lnTo>
                  <a:lnTo>
                    <a:pt x="391" y="310"/>
                  </a:lnTo>
                  <a:lnTo>
                    <a:pt x="399" y="310"/>
                  </a:lnTo>
                  <a:lnTo>
                    <a:pt x="399" y="310"/>
                  </a:lnTo>
                  <a:lnTo>
                    <a:pt x="406" y="310"/>
                  </a:lnTo>
                  <a:lnTo>
                    <a:pt x="406" y="310"/>
                  </a:lnTo>
                  <a:lnTo>
                    <a:pt x="406" y="310"/>
                  </a:lnTo>
                  <a:lnTo>
                    <a:pt x="406" y="310"/>
                  </a:lnTo>
                  <a:lnTo>
                    <a:pt x="413" y="310"/>
                  </a:lnTo>
                  <a:lnTo>
                    <a:pt x="413" y="310"/>
                  </a:lnTo>
                  <a:lnTo>
                    <a:pt x="421" y="310"/>
                  </a:lnTo>
                  <a:lnTo>
                    <a:pt x="421" y="302"/>
                  </a:lnTo>
                  <a:lnTo>
                    <a:pt x="428" y="302"/>
                  </a:lnTo>
                  <a:lnTo>
                    <a:pt x="428" y="302"/>
                  </a:lnTo>
                  <a:lnTo>
                    <a:pt x="436" y="302"/>
                  </a:lnTo>
                  <a:lnTo>
                    <a:pt x="436" y="302"/>
                  </a:lnTo>
                  <a:lnTo>
                    <a:pt x="436" y="302"/>
                  </a:lnTo>
                  <a:lnTo>
                    <a:pt x="436" y="295"/>
                  </a:lnTo>
                  <a:lnTo>
                    <a:pt x="443" y="295"/>
                  </a:lnTo>
                  <a:lnTo>
                    <a:pt x="443" y="295"/>
                  </a:lnTo>
                  <a:lnTo>
                    <a:pt x="450" y="295"/>
                  </a:lnTo>
                  <a:lnTo>
                    <a:pt x="450" y="295"/>
                  </a:lnTo>
                  <a:lnTo>
                    <a:pt x="458" y="295"/>
                  </a:lnTo>
                  <a:lnTo>
                    <a:pt x="458" y="295"/>
                  </a:lnTo>
                  <a:lnTo>
                    <a:pt x="458" y="295"/>
                  </a:lnTo>
                  <a:lnTo>
                    <a:pt x="458" y="295"/>
                  </a:lnTo>
                  <a:lnTo>
                    <a:pt x="465" y="295"/>
                  </a:lnTo>
                  <a:lnTo>
                    <a:pt x="465" y="295"/>
                  </a:lnTo>
                  <a:lnTo>
                    <a:pt x="472" y="295"/>
                  </a:lnTo>
                  <a:lnTo>
                    <a:pt x="472" y="295"/>
                  </a:lnTo>
                  <a:lnTo>
                    <a:pt x="480" y="295"/>
                  </a:lnTo>
                  <a:lnTo>
                    <a:pt x="480" y="295"/>
                  </a:lnTo>
                  <a:lnTo>
                    <a:pt x="480" y="295"/>
                  </a:lnTo>
                  <a:lnTo>
                    <a:pt x="480" y="295"/>
                  </a:lnTo>
                  <a:lnTo>
                    <a:pt x="487" y="295"/>
                  </a:lnTo>
                  <a:lnTo>
                    <a:pt x="487" y="295"/>
                  </a:lnTo>
                  <a:lnTo>
                    <a:pt x="495" y="295"/>
                  </a:lnTo>
                  <a:lnTo>
                    <a:pt x="495" y="295"/>
                  </a:lnTo>
                  <a:lnTo>
                    <a:pt x="502" y="295"/>
                  </a:lnTo>
                  <a:lnTo>
                    <a:pt x="502" y="295"/>
                  </a:lnTo>
                  <a:lnTo>
                    <a:pt x="502" y="295"/>
                  </a:lnTo>
                  <a:lnTo>
                    <a:pt x="502" y="287"/>
                  </a:lnTo>
                  <a:lnTo>
                    <a:pt x="509" y="287"/>
                  </a:lnTo>
                  <a:lnTo>
                    <a:pt x="509" y="287"/>
                  </a:lnTo>
                  <a:lnTo>
                    <a:pt x="517" y="287"/>
                  </a:lnTo>
                  <a:lnTo>
                    <a:pt x="517" y="287"/>
                  </a:lnTo>
                  <a:lnTo>
                    <a:pt x="524" y="287"/>
                  </a:lnTo>
                  <a:lnTo>
                    <a:pt x="524" y="287"/>
                  </a:lnTo>
                  <a:lnTo>
                    <a:pt x="531" y="287"/>
                  </a:lnTo>
                  <a:lnTo>
                    <a:pt x="531" y="287"/>
                  </a:lnTo>
                  <a:lnTo>
                    <a:pt x="531" y="287"/>
                  </a:lnTo>
                  <a:lnTo>
                    <a:pt x="531" y="287"/>
                  </a:lnTo>
                  <a:lnTo>
                    <a:pt x="539" y="287"/>
                  </a:lnTo>
                  <a:lnTo>
                    <a:pt x="539" y="287"/>
                  </a:lnTo>
                  <a:lnTo>
                    <a:pt x="546" y="287"/>
                  </a:lnTo>
                  <a:lnTo>
                    <a:pt x="546" y="287"/>
                  </a:lnTo>
                  <a:lnTo>
                    <a:pt x="554" y="287"/>
                  </a:lnTo>
                  <a:lnTo>
                    <a:pt x="554" y="280"/>
                  </a:lnTo>
                  <a:lnTo>
                    <a:pt x="554" y="280"/>
                  </a:lnTo>
                  <a:lnTo>
                    <a:pt x="554" y="273"/>
                  </a:lnTo>
                  <a:lnTo>
                    <a:pt x="561" y="273"/>
                  </a:lnTo>
                  <a:lnTo>
                    <a:pt x="561" y="273"/>
                  </a:lnTo>
                  <a:lnTo>
                    <a:pt x="568" y="273"/>
                  </a:lnTo>
                  <a:lnTo>
                    <a:pt x="568" y="273"/>
                  </a:lnTo>
                  <a:lnTo>
                    <a:pt x="576" y="273"/>
                  </a:lnTo>
                  <a:lnTo>
                    <a:pt x="576" y="273"/>
                  </a:lnTo>
                  <a:lnTo>
                    <a:pt x="576" y="273"/>
                  </a:lnTo>
                  <a:lnTo>
                    <a:pt x="576" y="273"/>
                  </a:lnTo>
                  <a:lnTo>
                    <a:pt x="583" y="273"/>
                  </a:lnTo>
                  <a:lnTo>
                    <a:pt x="583" y="273"/>
                  </a:lnTo>
                  <a:lnTo>
                    <a:pt x="590" y="273"/>
                  </a:lnTo>
                  <a:lnTo>
                    <a:pt x="590" y="273"/>
                  </a:lnTo>
                  <a:lnTo>
                    <a:pt x="598" y="273"/>
                  </a:lnTo>
                  <a:lnTo>
                    <a:pt x="598" y="273"/>
                  </a:lnTo>
                  <a:lnTo>
                    <a:pt x="605" y="273"/>
                  </a:lnTo>
                  <a:lnTo>
                    <a:pt x="605" y="273"/>
                  </a:lnTo>
                  <a:lnTo>
                    <a:pt x="605" y="273"/>
                  </a:lnTo>
                  <a:lnTo>
                    <a:pt x="605" y="273"/>
                  </a:lnTo>
                  <a:lnTo>
                    <a:pt x="613" y="273"/>
                  </a:lnTo>
                  <a:lnTo>
                    <a:pt x="613" y="273"/>
                  </a:lnTo>
                  <a:lnTo>
                    <a:pt x="620" y="273"/>
                  </a:lnTo>
                  <a:lnTo>
                    <a:pt x="620" y="273"/>
                  </a:lnTo>
                  <a:lnTo>
                    <a:pt x="627" y="273"/>
                  </a:lnTo>
                  <a:lnTo>
                    <a:pt x="627" y="273"/>
                  </a:lnTo>
                  <a:lnTo>
                    <a:pt x="627" y="273"/>
                  </a:lnTo>
                  <a:lnTo>
                    <a:pt x="627" y="265"/>
                  </a:lnTo>
                  <a:lnTo>
                    <a:pt x="635" y="265"/>
                  </a:lnTo>
                  <a:lnTo>
                    <a:pt x="635" y="265"/>
                  </a:lnTo>
                  <a:lnTo>
                    <a:pt x="642" y="265"/>
                  </a:lnTo>
                  <a:lnTo>
                    <a:pt x="642" y="265"/>
                  </a:lnTo>
                  <a:lnTo>
                    <a:pt x="649" y="265"/>
                  </a:lnTo>
                  <a:lnTo>
                    <a:pt x="649" y="265"/>
                  </a:lnTo>
                  <a:lnTo>
                    <a:pt x="657" y="265"/>
                  </a:lnTo>
                  <a:lnTo>
                    <a:pt x="657" y="258"/>
                  </a:lnTo>
                  <a:lnTo>
                    <a:pt x="664" y="258"/>
                  </a:lnTo>
                  <a:lnTo>
                    <a:pt x="664" y="258"/>
                  </a:lnTo>
                  <a:lnTo>
                    <a:pt x="672" y="258"/>
                  </a:lnTo>
                  <a:lnTo>
                    <a:pt x="672" y="258"/>
                  </a:lnTo>
                  <a:lnTo>
                    <a:pt x="672" y="258"/>
                  </a:lnTo>
                  <a:lnTo>
                    <a:pt x="672" y="258"/>
                  </a:lnTo>
                  <a:lnTo>
                    <a:pt x="679" y="258"/>
                  </a:lnTo>
                  <a:lnTo>
                    <a:pt x="679" y="258"/>
                  </a:lnTo>
                  <a:lnTo>
                    <a:pt x="686" y="258"/>
                  </a:lnTo>
                  <a:lnTo>
                    <a:pt x="686" y="258"/>
                  </a:lnTo>
                  <a:lnTo>
                    <a:pt x="694" y="258"/>
                  </a:lnTo>
                  <a:lnTo>
                    <a:pt x="694" y="258"/>
                  </a:lnTo>
                  <a:lnTo>
                    <a:pt x="701" y="258"/>
                  </a:lnTo>
                  <a:lnTo>
                    <a:pt x="701" y="258"/>
                  </a:lnTo>
                  <a:lnTo>
                    <a:pt x="701" y="258"/>
                  </a:lnTo>
                  <a:lnTo>
                    <a:pt x="701" y="258"/>
                  </a:lnTo>
                  <a:lnTo>
                    <a:pt x="708" y="258"/>
                  </a:lnTo>
                  <a:lnTo>
                    <a:pt x="708" y="251"/>
                  </a:lnTo>
                  <a:lnTo>
                    <a:pt x="716" y="251"/>
                  </a:lnTo>
                  <a:lnTo>
                    <a:pt x="716" y="251"/>
                  </a:lnTo>
                  <a:lnTo>
                    <a:pt x="723" y="251"/>
                  </a:lnTo>
                  <a:lnTo>
                    <a:pt x="723" y="251"/>
                  </a:lnTo>
                  <a:lnTo>
                    <a:pt x="723" y="251"/>
                  </a:lnTo>
                  <a:lnTo>
                    <a:pt x="723" y="251"/>
                  </a:lnTo>
                  <a:lnTo>
                    <a:pt x="731" y="251"/>
                  </a:lnTo>
                  <a:lnTo>
                    <a:pt x="731" y="251"/>
                  </a:lnTo>
                  <a:lnTo>
                    <a:pt x="738" y="251"/>
                  </a:lnTo>
                  <a:lnTo>
                    <a:pt x="738" y="251"/>
                  </a:lnTo>
                  <a:lnTo>
                    <a:pt x="745" y="251"/>
                  </a:lnTo>
                  <a:lnTo>
                    <a:pt x="745" y="251"/>
                  </a:lnTo>
                  <a:lnTo>
                    <a:pt x="745" y="251"/>
                  </a:lnTo>
                  <a:lnTo>
                    <a:pt x="745" y="236"/>
                  </a:lnTo>
                  <a:lnTo>
                    <a:pt x="753" y="236"/>
                  </a:lnTo>
                  <a:lnTo>
                    <a:pt x="753" y="236"/>
                  </a:lnTo>
                  <a:lnTo>
                    <a:pt x="760" y="236"/>
                  </a:lnTo>
                  <a:lnTo>
                    <a:pt x="760" y="236"/>
                  </a:lnTo>
                  <a:lnTo>
                    <a:pt x="767" y="236"/>
                  </a:lnTo>
                  <a:lnTo>
                    <a:pt x="767" y="236"/>
                  </a:lnTo>
                  <a:lnTo>
                    <a:pt x="775" y="236"/>
                  </a:lnTo>
                  <a:lnTo>
                    <a:pt x="775" y="236"/>
                  </a:lnTo>
                  <a:lnTo>
                    <a:pt x="775" y="236"/>
                  </a:lnTo>
                  <a:lnTo>
                    <a:pt x="775" y="236"/>
                  </a:lnTo>
                  <a:lnTo>
                    <a:pt x="782" y="236"/>
                  </a:lnTo>
                  <a:lnTo>
                    <a:pt x="782" y="236"/>
                  </a:lnTo>
                  <a:lnTo>
                    <a:pt x="790" y="236"/>
                  </a:lnTo>
                  <a:lnTo>
                    <a:pt x="790" y="236"/>
                  </a:lnTo>
                  <a:lnTo>
                    <a:pt x="797" y="236"/>
                  </a:lnTo>
                  <a:lnTo>
                    <a:pt x="797" y="236"/>
                  </a:lnTo>
                  <a:lnTo>
                    <a:pt x="797" y="236"/>
                  </a:lnTo>
                  <a:lnTo>
                    <a:pt x="797" y="236"/>
                  </a:lnTo>
                  <a:lnTo>
                    <a:pt x="804" y="236"/>
                  </a:lnTo>
                  <a:lnTo>
                    <a:pt x="804" y="236"/>
                  </a:lnTo>
                  <a:lnTo>
                    <a:pt x="812" y="236"/>
                  </a:lnTo>
                  <a:lnTo>
                    <a:pt x="812" y="229"/>
                  </a:lnTo>
                  <a:lnTo>
                    <a:pt x="819" y="229"/>
                  </a:lnTo>
                  <a:lnTo>
                    <a:pt x="819" y="229"/>
                  </a:lnTo>
                  <a:lnTo>
                    <a:pt x="819" y="229"/>
                  </a:lnTo>
                  <a:lnTo>
                    <a:pt x="819" y="229"/>
                  </a:lnTo>
                  <a:lnTo>
                    <a:pt x="826" y="229"/>
                  </a:lnTo>
                  <a:lnTo>
                    <a:pt x="826" y="229"/>
                  </a:lnTo>
                  <a:lnTo>
                    <a:pt x="834" y="229"/>
                  </a:lnTo>
                  <a:lnTo>
                    <a:pt x="834" y="229"/>
                  </a:lnTo>
                  <a:lnTo>
                    <a:pt x="841" y="229"/>
                  </a:lnTo>
                  <a:lnTo>
                    <a:pt x="841" y="229"/>
                  </a:lnTo>
                  <a:lnTo>
                    <a:pt x="841" y="229"/>
                  </a:lnTo>
                  <a:lnTo>
                    <a:pt x="841" y="229"/>
                  </a:lnTo>
                  <a:lnTo>
                    <a:pt x="849" y="229"/>
                  </a:lnTo>
                  <a:lnTo>
                    <a:pt x="849" y="229"/>
                  </a:lnTo>
                  <a:lnTo>
                    <a:pt x="856" y="229"/>
                  </a:lnTo>
                  <a:lnTo>
                    <a:pt x="856" y="221"/>
                  </a:lnTo>
                  <a:lnTo>
                    <a:pt x="863" y="221"/>
                  </a:lnTo>
                  <a:lnTo>
                    <a:pt x="863" y="221"/>
                  </a:lnTo>
                  <a:lnTo>
                    <a:pt x="871" y="221"/>
                  </a:lnTo>
                  <a:lnTo>
                    <a:pt x="871" y="206"/>
                  </a:lnTo>
                  <a:lnTo>
                    <a:pt x="871" y="206"/>
                  </a:lnTo>
                  <a:lnTo>
                    <a:pt x="871" y="206"/>
                  </a:lnTo>
                  <a:lnTo>
                    <a:pt x="878" y="206"/>
                  </a:lnTo>
                  <a:lnTo>
                    <a:pt x="878" y="206"/>
                  </a:lnTo>
                  <a:lnTo>
                    <a:pt x="885" y="206"/>
                  </a:lnTo>
                  <a:lnTo>
                    <a:pt x="885" y="206"/>
                  </a:lnTo>
                  <a:lnTo>
                    <a:pt x="893" y="206"/>
                  </a:lnTo>
                  <a:lnTo>
                    <a:pt x="893" y="206"/>
                  </a:lnTo>
                  <a:lnTo>
                    <a:pt x="893" y="206"/>
                  </a:lnTo>
                  <a:lnTo>
                    <a:pt x="893" y="199"/>
                  </a:lnTo>
                  <a:lnTo>
                    <a:pt x="900" y="199"/>
                  </a:lnTo>
                  <a:lnTo>
                    <a:pt x="900" y="199"/>
                  </a:lnTo>
                  <a:lnTo>
                    <a:pt x="908" y="199"/>
                  </a:lnTo>
                  <a:lnTo>
                    <a:pt x="908" y="192"/>
                  </a:lnTo>
                  <a:lnTo>
                    <a:pt x="915" y="192"/>
                  </a:lnTo>
                  <a:lnTo>
                    <a:pt x="915" y="192"/>
                  </a:lnTo>
                  <a:lnTo>
                    <a:pt x="915" y="192"/>
                  </a:lnTo>
                  <a:lnTo>
                    <a:pt x="915" y="192"/>
                  </a:lnTo>
                  <a:lnTo>
                    <a:pt x="922" y="192"/>
                  </a:lnTo>
                  <a:lnTo>
                    <a:pt x="922" y="192"/>
                  </a:lnTo>
                  <a:lnTo>
                    <a:pt x="930" y="192"/>
                  </a:lnTo>
                  <a:lnTo>
                    <a:pt x="930" y="192"/>
                  </a:lnTo>
                  <a:lnTo>
                    <a:pt x="937" y="192"/>
                  </a:lnTo>
                  <a:lnTo>
                    <a:pt x="937" y="192"/>
                  </a:lnTo>
                  <a:lnTo>
                    <a:pt x="937" y="192"/>
                  </a:lnTo>
                  <a:lnTo>
                    <a:pt x="937" y="192"/>
                  </a:lnTo>
                  <a:lnTo>
                    <a:pt x="944" y="192"/>
                  </a:lnTo>
                  <a:lnTo>
                    <a:pt x="944" y="177"/>
                  </a:lnTo>
                  <a:lnTo>
                    <a:pt x="952" y="177"/>
                  </a:lnTo>
                  <a:lnTo>
                    <a:pt x="952" y="177"/>
                  </a:lnTo>
                  <a:lnTo>
                    <a:pt x="959" y="177"/>
                  </a:lnTo>
                  <a:lnTo>
                    <a:pt x="959" y="177"/>
                  </a:lnTo>
                  <a:lnTo>
                    <a:pt x="967" y="177"/>
                  </a:lnTo>
                  <a:lnTo>
                    <a:pt x="967" y="170"/>
                  </a:lnTo>
                  <a:lnTo>
                    <a:pt x="967" y="170"/>
                  </a:lnTo>
                  <a:lnTo>
                    <a:pt x="967" y="170"/>
                  </a:lnTo>
                  <a:lnTo>
                    <a:pt x="974" y="170"/>
                  </a:lnTo>
                  <a:lnTo>
                    <a:pt x="974" y="170"/>
                  </a:lnTo>
                  <a:lnTo>
                    <a:pt x="981" y="170"/>
                  </a:lnTo>
                  <a:lnTo>
                    <a:pt x="981" y="170"/>
                  </a:lnTo>
                  <a:lnTo>
                    <a:pt x="989" y="170"/>
                  </a:lnTo>
                  <a:lnTo>
                    <a:pt x="989" y="162"/>
                  </a:lnTo>
                  <a:lnTo>
                    <a:pt x="989" y="162"/>
                  </a:lnTo>
                  <a:lnTo>
                    <a:pt x="989" y="155"/>
                  </a:lnTo>
                  <a:lnTo>
                    <a:pt x="996" y="155"/>
                  </a:lnTo>
                  <a:lnTo>
                    <a:pt x="996" y="155"/>
                  </a:lnTo>
                  <a:lnTo>
                    <a:pt x="1003" y="155"/>
                  </a:lnTo>
                  <a:lnTo>
                    <a:pt x="1003" y="155"/>
                  </a:lnTo>
                  <a:lnTo>
                    <a:pt x="1011" y="155"/>
                  </a:lnTo>
                  <a:lnTo>
                    <a:pt x="1011" y="155"/>
                  </a:lnTo>
                  <a:lnTo>
                    <a:pt x="1011" y="155"/>
                  </a:lnTo>
                  <a:lnTo>
                    <a:pt x="1011" y="155"/>
                  </a:lnTo>
                  <a:lnTo>
                    <a:pt x="1018" y="155"/>
                  </a:lnTo>
                  <a:lnTo>
                    <a:pt x="1018" y="147"/>
                  </a:lnTo>
                  <a:lnTo>
                    <a:pt x="1026" y="147"/>
                  </a:lnTo>
                  <a:lnTo>
                    <a:pt x="1026" y="147"/>
                  </a:lnTo>
                  <a:lnTo>
                    <a:pt x="1033" y="147"/>
                  </a:lnTo>
                  <a:lnTo>
                    <a:pt x="1033" y="140"/>
                  </a:lnTo>
                  <a:lnTo>
                    <a:pt x="1040" y="140"/>
                  </a:lnTo>
                  <a:lnTo>
                    <a:pt x="1040" y="140"/>
                  </a:lnTo>
                  <a:lnTo>
                    <a:pt x="1040" y="140"/>
                  </a:lnTo>
                  <a:lnTo>
                    <a:pt x="1040" y="140"/>
                  </a:lnTo>
                  <a:lnTo>
                    <a:pt x="1048" y="140"/>
                  </a:lnTo>
                  <a:lnTo>
                    <a:pt x="1048" y="133"/>
                  </a:lnTo>
                  <a:lnTo>
                    <a:pt x="1055" y="133"/>
                  </a:lnTo>
                  <a:lnTo>
                    <a:pt x="1055" y="133"/>
                  </a:lnTo>
                  <a:lnTo>
                    <a:pt x="1062" y="133"/>
                  </a:lnTo>
                  <a:lnTo>
                    <a:pt x="1062" y="125"/>
                  </a:lnTo>
                  <a:lnTo>
                    <a:pt x="1062" y="125"/>
                  </a:lnTo>
                  <a:lnTo>
                    <a:pt x="1062" y="125"/>
                  </a:lnTo>
                  <a:lnTo>
                    <a:pt x="1070" y="125"/>
                  </a:lnTo>
                  <a:lnTo>
                    <a:pt x="1070" y="125"/>
                  </a:lnTo>
                  <a:lnTo>
                    <a:pt x="1077" y="125"/>
                  </a:lnTo>
                  <a:lnTo>
                    <a:pt x="1077" y="118"/>
                  </a:lnTo>
                  <a:lnTo>
                    <a:pt x="1085" y="118"/>
                  </a:lnTo>
                  <a:lnTo>
                    <a:pt x="1085" y="118"/>
                  </a:lnTo>
                  <a:lnTo>
                    <a:pt x="1085" y="118"/>
                  </a:lnTo>
                  <a:lnTo>
                    <a:pt x="1085" y="118"/>
                  </a:lnTo>
                  <a:lnTo>
                    <a:pt x="1092" y="118"/>
                  </a:lnTo>
                  <a:lnTo>
                    <a:pt x="1092" y="111"/>
                  </a:lnTo>
                  <a:lnTo>
                    <a:pt x="1099" y="111"/>
                  </a:lnTo>
                  <a:lnTo>
                    <a:pt x="1099" y="96"/>
                  </a:lnTo>
                  <a:lnTo>
                    <a:pt x="1107" y="96"/>
                  </a:lnTo>
                  <a:lnTo>
                    <a:pt x="1107" y="74"/>
                  </a:lnTo>
                  <a:lnTo>
                    <a:pt x="1107" y="74"/>
                  </a:lnTo>
                  <a:lnTo>
                    <a:pt x="1107" y="74"/>
                  </a:lnTo>
                  <a:lnTo>
                    <a:pt x="1114" y="74"/>
                  </a:lnTo>
                  <a:lnTo>
                    <a:pt x="1114" y="74"/>
                  </a:lnTo>
                  <a:lnTo>
                    <a:pt x="1121" y="74"/>
                  </a:lnTo>
                  <a:lnTo>
                    <a:pt x="1121" y="74"/>
                  </a:lnTo>
                  <a:lnTo>
                    <a:pt x="1129" y="74"/>
                  </a:lnTo>
                  <a:lnTo>
                    <a:pt x="1129" y="66"/>
                  </a:lnTo>
                  <a:lnTo>
                    <a:pt x="1136" y="66"/>
                  </a:lnTo>
                  <a:lnTo>
                    <a:pt x="1136" y="66"/>
                  </a:lnTo>
                  <a:lnTo>
                    <a:pt x="1136" y="66"/>
                  </a:lnTo>
                  <a:lnTo>
                    <a:pt x="1136" y="66"/>
                  </a:lnTo>
                  <a:lnTo>
                    <a:pt x="1144" y="66"/>
                  </a:lnTo>
                  <a:lnTo>
                    <a:pt x="1144" y="66"/>
                  </a:lnTo>
                  <a:lnTo>
                    <a:pt x="1151" y="66"/>
                  </a:lnTo>
                  <a:lnTo>
                    <a:pt x="1151" y="59"/>
                  </a:lnTo>
                  <a:lnTo>
                    <a:pt x="1158" y="59"/>
                  </a:lnTo>
                  <a:lnTo>
                    <a:pt x="1158" y="59"/>
                  </a:lnTo>
                  <a:lnTo>
                    <a:pt x="1158" y="59"/>
                  </a:lnTo>
                  <a:lnTo>
                    <a:pt x="1158" y="52"/>
                  </a:lnTo>
                  <a:lnTo>
                    <a:pt x="1166" y="52"/>
                  </a:lnTo>
                  <a:lnTo>
                    <a:pt x="1166" y="52"/>
                  </a:lnTo>
                  <a:lnTo>
                    <a:pt x="1173" y="52"/>
                  </a:lnTo>
                  <a:lnTo>
                    <a:pt x="1173" y="52"/>
                  </a:lnTo>
                  <a:lnTo>
                    <a:pt x="1181" y="52"/>
                  </a:lnTo>
                  <a:lnTo>
                    <a:pt x="1181" y="52"/>
                  </a:lnTo>
                  <a:lnTo>
                    <a:pt x="1181" y="52"/>
                  </a:lnTo>
                  <a:lnTo>
                    <a:pt x="1181" y="37"/>
                  </a:lnTo>
                  <a:lnTo>
                    <a:pt x="1188" y="37"/>
                  </a:lnTo>
                  <a:lnTo>
                    <a:pt x="1188" y="29"/>
                  </a:lnTo>
                  <a:lnTo>
                    <a:pt x="1195" y="29"/>
                  </a:lnTo>
                  <a:lnTo>
                    <a:pt x="1195" y="29"/>
                  </a:lnTo>
                  <a:lnTo>
                    <a:pt x="1203" y="29"/>
                  </a:lnTo>
                  <a:lnTo>
                    <a:pt x="1203" y="22"/>
                  </a:lnTo>
                  <a:lnTo>
                    <a:pt x="1210" y="22"/>
                  </a:lnTo>
                  <a:lnTo>
                    <a:pt x="1210" y="22"/>
                  </a:lnTo>
                  <a:lnTo>
                    <a:pt x="1210" y="22"/>
                  </a:lnTo>
                  <a:lnTo>
                    <a:pt x="1210" y="22"/>
                  </a:lnTo>
                  <a:lnTo>
                    <a:pt x="1217" y="22"/>
                  </a:lnTo>
                  <a:lnTo>
                    <a:pt x="1217" y="15"/>
                  </a:lnTo>
                  <a:lnTo>
                    <a:pt x="1225" y="15"/>
                  </a:lnTo>
                  <a:lnTo>
                    <a:pt x="1225" y="7"/>
                  </a:lnTo>
                  <a:lnTo>
                    <a:pt x="1232" y="7"/>
                  </a:lnTo>
                  <a:lnTo>
                    <a:pt x="1232" y="7"/>
                  </a:lnTo>
                  <a:lnTo>
                    <a:pt x="1232" y="7"/>
                  </a:lnTo>
                  <a:lnTo>
                    <a:pt x="1232" y="0"/>
                  </a:lnTo>
                </a:path>
              </a:pathLst>
            </a:custGeom>
            <a:noFill/>
            <a:ln w="25400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2538413" y="4471988"/>
              <a:ext cx="6227763" cy="666750"/>
            </a:xfrm>
            <a:custGeom>
              <a:avLst/>
              <a:gdLst>
                <a:gd name="T0" fmla="*/ 287 w 3923"/>
                <a:gd name="T1" fmla="*/ 420 h 420"/>
                <a:gd name="T2" fmla="*/ 376 w 3923"/>
                <a:gd name="T3" fmla="*/ 413 h 420"/>
                <a:gd name="T4" fmla="*/ 487 w 3923"/>
                <a:gd name="T5" fmla="*/ 413 h 420"/>
                <a:gd name="T6" fmla="*/ 627 w 3923"/>
                <a:gd name="T7" fmla="*/ 405 h 420"/>
                <a:gd name="T8" fmla="*/ 730 w 3923"/>
                <a:gd name="T9" fmla="*/ 405 h 420"/>
                <a:gd name="T10" fmla="*/ 841 w 3923"/>
                <a:gd name="T11" fmla="*/ 405 h 420"/>
                <a:gd name="T12" fmla="*/ 914 w 3923"/>
                <a:gd name="T13" fmla="*/ 398 h 420"/>
                <a:gd name="T14" fmla="*/ 988 w 3923"/>
                <a:gd name="T15" fmla="*/ 391 h 420"/>
                <a:gd name="T16" fmla="*/ 1062 w 3923"/>
                <a:gd name="T17" fmla="*/ 376 h 420"/>
                <a:gd name="T18" fmla="*/ 1121 w 3923"/>
                <a:gd name="T19" fmla="*/ 368 h 420"/>
                <a:gd name="T20" fmla="*/ 1209 w 3923"/>
                <a:gd name="T21" fmla="*/ 354 h 420"/>
                <a:gd name="T22" fmla="*/ 1357 w 3923"/>
                <a:gd name="T23" fmla="*/ 346 h 420"/>
                <a:gd name="T24" fmla="*/ 1460 w 3923"/>
                <a:gd name="T25" fmla="*/ 346 h 420"/>
                <a:gd name="T26" fmla="*/ 1534 w 3923"/>
                <a:gd name="T27" fmla="*/ 346 h 420"/>
                <a:gd name="T28" fmla="*/ 1622 w 3923"/>
                <a:gd name="T29" fmla="*/ 346 h 420"/>
                <a:gd name="T30" fmla="*/ 1755 w 3923"/>
                <a:gd name="T31" fmla="*/ 339 h 420"/>
                <a:gd name="T32" fmla="*/ 1829 w 3923"/>
                <a:gd name="T33" fmla="*/ 339 h 420"/>
                <a:gd name="T34" fmla="*/ 1888 w 3923"/>
                <a:gd name="T35" fmla="*/ 332 h 420"/>
                <a:gd name="T36" fmla="*/ 1932 w 3923"/>
                <a:gd name="T37" fmla="*/ 324 h 420"/>
                <a:gd name="T38" fmla="*/ 1984 w 3923"/>
                <a:gd name="T39" fmla="*/ 324 h 420"/>
                <a:gd name="T40" fmla="*/ 2028 w 3923"/>
                <a:gd name="T41" fmla="*/ 309 h 420"/>
                <a:gd name="T42" fmla="*/ 2080 w 3923"/>
                <a:gd name="T43" fmla="*/ 295 h 420"/>
                <a:gd name="T44" fmla="*/ 2124 w 3923"/>
                <a:gd name="T45" fmla="*/ 280 h 420"/>
                <a:gd name="T46" fmla="*/ 2168 w 3923"/>
                <a:gd name="T47" fmla="*/ 280 h 420"/>
                <a:gd name="T48" fmla="*/ 2212 w 3923"/>
                <a:gd name="T49" fmla="*/ 273 h 420"/>
                <a:gd name="T50" fmla="*/ 2257 w 3923"/>
                <a:gd name="T51" fmla="*/ 265 h 420"/>
                <a:gd name="T52" fmla="*/ 2316 w 3923"/>
                <a:gd name="T53" fmla="*/ 265 h 420"/>
                <a:gd name="T54" fmla="*/ 2360 w 3923"/>
                <a:gd name="T55" fmla="*/ 265 h 420"/>
                <a:gd name="T56" fmla="*/ 2404 w 3923"/>
                <a:gd name="T57" fmla="*/ 265 h 420"/>
                <a:gd name="T58" fmla="*/ 2448 w 3923"/>
                <a:gd name="T59" fmla="*/ 258 h 420"/>
                <a:gd name="T60" fmla="*/ 2493 w 3923"/>
                <a:gd name="T61" fmla="*/ 250 h 420"/>
                <a:gd name="T62" fmla="*/ 2537 w 3923"/>
                <a:gd name="T63" fmla="*/ 250 h 420"/>
                <a:gd name="T64" fmla="*/ 2589 w 3923"/>
                <a:gd name="T65" fmla="*/ 243 h 420"/>
                <a:gd name="T66" fmla="*/ 2633 w 3923"/>
                <a:gd name="T67" fmla="*/ 243 h 420"/>
                <a:gd name="T68" fmla="*/ 2677 w 3923"/>
                <a:gd name="T69" fmla="*/ 236 h 420"/>
                <a:gd name="T70" fmla="*/ 2721 w 3923"/>
                <a:gd name="T71" fmla="*/ 228 h 420"/>
                <a:gd name="T72" fmla="*/ 2766 w 3923"/>
                <a:gd name="T73" fmla="*/ 228 h 420"/>
                <a:gd name="T74" fmla="*/ 2810 w 3923"/>
                <a:gd name="T75" fmla="*/ 228 h 420"/>
                <a:gd name="T76" fmla="*/ 2854 w 3923"/>
                <a:gd name="T77" fmla="*/ 214 h 420"/>
                <a:gd name="T78" fmla="*/ 2906 w 3923"/>
                <a:gd name="T79" fmla="*/ 206 h 420"/>
                <a:gd name="T80" fmla="*/ 2950 w 3923"/>
                <a:gd name="T81" fmla="*/ 191 h 420"/>
                <a:gd name="T82" fmla="*/ 2994 w 3923"/>
                <a:gd name="T83" fmla="*/ 184 h 420"/>
                <a:gd name="T84" fmla="*/ 3038 w 3923"/>
                <a:gd name="T85" fmla="*/ 177 h 420"/>
                <a:gd name="T86" fmla="*/ 3083 w 3923"/>
                <a:gd name="T87" fmla="*/ 147 h 420"/>
                <a:gd name="T88" fmla="*/ 3127 w 3923"/>
                <a:gd name="T89" fmla="*/ 125 h 420"/>
                <a:gd name="T90" fmla="*/ 3171 w 3923"/>
                <a:gd name="T91" fmla="*/ 103 h 420"/>
                <a:gd name="T92" fmla="*/ 3215 w 3923"/>
                <a:gd name="T93" fmla="*/ 88 h 420"/>
                <a:gd name="T94" fmla="*/ 3267 w 3923"/>
                <a:gd name="T95" fmla="*/ 66 h 420"/>
                <a:gd name="T96" fmla="*/ 3311 w 3923"/>
                <a:gd name="T97" fmla="*/ 59 h 420"/>
                <a:gd name="T98" fmla="*/ 3356 w 3923"/>
                <a:gd name="T99" fmla="*/ 59 h 420"/>
                <a:gd name="T100" fmla="*/ 3400 w 3923"/>
                <a:gd name="T101" fmla="*/ 44 h 420"/>
                <a:gd name="T102" fmla="*/ 3444 w 3923"/>
                <a:gd name="T103" fmla="*/ 44 h 420"/>
                <a:gd name="T104" fmla="*/ 3488 w 3923"/>
                <a:gd name="T105" fmla="*/ 37 h 420"/>
                <a:gd name="T106" fmla="*/ 3533 w 3923"/>
                <a:gd name="T107" fmla="*/ 37 h 420"/>
                <a:gd name="T108" fmla="*/ 3584 w 3923"/>
                <a:gd name="T109" fmla="*/ 37 h 420"/>
                <a:gd name="T110" fmla="*/ 3628 w 3923"/>
                <a:gd name="T111" fmla="*/ 29 h 420"/>
                <a:gd name="T112" fmla="*/ 3673 w 3923"/>
                <a:gd name="T113" fmla="*/ 29 h 420"/>
                <a:gd name="T114" fmla="*/ 3717 w 3923"/>
                <a:gd name="T115" fmla="*/ 22 h 420"/>
                <a:gd name="T116" fmla="*/ 3761 w 3923"/>
                <a:gd name="T117" fmla="*/ 15 h 420"/>
                <a:gd name="T118" fmla="*/ 3805 w 3923"/>
                <a:gd name="T119" fmla="*/ 15 h 420"/>
                <a:gd name="T120" fmla="*/ 3850 w 3923"/>
                <a:gd name="T121" fmla="*/ 15 h 420"/>
                <a:gd name="T122" fmla="*/ 3901 w 3923"/>
                <a:gd name="T123" fmla="*/ 7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923" h="420">
                  <a:moveTo>
                    <a:pt x="0" y="420"/>
                  </a:moveTo>
                  <a:lnTo>
                    <a:pt x="103" y="420"/>
                  </a:lnTo>
                  <a:lnTo>
                    <a:pt x="103" y="420"/>
                  </a:lnTo>
                  <a:lnTo>
                    <a:pt x="169" y="420"/>
                  </a:lnTo>
                  <a:lnTo>
                    <a:pt x="169" y="420"/>
                  </a:lnTo>
                  <a:lnTo>
                    <a:pt x="214" y="420"/>
                  </a:lnTo>
                  <a:lnTo>
                    <a:pt x="214" y="420"/>
                  </a:lnTo>
                  <a:lnTo>
                    <a:pt x="221" y="420"/>
                  </a:lnTo>
                  <a:lnTo>
                    <a:pt x="221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43" y="420"/>
                  </a:lnTo>
                  <a:lnTo>
                    <a:pt x="243" y="420"/>
                  </a:lnTo>
                  <a:lnTo>
                    <a:pt x="258" y="420"/>
                  </a:lnTo>
                  <a:lnTo>
                    <a:pt x="258" y="420"/>
                  </a:lnTo>
                  <a:lnTo>
                    <a:pt x="287" y="420"/>
                  </a:lnTo>
                  <a:lnTo>
                    <a:pt x="287" y="420"/>
                  </a:lnTo>
                  <a:lnTo>
                    <a:pt x="310" y="420"/>
                  </a:lnTo>
                  <a:lnTo>
                    <a:pt x="310" y="420"/>
                  </a:lnTo>
                  <a:lnTo>
                    <a:pt x="317" y="420"/>
                  </a:lnTo>
                  <a:lnTo>
                    <a:pt x="317" y="420"/>
                  </a:lnTo>
                  <a:lnTo>
                    <a:pt x="339" y="420"/>
                  </a:lnTo>
                  <a:lnTo>
                    <a:pt x="339" y="420"/>
                  </a:lnTo>
                  <a:lnTo>
                    <a:pt x="354" y="420"/>
                  </a:lnTo>
                  <a:lnTo>
                    <a:pt x="354" y="420"/>
                  </a:lnTo>
                  <a:lnTo>
                    <a:pt x="361" y="420"/>
                  </a:lnTo>
                  <a:lnTo>
                    <a:pt x="361" y="413"/>
                  </a:lnTo>
                  <a:lnTo>
                    <a:pt x="361" y="413"/>
                  </a:lnTo>
                  <a:lnTo>
                    <a:pt x="361" y="413"/>
                  </a:lnTo>
                  <a:lnTo>
                    <a:pt x="369" y="413"/>
                  </a:lnTo>
                  <a:lnTo>
                    <a:pt x="369" y="413"/>
                  </a:lnTo>
                  <a:lnTo>
                    <a:pt x="376" y="413"/>
                  </a:lnTo>
                  <a:lnTo>
                    <a:pt x="376" y="413"/>
                  </a:lnTo>
                  <a:lnTo>
                    <a:pt x="383" y="413"/>
                  </a:lnTo>
                  <a:lnTo>
                    <a:pt x="383" y="413"/>
                  </a:lnTo>
                  <a:lnTo>
                    <a:pt x="383" y="413"/>
                  </a:lnTo>
                  <a:lnTo>
                    <a:pt x="383" y="413"/>
                  </a:lnTo>
                  <a:lnTo>
                    <a:pt x="413" y="413"/>
                  </a:lnTo>
                  <a:lnTo>
                    <a:pt x="413" y="413"/>
                  </a:lnTo>
                  <a:lnTo>
                    <a:pt x="420" y="413"/>
                  </a:lnTo>
                  <a:lnTo>
                    <a:pt x="420" y="413"/>
                  </a:lnTo>
                  <a:lnTo>
                    <a:pt x="428" y="413"/>
                  </a:lnTo>
                  <a:lnTo>
                    <a:pt x="428" y="413"/>
                  </a:lnTo>
                  <a:lnTo>
                    <a:pt x="464" y="413"/>
                  </a:lnTo>
                  <a:lnTo>
                    <a:pt x="464" y="413"/>
                  </a:lnTo>
                  <a:lnTo>
                    <a:pt x="487" y="413"/>
                  </a:lnTo>
                  <a:lnTo>
                    <a:pt x="487" y="413"/>
                  </a:lnTo>
                  <a:lnTo>
                    <a:pt x="487" y="413"/>
                  </a:lnTo>
                  <a:lnTo>
                    <a:pt x="487" y="413"/>
                  </a:lnTo>
                  <a:lnTo>
                    <a:pt x="553" y="413"/>
                  </a:lnTo>
                  <a:lnTo>
                    <a:pt x="553" y="413"/>
                  </a:lnTo>
                  <a:lnTo>
                    <a:pt x="560" y="413"/>
                  </a:lnTo>
                  <a:lnTo>
                    <a:pt x="560" y="413"/>
                  </a:lnTo>
                  <a:lnTo>
                    <a:pt x="575" y="413"/>
                  </a:lnTo>
                  <a:lnTo>
                    <a:pt x="575" y="405"/>
                  </a:lnTo>
                  <a:lnTo>
                    <a:pt x="597" y="405"/>
                  </a:lnTo>
                  <a:lnTo>
                    <a:pt x="597" y="405"/>
                  </a:lnTo>
                  <a:lnTo>
                    <a:pt x="605" y="405"/>
                  </a:lnTo>
                  <a:lnTo>
                    <a:pt x="605" y="405"/>
                  </a:lnTo>
                  <a:lnTo>
                    <a:pt x="619" y="405"/>
                  </a:lnTo>
                  <a:lnTo>
                    <a:pt x="619" y="405"/>
                  </a:lnTo>
                  <a:lnTo>
                    <a:pt x="627" y="405"/>
                  </a:lnTo>
                  <a:lnTo>
                    <a:pt x="627" y="405"/>
                  </a:lnTo>
                  <a:lnTo>
                    <a:pt x="627" y="405"/>
                  </a:lnTo>
                  <a:lnTo>
                    <a:pt x="627" y="405"/>
                  </a:lnTo>
                  <a:lnTo>
                    <a:pt x="649" y="405"/>
                  </a:lnTo>
                  <a:lnTo>
                    <a:pt x="649" y="405"/>
                  </a:lnTo>
                  <a:lnTo>
                    <a:pt x="678" y="405"/>
                  </a:lnTo>
                  <a:lnTo>
                    <a:pt x="678" y="405"/>
                  </a:lnTo>
                  <a:lnTo>
                    <a:pt x="686" y="405"/>
                  </a:lnTo>
                  <a:lnTo>
                    <a:pt x="686" y="405"/>
                  </a:lnTo>
                  <a:lnTo>
                    <a:pt x="693" y="405"/>
                  </a:lnTo>
                  <a:lnTo>
                    <a:pt x="693" y="405"/>
                  </a:lnTo>
                  <a:lnTo>
                    <a:pt x="715" y="405"/>
                  </a:lnTo>
                  <a:lnTo>
                    <a:pt x="715" y="405"/>
                  </a:lnTo>
                  <a:lnTo>
                    <a:pt x="723" y="405"/>
                  </a:lnTo>
                  <a:lnTo>
                    <a:pt x="723" y="405"/>
                  </a:lnTo>
                  <a:lnTo>
                    <a:pt x="723" y="405"/>
                  </a:lnTo>
                  <a:lnTo>
                    <a:pt x="723" y="405"/>
                  </a:lnTo>
                  <a:lnTo>
                    <a:pt x="730" y="405"/>
                  </a:lnTo>
                  <a:lnTo>
                    <a:pt x="730" y="405"/>
                  </a:lnTo>
                  <a:lnTo>
                    <a:pt x="745" y="405"/>
                  </a:lnTo>
                  <a:lnTo>
                    <a:pt x="745" y="405"/>
                  </a:lnTo>
                  <a:lnTo>
                    <a:pt x="752" y="405"/>
                  </a:lnTo>
                  <a:lnTo>
                    <a:pt x="752" y="405"/>
                  </a:lnTo>
                  <a:lnTo>
                    <a:pt x="752" y="405"/>
                  </a:lnTo>
                  <a:lnTo>
                    <a:pt x="752" y="405"/>
                  </a:lnTo>
                  <a:lnTo>
                    <a:pt x="782" y="405"/>
                  </a:lnTo>
                  <a:lnTo>
                    <a:pt x="782" y="405"/>
                  </a:lnTo>
                  <a:lnTo>
                    <a:pt x="796" y="405"/>
                  </a:lnTo>
                  <a:lnTo>
                    <a:pt x="796" y="405"/>
                  </a:lnTo>
                  <a:lnTo>
                    <a:pt x="818" y="405"/>
                  </a:lnTo>
                  <a:lnTo>
                    <a:pt x="818" y="405"/>
                  </a:lnTo>
                  <a:lnTo>
                    <a:pt x="826" y="405"/>
                  </a:lnTo>
                  <a:lnTo>
                    <a:pt x="826" y="405"/>
                  </a:lnTo>
                  <a:lnTo>
                    <a:pt x="841" y="405"/>
                  </a:lnTo>
                  <a:lnTo>
                    <a:pt x="841" y="405"/>
                  </a:lnTo>
                  <a:lnTo>
                    <a:pt x="848" y="405"/>
                  </a:lnTo>
                  <a:lnTo>
                    <a:pt x="848" y="398"/>
                  </a:lnTo>
                  <a:lnTo>
                    <a:pt x="855" y="398"/>
                  </a:lnTo>
                  <a:lnTo>
                    <a:pt x="855" y="398"/>
                  </a:lnTo>
                  <a:lnTo>
                    <a:pt x="870" y="398"/>
                  </a:lnTo>
                  <a:lnTo>
                    <a:pt x="870" y="398"/>
                  </a:lnTo>
                  <a:lnTo>
                    <a:pt x="870" y="398"/>
                  </a:lnTo>
                  <a:lnTo>
                    <a:pt x="870" y="398"/>
                  </a:lnTo>
                  <a:lnTo>
                    <a:pt x="877" y="398"/>
                  </a:lnTo>
                  <a:lnTo>
                    <a:pt x="877" y="398"/>
                  </a:lnTo>
                  <a:lnTo>
                    <a:pt x="885" y="398"/>
                  </a:lnTo>
                  <a:lnTo>
                    <a:pt x="885" y="398"/>
                  </a:lnTo>
                  <a:lnTo>
                    <a:pt x="892" y="398"/>
                  </a:lnTo>
                  <a:lnTo>
                    <a:pt x="892" y="398"/>
                  </a:lnTo>
                  <a:lnTo>
                    <a:pt x="914" y="398"/>
                  </a:lnTo>
                  <a:lnTo>
                    <a:pt x="914" y="391"/>
                  </a:lnTo>
                  <a:lnTo>
                    <a:pt x="922" y="391"/>
                  </a:lnTo>
                  <a:lnTo>
                    <a:pt x="922" y="391"/>
                  </a:lnTo>
                  <a:lnTo>
                    <a:pt x="936" y="391"/>
                  </a:lnTo>
                  <a:lnTo>
                    <a:pt x="936" y="391"/>
                  </a:lnTo>
                  <a:lnTo>
                    <a:pt x="944" y="391"/>
                  </a:lnTo>
                  <a:lnTo>
                    <a:pt x="944" y="391"/>
                  </a:lnTo>
                  <a:lnTo>
                    <a:pt x="944" y="391"/>
                  </a:lnTo>
                  <a:lnTo>
                    <a:pt x="944" y="391"/>
                  </a:lnTo>
                  <a:lnTo>
                    <a:pt x="951" y="391"/>
                  </a:lnTo>
                  <a:lnTo>
                    <a:pt x="951" y="391"/>
                  </a:lnTo>
                  <a:lnTo>
                    <a:pt x="966" y="391"/>
                  </a:lnTo>
                  <a:lnTo>
                    <a:pt x="966" y="391"/>
                  </a:lnTo>
                  <a:lnTo>
                    <a:pt x="981" y="391"/>
                  </a:lnTo>
                  <a:lnTo>
                    <a:pt x="981" y="391"/>
                  </a:lnTo>
                  <a:lnTo>
                    <a:pt x="988" y="391"/>
                  </a:lnTo>
                  <a:lnTo>
                    <a:pt x="988" y="391"/>
                  </a:lnTo>
                  <a:lnTo>
                    <a:pt x="988" y="391"/>
                  </a:lnTo>
                  <a:lnTo>
                    <a:pt x="988" y="383"/>
                  </a:lnTo>
                  <a:lnTo>
                    <a:pt x="995" y="383"/>
                  </a:lnTo>
                  <a:lnTo>
                    <a:pt x="995" y="383"/>
                  </a:lnTo>
                  <a:lnTo>
                    <a:pt x="1003" y="383"/>
                  </a:lnTo>
                  <a:lnTo>
                    <a:pt x="1003" y="383"/>
                  </a:lnTo>
                  <a:lnTo>
                    <a:pt x="1018" y="383"/>
                  </a:lnTo>
                  <a:lnTo>
                    <a:pt x="1018" y="383"/>
                  </a:lnTo>
                  <a:lnTo>
                    <a:pt x="1025" y="383"/>
                  </a:lnTo>
                  <a:lnTo>
                    <a:pt x="1025" y="376"/>
                  </a:lnTo>
                  <a:lnTo>
                    <a:pt x="1032" y="376"/>
                  </a:lnTo>
                  <a:lnTo>
                    <a:pt x="1032" y="376"/>
                  </a:lnTo>
                  <a:lnTo>
                    <a:pt x="1040" y="376"/>
                  </a:lnTo>
                  <a:lnTo>
                    <a:pt x="1040" y="376"/>
                  </a:lnTo>
                  <a:lnTo>
                    <a:pt x="1062" y="376"/>
                  </a:lnTo>
                  <a:lnTo>
                    <a:pt x="1062" y="376"/>
                  </a:lnTo>
                  <a:lnTo>
                    <a:pt x="1062" y="376"/>
                  </a:lnTo>
                  <a:lnTo>
                    <a:pt x="1062" y="376"/>
                  </a:lnTo>
                  <a:lnTo>
                    <a:pt x="1084" y="376"/>
                  </a:lnTo>
                  <a:lnTo>
                    <a:pt x="1084" y="376"/>
                  </a:lnTo>
                  <a:lnTo>
                    <a:pt x="1091" y="376"/>
                  </a:lnTo>
                  <a:lnTo>
                    <a:pt x="1091" y="368"/>
                  </a:lnTo>
                  <a:lnTo>
                    <a:pt x="1099" y="368"/>
                  </a:lnTo>
                  <a:lnTo>
                    <a:pt x="1099" y="368"/>
                  </a:lnTo>
                  <a:lnTo>
                    <a:pt x="1106" y="368"/>
                  </a:lnTo>
                  <a:lnTo>
                    <a:pt x="1106" y="368"/>
                  </a:lnTo>
                  <a:lnTo>
                    <a:pt x="1113" y="368"/>
                  </a:lnTo>
                  <a:lnTo>
                    <a:pt x="1113" y="368"/>
                  </a:lnTo>
                  <a:lnTo>
                    <a:pt x="1113" y="368"/>
                  </a:lnTo>
                  <a:lnTo>
                    <a:pt x="1113" y="368"/>
                  </a:lnTo>
                  <a:lnTo>
                    <a:pt x="1121" y="368"/>
                  </a:lnTo>
                  <a:lnTo>
                    <a:pt x="1121" y="368"/>
                  </a:lnTo>
                  <a:lnTo>
                    <a:pt x="1136" y="368"/>
                  </a:lnTo>
                  <a:lnTo>
                    <a:pt x="1136" y="361"/>
                  </a:lnTo>
                  <a:lnTo>
                    <a:pt x="1150" y="361"/>
                  </a:lnTo>
                  <a:lnTo>
                    <a:pt x="1150" y="361"/>
                  </a:lnTo>
                  <a:lnTo>
                    <a:pt x="1158" y="361"/>
                  </a:lnTo>
                  <a:lnTo>
                    <a:pt x="1158" y="361"/>
                  </a:lnTo>
                  <a:lnTo>
                    <a:pt x="1158" y="361"/>
                  </a:lnTo>
                  <a:lnTo>
                    <a:pt x="1158" y="354"/>
                  </a:lnTo>
                  <a:lnTo>
                    <a:pt x="1172" y="354"/>
                  </a:lnTo>
                  <a:lnTo>
                    <a:pt x="1172" y="354"/>
                  </a:lnTo>
                  <a:lnTo>
                    <a:pt x="1180" y="354"/>
                  </a:lnTo>
                  <a:lnTo>
                    <a:pt x="1180" y="354"/>
                  </a:lnTo>
                  <a:lnTo>
                    <a:pt x="1187" y="354"/>
                  </a:lnTo>
                  <a:lnTo>
                    <a:pt x="1187" y="354"/>
                  </a:lnTo>
                  <a:lnTo>
                    <a:pt x="1209" y="354"/>
                  </a:lnTo>
                  <a:lnTo>
                    <a:pt x="1209" y="354"/>
                  </a:lnTo>
                  <a:lnTo>
                    <a:pt x="1239" y="354"/>
                  </a:lnTo>
                  <a:lnTo>
                    <a:pt x="1239" y="354"/>
                  </a:lnTo>
                  <a:lnTo>
                    <a:pt x="1254" y="354"/>
                  </a:lnTo>
                  <a:lnTo>
                    <a:pt x="1254" y="354"/>
                  </a:lnTo>
                  <a:lnTo>
                    <a:pt x="1283" y="354"/>
                  </a:lnTo>
                  <a:lnTo>
                    <a:pt x="1283" y="354"/>
                  </a:lnTo>
                  <a:lnTo>
                    <a:pt x="1298" y="354"/>
                  </a:lnTo>
                  <a:lnTo>
                    <a:pt x="1298" y="346"/>
                  </a:lnTo>
                  <a:lnTo>
                    <a:pt x="1305" y="346"/>
                  </a:lnTo>
                  <a:lnTo>
                    <a:pt x="1305" y="346"/>
                  </a:lnTo>
                  <a:lnTo>
                    <a:pt x="1305" y="346"/>
                  </a:lnTo>
                  <a:lnTo>
                    <a:pt x="1305" y="346"/>
                  </a:lnTo>
                  <a:lnTo>
                    <a:pt x="1349" y="346"/>
                  </a:lnTo>
                  <a:lnTo>
                    <a:pt x="1349" y="346"/>
                  </a:lnTo>
                  <a:lnTo>
                    <a:pt x="1357" y="346"/>
                  </a:lnTo>
                  <a:lnTo>
                    <a:pt x="1357" y="346"/>
                  </a:lnTo>
                  <a:lnTo>
                    <a:pt x="1364" y="346"/>
                  </a:lnTo>
                  <a:lnTo>
                    <a:pt x="1364" y="346"/>
                  </a:lnTo>
                  <a:lnTo>
                    <a:pt x="1386" y="346"/>
                  </a:lnTo>
                  <a:lnTo>
                    <a:pt x="1386" y="346"/>
                  </a:lnTo>
                  <a:lnTo>
                    <a:pt x="1401" y="346"/>
                  </a:lnTo>
                  <a:lnTo>
                    <a:pt x="1401" y="346"/>
                  </a:lnTo>
                  <a:lnTo>
                    <a:pt x="1401" y="346"/>
                  </a:lnTo>
                  <a:lnTo>
                    <a:pt x="1401" y="346"/>
                  </a:lnTo>
                  <a:lnTo>
                    <a:pt x="1438" y="346"/>
                  </a:lnTo>
                  <a:lnTo>
                    <a:pt x="1438" y="346"/>
                  </a:lnTo>
                  <a:lnTo>
                    <a:pt x="1453" y="346"/>
                  </a:lnTo>
                  <a:lnTo>
                    <a:pt x="1453" y="346"/>
                  </a:lnTo>
                  <a:lnTo>
                    <a:pt x="1453" y="346"/>
                  </a:lnTo>
                  <a:lnTo>
                    <a:pt x="1453" y="346"/>
                  </a:lnTo>
                  <a:lnTo>
                    <a:pt x="1460" y="346"/>
                  </a:lnTo>
                  <a:lnTo>
                    <a:pt x="1460" y="346"/>
                  </a:lnTo>
                  <a:lnTo>
                    <a:pt x="1475" y="346"/>
                  </a:lnTo>
                  <a:lnTo>
                    <a:pt x="1475" y="346"/>
                  </a:lnTo>
                  <a:lnTo>
                    <a:pt x="1482" y="346"/>
                  </a:lnTo>
                  <a:lnTo>
                    <a:pt x="1482" y="346"/>
                  </a:lnTo>
                  <a:lnTo>
                    <a:pt x="1490" y="346"/>
                  </a:lnTo>
                  <a:lnTo>
                    <a:pt x="1490" y="346"/>
                  </a:lnTo>
                  <a:lnTo>
                    <a:pt x="1497" y="346"/>
                  </a:lnTo>
                  <a:lnTo>
                    <a:pt x="1497" y="346"/>
                  </a:lnTo>
                  <a:lnTo>
                    <a:pt x="1497" y="346"/>
                  </a:lnTo>
                  <a:lnTo>
                    <a:pt x="1497" y="346"/>
                  </a:lnTo>
                  <a:lnTo>
                    <a:pt x="1512" y="346"/>
                  </a:lnTo>
                  <a:lnTo>
                    <a:pt x="1512" y="346"/>
                  </a:lnTo>
                  <a:lnTo>
                    <a:pt x="1526" y="346"/>
                  </a:lnTo>
                  <a:lnTo>
                    <a:pt x="1526" y="346"/>
                  </a:lnTo>
                  <a:lnTo>
                    <a:pt x="1534" y="346"/>
                  </a:lnTo>
                  <a:lnTo>
                    <a:pt x="1534" y="346"/>
                  </a:lnTo>
                  <a:lnTo>
                    <a:pt x="1541" y="346"/>
                  </a:lnTo>
                  <a:lnTo>
                    <a:pt x="1541" y="346"/>
                  </a:lnTo>
                  <a:lnTo>
                    <a:pt x="1549" y="346"/>
                  </a:lnTo>
                  <a:lnTo>
                    <a:pt x="1549" y="346"/>
                  </a:lnTo>
                  <a:lnTo>
                    <a:pt x="1549" y="346"/>
                  </a:lnTo>
                  <a:lnTo>
                    <a:pt x="1549" y="346"/>
                  </a:lnTo>
                  <a:lnTo>
                    <a:pt x="1556" y="346"/>
                  </a:lnTo>
                  <a:lnTo>
                    <a:pt x="1556" y="346"/>
                  </a:lnTo>
                  <a:lnTo>
                    <a:pt x="1593" y="346"/>
                  </a:lnTo>
                  <a:lnTo>
                    <a:pt x="1593" y="346"/>
                  </a:lnTo>
                  <a:lnTo>
                    <a:pt x="1600" y="346"/>
                  </a:lnTo>
                  <a:lnTo>
                    <a:pt x="1600" y="346"/>
                  </a:lnTo>
                  <a:lnTo>
                    <a:pt x="1622" y="346"/>
                  </a:lnTo>
                  <a:lnTo>
                    <a:pt x="1622" y="346"/>
                  </a:lnTo>
                  <a:lnTo>
                    <a:pt x="1622" y="346"/>
                  </a:lnTo>
                  <a:lnTo>
                    <a:pt x="1622" y="346"/>
                  </a:lnTo>
                  <a:lnTo>
                    <a:pt x="1645" y="346"/>
                  </a:lnTo>
                  <a:lnTo>
                    <a:pt x="1645" y="339"/>
                  </a:lnTo>
                  <a:lnTo>
                    <a:pt x="1645" y="339"/>
                  </a:lnTo>
                  <a:lnTo>
                    <a:pt x="1645" y="339"/>
                  </a:lnTo>
                  <a:lnTo>
                    <a:pt x="1674" y="339"/>
                  </a:lnTo>
                  <a:lnTo>
                    <a:pt x="1674" y="339"/>
                  </a:lnTo>
                  <a:lnTo>
                    <a:pt x="1696" y="339"/>
                  </a:lnTo>
                  <a:lnTo>
                    <a:pt x="1696" y="339"/>
                  </a:lnTo>
                  <a:lnTo>
                    <a:pt x="1718" y="339"/>
                  </a:lnTo>
                  <a:lnTo>
                    <a:pt x="1718" y="339"/>
                  </a:lnTo>
                  <a:lnTo>
                    <a:pt x="1740" y="339"/>
                  </a:lnTo>
                  <a:lnTo>
                    <a:pt x="1740" y="339"/>
                  </a:lnTo>
                  <a:lnTo>
                    <a:pt x="1748" y="339"/>
                  </a:lnTo>
                  <a:lnTo>
                    <a:pt x="1748" y="339"/>
                  </a:lnTo>
                  <a:lnTo>
                    <a:pt x="1755" y="339"/>
                  </a:lnTo>
                  <a:lnTo>
                    <a:pt x="1755" y="339"/>
                  </a:lnTo>
                  <a:lnTo>
                    <a:pt x="1763" y="339"/>
                  </a:lnTo>
                  <a:lnTo>
                    <a:pt x="1763" y="339"/>
                  </a:lnTo>
                  <a:lnTo>
                    <a:pt x="1792" y="339"/>
                  </a:lnTo>
                  <a:lnTo>
                    <a:pt x="1792" y="339"/>
                  </a:lnTo>
                  <a:lnTo>
                    <a:pt x="1792" y="339"/>
                  </a:lnTo>
                  <a:lnTo>
                    <a:pt x="1792" y="339"/>
                  </a:lnTo>
                  <a:lnTo>
                    <a:pt x="1799" y="339"/>
                  </a:lnTo>
                  <a:lnTo>
                    <a:pt x="1799" y="339"/>
                  </a:lnTo>
                  <a:lnTo>
                    <a:pt x="1814" y="339"/>
                  </a:lnTo>
                  <a:lnTo>
                    <a:pt x="1814" y="339"/>
                  </a:lnTo>
                  <a:lnTo>
                    <a:pt x="1814" y="339"/>
                  </a:lnTo>
                  <a:lnTo>
                    <a:pt x="1814" y="339"/>
                  </a:lnTo>
                  <a:lnTo>
                    <a:pt x="1822" y="339"/>
                  </a:lnTo>
                  <a:lnTo>
                    <a:pt x="1822" y="339"/>
                  </a:lnTo>
                  <a:lnTo>
                    <a:pt x="1829" y="339"/>
                  </a:lnTo>
                  <a:lnTo>
                    <a:pt x="1829" y="339"/>
                  </a:lnTo>
                  <a:lnTo>
                    <a:pt x="1836" y="339"/>
                  </a:lnTo>
                  <a:lnTo>
                    <a:pt x="1836" y="339"/>
                  </a:lnTo>
                  <a:lnTo>
                    <a:pt x="1836" y="339"/>
                  </a:lnTo>
                  <a:lnTo>
                    <a:pt x="1836" y="332"/>
                  </a:lnTo>
                  <a:lnTo>
                    <a:pt x="1866" y="332"/>
                  </a:lnTo>
                  <a:lnTo>
                    <a:pt x="1866" y="332"/>
                  </a:lnTo>
                  <a:lnTo>
                    <a:pt x="1866" y="332"/>
                  </a:lnTo>
                  <a:lnTo>
                    <a:pt x="1866" y="332"/>
                  </a:lnTo>
                  <a:lnTo>
                    <a:pt x="1873" y="332"/>
                  </a:lnTo>
                  <a:lnTo>
                    <a:pt x="1873" y="332"/>
                  </a:lnTo>
                  <a:lnTo>
                    <a:pt x="1881" y="332"/>
                  </a:lnTo>
                  <a:lnTo>
                    <a:pt x="1881" y="332"/>
                  </a:lnTo>
                  <a:lnTo>
                    <a:pt x="1888" y="332"/>
                  </a:lnTo>
                  <a:lnTo>
                    <a:pt x="1888" y="332"/>
                  </a:lnTo>
                  <a:lnTo>
                    <a:pt x="1888" y="332"/>
                  </a:lnTo>
                  <a:lnTo>
                    <a:pt x="1888" y="332"/>
                  </a:lnTo>
                  <a:lnTo>
                    <a:pt x="1895" y="332"/>
                  </a:lnTo>
                  <a:lnTo>
                    <a:pt x="1895" y="324"/>
                  </a:lnTo>
                  <a:lnTo>
                    <a:pt x="1903" y="324"/>
                  </a:lnTo>
                  <a:lnTo>
                    <a:pt x="1903" y="324"/>
                  </a:lnTo>
                  <a:lnTo>
                    <a:pt x="1910" y="324"/>
                  </a:lnTo>
                  <a:lnTo>
                    <a:pt x="1910" y="324"/>
                  </a:lnTo>
                  <a:lnTo>
                    <a:pt x="1910" y="324"/>
                  </a:lnTo>
                  <a:lnTo>
                    <a:pt x="1910" y="324"/>
                  </a:lnTo>
                  <a:lnTo>
                    <a:pt x="1917" y="324"/>
                  </a:lnTo>
                  <a:lnTo>
                    <a:pt x="1917" y="324"/>
                  </a:lnTo>
                  <a:lnTo>
                    <a:pt x="1925" y="324"/>
                  </a:lnTo>
                  <a:lnTo>
                    <a:pt x="1925" y="324"/>
                  </a:lnTo>
                  <a:lnTo>
                    <a:pt x="1932" y="324"/>
                  </a:lnTo>
                  <a:lnTo>
                    <a:pt x="1932" y="324"/>
                  </a:lnTo>
                  <a:lnTo>
                    <a:pt x="1932" y="324"/>
                  </a:lnTo>
                  <a:lnTo>
                    <a:pt x="1932" y="324"/>
                  </a:lnTo>
                  <a:lnTo>
                    <a:pt x="1940" y="324"/>
                  </a:lnTo>
                  <a:lnTo>
                    <a:pt x="1940" y="324"/>
                  </a:lnTo>
                  <a:lnTo>
                    <a:pt x="1947" y="324"/>
                  </a:lnTo>
                  <a:lnTo>
                    <a:pt x="1947" y="324"/>
                  </a:lnTo>
                  <a:lnTo>
                    <a:pt x="1954" y="324"/>
                  </a:lnTo>
                  <a:lnTo>
                    <a:pt x="1954" y="324"/>
                  </a:lnTo>
                  <a:lnTo>
                    <a:pt x="1962" y="324"/>
                  </a:lnTo>
                  <a:lnTo>
                    <a:pt x="1962" y="324"/>
                  </a:lnTo>
                  <a:lnTo>
                    <a:pt x="1962" y="324"/>
                  </a:lnTo>
                  <a:lnTo>
                    <a:pt x="1962" y="324"/>
                  </a:lnTo>
                  <a:lnTo>
                    <a:pt x="1969" y="324"/>
                  </a:lnTo>
                  <a:lnTo>
                    <a:pt x="1969" y="324"/>
                  </a:lnTo>
                  <a:lnTo>
                    <a:pt x="1976" y="324"/>
                  </a:lnTo>
                  <a:lnTo>
                    <a:pt x="1976" y="324"/>
                  </a:lnTo>
                  <a:lnTo>
                    <a:pt x="1984" y="324"/>
                  </a:lnTo>
                  <a:lnTo>
                    <a:pt x="1984" y="317"/>
                  </a:lnTo>
                  <a:lnTo>
                    <a:pt x="1984" y="317"/>
                  </a:lnTo>
                  <a:lnTo>
                    <a:pt x="1984" y="317"/>
                  </a:lnTo>
                  <a:lnTo>
                    <a:pt x="1991" y="317"/>
                  </a:lnTo>
                  <a:lnTo>
                    <a:pt x="1991" y="317"/>
                  </a:lnTo>
                  <a:lnTo>
                    <a:pt x="1999" y="317"/>
                  </a:lnTo>
                  <a:lnTo>
                    <a:pt x="1999" y="317"/>
                  </a:lnTo>
                  <a:lnTo>
                    <a:pt x="2006" y="317"/>
                  </a:lnTo>
                  <a:lnTo>
                    <a:pt x="2006" y="317"/>
                  </a:lnTo>
                  <a:lnTo>
                    <a:pt x="2006" y="317"/>
                  </a:lnTo>
                  <a:lnTo>
                    <a:pt x="2006" y="317"/>
                  </a:lnTo>
                  <a:lnTo>
                    <a:pt x="2013" y="317"/>
                  </a:lnTo>
                  <a:lnTo>
                    <a:pt x="2013" y="309"/>
                  </a:lnTo>
                  <a:lnTo>
                    <a:pt x="2021" y="309"/>
                  </a:lnTo>
                  <a:lnTo>
                    <a:pt x="2021" y="309"/>
                  </a:lnTo>
                  <a:lnTo>
                    <a:pt x="2028" y="309"/>
                  </a:lnTo>
                  <a:lnTo>
                    <a:pt x="2028" y="309"/>
                  </a:lnTo>
                  <a:lnTo>
                    <a:pt x="2035" y="309"/>
                  </a:lnTo>
                  <a:lnTo>
                    <a:pt x="2035" y="309"/>
                  </a:lnTo>
                  <a:lnTo>
                    <a:pt x="2035" y="309"/>
                  </a:lnTo>
                  <a:lnTo>
                    <a:pt x="2035" y="302"/>
                  </a:lnTo>
                  <a:lnTo>
                    <a:pt x="2043" y="302"/>
                  </a:lnTo>
                  <a:lnTo>
                    <a:pt x="2043" y="302"/>
                  </a:lnTo>
                  <a:lnTo>
                    <a:pt x="2058" y="302"/>
                  </a:lnTo>
                  <a:lnTo>
                    <a:pt x="2058" y="302"/>
                  </a:lnTo>
                  <a:lnTo>
                    <a:pt x="2058" y="302"/>
                  </a:lnTo>
                  <a:lnTo>
                    <a:pt x="2058" y="295"/>
                  </a:lnTo>
                  <a:lnTo>
                    <a:pt x="2065" y="295"/>
                  </a:lnTo>
                  <a:lnTo>
                    <a:pt x="2065" y="295"/>
                  </a:lnTo>
                  <a:lnTo>
                    <a:pt x="2072" y="295"/>
                  </a:lnTo>
                  <a:lnTo>
                    <a:pt x="2072" y="295"/>
                  </a:lnTo>
                  <a:lnTo>
                    <a:pt x="2080" y="295"/>
                  </a:lnTo>
                  <a:lnTo>
                    <a:pt x="2080" y="295"/>
                  </a:lnTo>
                  <a:lnTo>
                    <a:pt x="2080" y="295"/>
                  </a:lnTo>
                  <a:lnTo>
                    <a:pt x="2080" y="295"/>
                  </a:lnTo>
                  <a:lnTo>
                    <a:pt x="2087" y="295"/>
                  </a:lnTo>
                  <a:lnTo>
                    <a:pt x="2087" y="287"/>
                  </a:lnTo>
                  <a:lnTo>
                    <a:pt x="2094" y="287"/>
                  </a:lnTo>
                  <a:lnTo>
                    <a:pt x="2094" y="287"/>
                  </a:lnTo>
                  <a:lnTo>
                    <a:pt x="2102" y="287"/>
                  </a:lnTo>
                  <a:lnTo>
                    <a:pt x="2102" y="287"/>
                  </a:lnTo>
                  <a:lnTo>
                    <a:pt x="2102" y="287"/>
                  </a:lnTo>
                  <a:lnTo>
                    <a:pt x="2102" y="280"/>
                  </a:lnTo>
                  <a:lnTo>
                    <a:pt x="2109" y="280"/>
                  </a:lnTo>
                  <a:lnTo>
                    <a:pt x="2109" y="280"/>
                  </a:lnTo>
                  <a:lnTo>
                    <a:pt x="2117" y="280"/>
                  </a:lnTo>
                  <a:lnTo>
                    <a:pt x="2117" y="280"/>
                  </a:lnTo>
                  <a:lnTo>
                    <a:pt x="2124" y="280"/>
                  </a:lnTo>
                  <a:lnTo>
                    <a:pt x="2124" y="280"/>
                  </a:lnTo>
                  <a:lnTo>
                    <a:pt x="2131" y="280"/>
                  </a:lnTo>
                  <a:lnTo>
                    <a:pt x="2131" y="280"/>
                  </a:lnTo>
                  <a:lnTo>
                    <a:pt x="2131" y="280"/>
                  </a:lnTo>
                  <a:lnTo>
                    <a:pt x="2131" y="280"/>
                  </a:lnTo>
                  <a:lnTo>
                    <a:pt x="2139" y="280"/>
                  </a:lnTo>
                  <a:lnTo>
                    <a:pt x="2139" y="280"/>
                  </a:lnTo>
                  <a:lnTo>
                    <a:pt x="2146" y="280"/>
                  </a:lnTo>
                  <a:lnTo>
                    <a:pt x="2146" y="280"/>
                  </a:lnTo>
                  <a:lnTo>
                    <a:pt x="2153" y="280"/>
                  </a:lnTo>
                  <a:lnTo>
                    <a:pt x="2153" y="280"/>
                  </a:lnTo>
                  <a:lnTo>
                    <a:pt x="2153" y="280"/>
                  </a:lnTo>
                  <a:lnTo>
                    <a:pt x="2153" y="280"/>
                  </a:lnTo>
                  <a:lnTo>
                    <a:pt x="2161" y="280"/>
                  </a:lnTo>
                  <a:lnTo>
                    <a:pt x="2161" y="280"/>
                  </a:lnTo>
                  <a:lnTo>
                    <a:pt x="2168" y="280"/>
                  </a:lnTo>
                  <a:lnTo>
                    <a:pt x="2168" y="280"/>
                  </a:lnTo>
                  <a:lnTo>
                    <a:pt x="2176" y="280"/>
                  </a:lnTo>
                  <a:lnTo>
                    <a:pt x="2176" y="273"/>
                  </a:lnTo>
                  <a:lnTo>
                    <a:pt x="2176" y="273"/>
                  </a:lnTo>
                  <a:lnTo>
                    <a:pt x="2176" y="273"/>
                  </a:lnTo>
                  <a:lnTo>
                    <a:pt x="2183" y="273"/>
                  </a:lnTo>
                  <a:lnTo>
                    <a:pt x="2183" y="273"/>
                  </a:lnTo>
                  <a:lnTo>
                    <a:pt x="2190" y="273"/>
                  </a:lnTo>
                  <a:lnTo>
                    <a:pt x="2190" y="273"/>
                  </a:lnTo>
                  <a:lnTo>
                    <a:pt x="2198" y="273"/>
                  </a:lnTo>
                  <a:lnTo>
                    <a:pt x="2198" y="273"/>
                  </a:lnTo>
                  <a:lnTo>
                    <a:pt x="2205" y="273"/>
                  </a:lnTo>
                  <a:lnTo>
                    <a:pt x="2205" y="273"/>
                  </a:lnTo>
                  <a:lnTo>
                    <a:pt x="2205" y="273"/>
                  </a:lnTo>
                  <a:lnTo>
                    <a:pt x="2205" y="273"/>
                  </a:lnTo>
                  <a:lnTo>
                    <a:pt x="2212" y="273"/>
                  </a:lnTo>
                  <a:lnTo>
                    <a:pt x="2212" y="273"/>
                  </a:lnTo>
                  <a:lnTo>
                    <a:pt x="2220" y="273"/>
                  </a:lnTo>
                  <a:lnTo>
                    <a:pt x="2220" y="265"/>
                  </a:lnTo>
                  <a:lnTo>
                    <a:pt x="2227" y="265"/>
                  </a:lnTo>
                  <a:lnTo>
                    <a:pt x="2227" y="265"/>
                  </a:lnTo>
                  <a:lnTo>
                    <a:pt x="2227" y="265"/>
                  </a:lnTo>
                  <a:lnTo>
                    <a:pt x="2227" y="265"/>
                  </a:lnTo>
                  <a:lnTo>
                    <a:pt x="2235" y="265"/>
                  </a:lnTo>
                  <a:lnTo>
                    <a:pt x="2235" y="265"/>
                  </a:lnTo>
                  <a:lnTo>
                    <a:pt x="2242" y="265"/>
                  </a:lnTo>
                  <a:lnTo>
                    <a:pt x="2242" y="265"/>
                  </a:lnTo>
                  <a:lnTo>
                    <a:pt x="2249" y="265"/>
                  </a:lnTo>
                  <a:lnTo>
                    <a:pt x="2249" y="265"/>
                  </a:lnTo>
                  <a:lnTo>
                    <a:pt x="2249" y="265"/>
                  </a:lnTo>
                  <a:lnTo>
                    <a:pt x="2249" y="265"/>
                  </a:lnTo>
                  <a:lnTo>
                    <a:pt x="2257" y="265"/>
                  </a:lnTo>
                  <a:lnTo>
                    <a:pt x="2257" y="265"/>
                  </a:lnTo>
                  <a:lnTo>
                    <a:pt x="2264" y="265"/>
                  </a:lnTo>
                  <a:lnTo>
                    <a:pt x="2264" y="265"/>
                  </a:lnTo>
                  <a:lnTo>
                    <a:pt x="2271" y="265"/>
                  </a:lnTo>
                  <a:lnTo>
                    <a:pt x="2271" y="265"/>
                  </a:lnTo>
                  <a:lnTo>
                    <a:pt x="2286" y="265"/>
                  </a:lnTo>
                  <a:lnTo>
                    <a:pt x="2286" y="265"/>
                  </a:lnTo>
                  <a:lnTo>
                    <a:pt x="2294" y="265"/>
                  </a:lnTo>
                  <a:lnTo>
                    <a:pt x="2294" y="265"/>
                  </a:lnTo>
                  <a:lnTo>
                    <a:pt x="2301" y="265"/>
                  </a:lnTo>
                  <a:lnTo>
                    <a:pt x="2301" y="265"/>
                  </a:lnTo>
                  <a:lnTo>
                    <a:pt x="2301" y="265"/>
                  </a:lnTo>
                  <a:lnTo>
                    <a:pt x="2301" y="265"/>
                  </a:lnTo>
                  <a:lnTo>
                    <a:pt x="2308" y="265"/>
                  </a:lnTo>
                  <a:lnTo>
                    <a:pt x="2308" y="265"/>
                  </a:lnTo>
                  <a:lnTo>
                    <a:pt x="2316" y="265"/>
                  </a:lnTo>
                  <a:lnTo>
                    <a:pt x="2316" y="265"/>
                  </a:lnTo>
                  <a:lnTo>
                    <a:pt x="2323" y="265"/>
                  </a:lnTo>
                  <a:lnTo>
                    <a:pt x="2323" y="265"/>
                  </a:lnTo>
                  <a:lnTo>
                    <a:pt x="2323" y="265"/>
                  </a:lnTo>
                  <a:lnTo>
                    <a:pt x="2323" y="265"/>
                  </a:lnTo>
                  <a:lnTo>
                    <a:pt x="2330" y="265"/>
                  </a:lnTo>
                  <a:lnTo>
                    <a:pt x="2330" y="265"/>
                  </a:lnTo>
                  <a:lnTo>
                    <a:pt x="2338" y="265"/>
                  </a:lnTo>
                  <a:lnTo>
                    <a:pt x="2338" y="265"/>
                  </a:lnTo>
                  <a:lnTo>
                    <a:pt x="2345" y="265"/>
                  </a:lnTo>
                  <a:lnTo>
                    <a:pt x="2345" y="265"/>
                  </a:lnTo>
                  <a:lnTo>
                    <a:pt x="2345" y="265"/>
                  </a:lnTo>
                  <a:lnTo>
                    <a:pt x="2345" y="265"/>
                  </a:lnTo>
                  <a:lnTo>
                    <a:pt x="2353" y="265"/>
                  </a:lnTo>
                  <a:lnTo>
                    <a:pt x="2353" y="265"/>
                  </a:lnTo>
                  <a:lnTo>
                    <a:pt x="2360" y="265"/>
                  </a:lnTo>
                  <a:lnTo>
                    <a:pt x="2360" y="265"/>
                  </a:lnTo>
                  <a:lnTo>
                    <a:pt x="2367" y="265"/>
                  </a:lnTo>
                  <a:lnTo>
                    <a:pt x="2367" y="265"/>
                  </a:lnTo>
                  <a:lnTo>
                    <a:pt x="2375" y="265"/>
                  </a:lnTo>
                  <a:lnTo>
                    <a:pt x="2375" y="265"/>
                  </a:lnTo>
                  <a:lnTo>
                    <a:pt x="2375" y="265"/>
                  </a:lnTo>
                  <a:lnTo>
                    <a:pt x="2375" y="265"/>
                  </a:lnTo>
                  <a:lnTo>
                    <a:pt x="2382" y="265"/>
                  </a:lnTo>
                  <a:lnTo>
                    <a:pt x="2382" y="265"/>
                  </a:lnTo>
                  <a:lnTo>
                    <a:pt x="2389" y="265"/>
                  </a:lnTo>
                  <a:lnTo>
                    <a:pt x="2389" y="265"/>
                  </a:lnTo>
                  <a:lnTo>
                    <a:pt x="2397" y="265"/>
                  </a:lnTo>
                  <a:lnTo>
                    <a:pt x="2397" y="265"/>
                  </a:lnTo>
                  <a:lnTo>
                    <a:pt x="2397" y="265"/>
                  </a:lnTo>
                  <a:lnTo>
                    <a:pt x="2397" y="265"/>
                  </a:lnTo>
                  <a:lnTo>
                    <a:pt x="2404" y="265"/>
                  </a:lnTo>
                  <a:lnTo>
                    <a:pt x="2404" y="258"/>
                  </a:lnTo>
                  <a:lnTo>
                    <a:pt x="2412" y="258"/>
                  </a:lnTo>
                  <a:lnTo>
                    <a:pt x="2412" y="258"/>
                  </a:lnTo>
                  <a:lnTo>
                    <a:pt x="2419" y="258"/>
                  </a:lnTo>
                  <a:lnTo>
                    <a:pt x="2419" y="258"/>
                  </a:lnTo>
                  <a:lnTo>
                    <a:pt x="2419" y="258"/>
                  </a:lnTo>
                  <a:lnTo>
                    <a:pt x="2419" y="258"/>
                  </a:lnTo>
                  <a:lnTo>
                    <a:pt x="2426" y="258"/>
                  </a:lnTo>
                  <a:lnTo>
                    <a:pt x="2426" y="258"/>
                  </a:lnTo>
                  <a:lnTo>
                    <a:pt x="2434" y="258"/>
                  </a:lnTo>
                  <a:lnTo>
                    <a:pt x="2434" y="258"/>
                  </a:lnTo>
                  <a:lnTo>
                    <a:pt x="2441" y="258"/>
                  </a:lnTo>
                  <a:lnTo>
                    <a:pt x="2441" y="258"/>
                  </a:lnTo>
                  <a:lnTo>
                    <a:pt x="2441" y="258"/>
                  </a:lnTo>
                  <a:lnTo>
                    <a:pt x="2441" y="258"/>
                  </a:lnTo>
                  <a:lnTo>
                    <a:pt x="2448" y="258"/>
                  </a:lnTo>
                  <a:lnTo>
                    <a:pt x="2448" y="258"/>
                  </a:lnTo>
                  <a:lnTo>
                    <a:pt x="2456" y="258"/>
                  </a:lnTo>
                  <a:lnTo>
                    <a:pt x="2456" y="258"/>
                  </a:lnTo>
                  <a:lnTo>
                    <a:pt x="2463" y="258"/>
                  </a:lnTo>
                  <a:lnTo>
                    <a:pt x="2463" y="258"/>
                  </a:lnTo>
                  <a:lnTo>
                    <a:pt x="2471" y="258"/>
                  </a:lnTo>
                  <a:lnTo>
                    <a:pt x="2471" y="258"/>
                  </a:lnTo>
                  <a:lnTo>
                    <a:pt x="2471" y="258"/>
                  </a:lnTo>
                  <a:lnTo>
                    <a:pt x="2471" y="258"/>
                  </a:lnTo>
                  <a:lnTo>
                    <a:pt x="2478" y="258"/>
                  </a:lnTo>
                  <a:lnTo>
                    <a:pt x="2478" y="258"/>
                  </a:lnTo>
                  <a:lnTo>
                    <a:pt x="2485" y="258"/>
                  </a:lnTo>
                  <a:lnTo>
                    <a:pt x="2485" y="250"/>
                  </a:lnTo>
                  <a:lnTo>
                    <a:pt x="2493" y="250"/>
                  </a:lnTo>
                  <a:lnTo>
                    <a:pt x="2493" y="250"/>
                  </a:lnTo>
                  <a:lnTo>
                    <a:pt x="2493" y="250"/>
                  </a:lnTo>
                  <a:lnTo>
                    <a:pt x="2493" y="250"/>
                  </a:lnTo>
                  <a:lnTo>
                    <a:pt x="2500" y="250"/>
                  </a:lnTo>
                  <a:lnTo>
                    <a:pt x="2500" y="250"/>
                  </a:lnTo>
                  <a:lnTo>
                    <a:pt x="2507" y="250"/>
                  </a:lnTo>
                  <a:lnTo>
                    <a:pt x="2507" y="250"/>
                  </a:lnTo>
                  <a:lnTo>
                    <a:pt x="2515" y="250"/>
                  </a:lnTo>
                  <a:lnTo>
                    <a:pt x="2515" y="250"/>
                  </a:lnTo>
                  <a:lnTo>
                    <a:pt x="2515" y="250"/>
                  </a:lnTo>
                  <a:lnTo>
                    <a:pt x="2515" y="250"/>
                  </a:lnTo>
                  <a:lnTo>
                    <a:pt x="2522" y="250"/>
                  </a:lnTo>
                  <a:lnTo>
                    <a:pt x="2522" y="250"/>
                  </a:lnTo>
                  <a:lnTo>
                    <a:pt x="2530" y="250"/>
                  </a:lnTo>
                  <a:lnTo>
                    <a:pt x="2530" y="250"/>
                  </a:lnTo>
                  <a:lnTo>
                    <a:pt x="2537" y="250"/>
                  </a:lnTo>
                  <a:lnTo>
                    <a:pt x="2537" y="250"/>
                  </a:lnTo>
                  <a:lnTo>
                    <a:pt x="2537" y="250"/>
                  </a:lnTo>
                  <a:lnTo>
                    <a:pt x="2537" y="250"/>
                  </a:lnTo>
                  <a:lnTo>
                    <a:pt x="2544" y="250"/>
                  </a:lnTo>
                  <a:lnTo>
                    <a:pt x="2544" y="250"/>
                  </a:lnTo>
                  <a:lnTo>
                    <a:pt x="2552" y="250"/>
                  </a:lnTo>
                  <a:lnTo>
                    <a:pt x="2552" y="250"/>
                  </a:lnTo>
                  <a:lnTo>
                    <a:pt x="2559" y="250"/>
                  </a:lnTo>
                  <a:lnTo>
                    <a:pt x="2559" y="250"/>
                  </a:lnTo>
                  <a:lnTo>
                    <a:pt x="2566" y="250"/>
                  </a:lnTo>
                  <a:lnTo>
                    <a:pt x="2566" y="250"/>
                  </a:lnTo>
                  <a:lnTo>
                    <a:pt x="2566" y="250"/>
                  </a:lnTo>
                  <a:lnTo>
                    <a:pt x="2566" y="250"/>
                  </a:lnTo>
                  <a:lnTo>
                    <a:pt x="2574" y="250"/>
                  </a:lnTo>
                  <a:lnTo>
                    <a:pt x="2574" y="243"/>
                  </a:lnTo>
                  <a:lnTo>
                    <a:pt x="2581" y="243"/>
                  </a:lnTo>
                  <a:lnTo>
                    <a:pt x="2581" y="243"/>
                  </a:lnTo>
                  <a:lnTo>
                    <a:pt x="2589" y="243"/>
                  </a:lnTo>
                  <a:lnTo>
                    <a:pt x="2589" y="243"/>
                  </a:lnTo>
                  <a:lnTo>
                    <a:pt x="2589" y="243"/>
                  </a:lnTo>
                  <a:lnTo>
                    <a:pt x="2589" y="243"/>
                  </a:lnTo>
                  <a:lnTo>
                    <a:pt x="2596" y="243"/>
                  </a:lnTo>
                  <a:lnTo>
                    <a:pt x="2596" y="243"/>
                  </a:lnTo>
                  <a:lnTo>
                    <a:pt x="2603" y="243"/>
                  </a:lnTo>
                  <a:lnTo>
                    <a:pt x="2603" y="243"/>
                  </a:lnTo>
                  <a:lnTo>
                    <a:pt x="2611" y="243"/>
                  </a:lnTo>
                  <a:lnTo>
                    <a:pt x="2611" y="243"/>
                  </a:lnTo>
                  <a:lnTo>
                    <a:pt x="2611" y="243"/>
                  </a:lnTo>
                  <a:lnTo>
                    <a:pt x="2611" y="243"/>
                  </a:lnTo>
                  <a:lnTo>
                    <a:pt x="2618" y="243"/>
                  </a:lnTo>
                  <a:lnTo>
                    <a:pt x="2618" y="243"/>
                  </a:lnTo>
                  <a:lnTo>
                    <a:pt x="2625" y="243"/>
                  </a:lnTo>
                  <a:lnTo>
                    <a:pt x="2625" y="243"/>
                  </a:lnTo>
                  <a:lnTo>
                    <a:pt x="2633" y="243"/>
                  </a:lnTo>
                  <a:lnTo>
                    <a:pt x="2633" y="243"/>
                  </a:lnTo>
                  <a:lnTo>
                    <a:pt x="2640" y="243"/>
                  </a:lnTo>
                  <a:lnTo>
                    <a:pt x="2640" y="243"/>
                  </a:lnTo>
                  <a:lnTo>
                    <a:pt x="2640" y="243"/>
                  </a:lnTo>
                  <a:lnTo>
                    <a:pt x="2640" y="243"/>
                  </a:lnTo>
                  <a:lnTo>
                    <a:pt x="2648" y="243"/>
                  </a:lnTo>
                  <a:lnTo>
                    <a:pt x="2648" y="243"/>
                  </a:lnTo>
                  <a:lnTo>
                    <a:pt x="2655" y="243"/>
                  </a:lnTo>
                  <a:lnTo>
                    <a:pt x="2655" y="243"/>
                  </a:lnTo>
                  <a:lnTo>
                    <a:pt x="2662" y="243"/>
                  </a:lnTo>
                  <a:lnTo>
                    <a:pt x="2662" y="243"/>
                  </a:lnTo>
                  <a:lnTo>
                    <a:pt x="2662" y="243"/>
                  </a:lnTo>
                  <a:lnTo>
                    <a:pt x="2662" y="236"/>
                  </a:lnTo>
                  <a:lnTo>
                    <a:pt x="2670" y="236"/>
                  </a:lnTo>
                  <a:lnTo>
                    <a:pt x="2670" y="236"/>
                  </a:lnTo>
                  <a:lnTo>
                    <a:pt x="2677" y="236"/>
                  </a:lnTo>
                  <a:lnTo>
                    <a:pt x="2677" y="236"/>
                  </a:lnTo>
                  <a:lnTo>
                    <a:pt x="2684" y="236"/>
                  </a:lnTo>
                  <a:lnTo>
                    <a:pt x="2684" y="236"/>
                  </a:lnTo>
                  <a:lnTo>
                    <a:pt x="2684" y="236"/>
                  </a:lnTo>
                  <a:lnTo>
                    <a:pt x="2684" y="236"/>
                  </a:lnTo>
                  <a:lnTo>
                    <a:pt x="2692" y="236"/>
                  </a:lnTo>
                  <a:lnTo>
                    <a:pt x="2692" y="236"/>
                  </a:lnTo>
                  <a:lnTo>
                    <a:pt x="2699" y="236"/>
                  </a:lnTo>
                  <a:lnTo>
                    <a:pt x="2699" y="236"/>
                  </a:lnTo>
                  <a:lnTo>
                    <a:pt x="2707" y="236"/>
                  </a:lnTo>
                  <a:lnTo>
                    <a:pt x="2707" y="228"/>
                  </a:lnTo>
                  <a:lnTo>
                    <a:pt x="2707" y="228"/>
                  </a:lnTo>
                  <a:lnTo>
                    <a:pt x="2707" y="228"/>
                  </a:lnTo>
                  <a:lnTo>
                    <a:pt x="2714" y="228"/>
                  </a:lnTo>
                  <a:lnTo>
                    <a:pt x="2714" y="228"/>
                  </a:lnTo>
                  <a:lnTo>
                    <a:pt x="2721" y="228"/>
                  </a:lnTo>
                  <a:lnTo>
                    <a:pt x="2721" y="228"/>
                  </a:lnTo>
                  <a:lnTo>
                    <a:pt x="2729" y="228"/>
                  </a:lnTo>
                  <a:lnTo>
                    <a:pt x="2729" y="228"/>
                  </a:lnTo>
                  <a:lnTo>
                    <a:pt x="2736" y="228"/>
                  </a:lnTo>
                  <a:lnTo>
                    <a:pt x="2736" y="228"/>
                  </a:lnTo>
                  <a:lnTo>
                    <a:pt x="2736" y="228"/>
                  </a:lnTo>
                  <a:lnTo>
                    <a:pt x="2736" y="228"/>
                  </a:lnTo>
                  <a:lnTo>
                    <a:pt x="2743" y="228"/>
                  </a:lnTo>
                  <a:lnTo>
                    <a:pt x="2743" y="228"/>
                  </a:lnTo>
                  <a:lnTo>
                    <a:pt x="2751" y="228"/>
                  </a:lnTo>
                  <a:lnTo>
                    <a:pt x="2751" y="228"/>
                  </a:lnTo>
                  <a:lnTo>
                    <a:pt x="2758" y="228"/>
                  </a:lnTo>
                  <a:lnTo>
                    <a:pt x="2758" y="228"/>
                  </a:lnTo>
                  <a:lnTo>
                    <a:pt x="2758" y="228"/>
                  </a:lnTo>
                  <a:lnTo>
                    <a:pt x="2758" y="228"/>
                  </a:lnTo>
                  <a:lnTo>
                    <a:pt x="2766" y="228"/>
                  </a:lnTo>
                  <a:lnTo>
                    <a:pt x="2766" y="228"/>
                  </a:lnTo>
                  <a:lnTo>
                    <a:pt x="2773" y="228"/>
                  </a:lnTo>
                  <a:lnTo>
                    <a:pt x="2773" y="228"/>
                  </a:lnTo>
                  <a:lnTo>
                    <a:pt x="2780" y="228"/>
                  </a:lnTo>
                  <a:lnTo>
                    <a:pt x="2780" y="228"/>
                  </a:lnTo>
                  <a:lnTo>
                    <a:pt x="2780" y="228"/>
                  </a:lnTo>
                  <a:lnTo>
                    <a:pt x="2780" y="228"/>
                  </a:lnTo>
                  <a:lnTo>
                    <a:pt x="2788" y="228"/>
                  </a:lnTo>
                  <a:lnTo>
                    <a:pt x="2788" y="228"/>
                  </a:lnTo>
                  <a:lnTo>
                    <a:pt x="2795" y="228"/>
                  </a:lnTo>
                  <a:lnTo>
                    <a:pt x="2795" y="228"/>
                  </a:lnTo>
                  <a:lnTo>
                    <a:pt x="2802" y="228"/>
                  </a:lnTo>
                  <a:lnTo>
                    <a:pt x="2802" y="228"/>
                  </a:lnTo>
                  <a:lnTo>
                    <a:pt x="2810" y="228"/>
                  </a:lnTo>
                  <a:lnTo>
                    <a:pt x="2810" y="228"/>
                  </a:lnTo>
                  <a:lnTo>
                    <a:pt x="2810" y="228"/>
                  </a:lnTo>
                  <a:lnTo>
                    <a:pt x="2810" y="221"/>
                  </a:lnTo>
                  <a:lnTo>
                    <a:pt x="2817" y="221"/>
                  </a:lnTo>
                  <a:lnTo>
                    <a:pt x="2817" y="221"/>
                  </a:lnTo>
                  <a:lnTo>
                    <a:pt x="2825" y="221"/>
                  </a:lnTo>
                  <a:lnTo>
                    <a:pt x="2825" y="221"/>
                  </a:lnTo>
                  <a:lnTo>
                    <a:pt x="2832" y="221"/>
                  </a:lnTo>
                  <a:lnTo>
                    <a:pt x="2832" y="221"/>
                  </a:lnTo>
                  <a:lnTo>
                    <a:pt x="2832" y="221"/>
                  </a:lnTo>
                  <a:lnTo>
                    <a:pt x="2832" y="214"/>
                  </a:lnTo>
                  <a:lnTo>
                    <a:pt x="2839" y="214"/>
                  </a:lnTo>
                  <a:lnTo>
                    <a:pt x="2839" y="214"/>
                  </a:lnTo>
                  <a:lnTo>
                    <a:pt x="2847" y="214"/>
                  </a:lnTo>
                  <a:lnTo>
                    <a:pt x="2847" y="214"/>
                  </a:lnTo>
                  <a:lnTo>
                    <a:pt x="2854" y="214"/>
                  </a:lnTo>
                  <a:lnTo>
                    <a:pt x="2854" y="214"/>
                  </a:lnTo>
                  <a:lnTo>
                    <a:pt x="2854" y="214"/>
                  </a:lnTo>
                  <a:lnTo>
                    <a:pt x="2854" y="214"/>
                  </a:lnTo>
                  <a:lnTo>
                    <a:pt x="2861" y="214"/>
                  </a:lnTo>
                  <a:lnTo>
                    <a:pt x="2861" y="214"/>
                  </a:lnTo>
                  <a:lnTo>
                    <a:pt x="2869" y="214"/>
                  </a:lnTo>
                  <a:lnTo>
                    <a:pt x="2869" y="214"/>
                  </a:lnTo>
                  <a:lnTo>
                    <a:pt x="2876" y="214"/>
                  </a:lnTo>
                  <a:lnTo>
                    <a:pt x="2876" y="214"/>
                  </a:lnTo>
                  <a:lnTo>
                    <a:pt x="2876" y="214"/>
                  </a:lnTo>
                  <a:lnTo>
                    <a:pt x="2876" y="206"/>
                  </a:lnTo>
                  <a:lnTo>
                    <a:pt x="2884" y="206"/>
                  </a:lnTo>
                  <a:lnTo>
                    <a:pt x="2884" y="206"/>
                  </a:lnTo>
                  <a:lnTo>
                    <a:pt x="2891" y="206"/>
                  </a:lnTo>
                  <a:lnTo>
                    <a:pt x="2891" y="206"/>
                  </a:lnTo>
                  <a:lnTo>
                    <a:pt x="2898" y="206"/>
                  </a:lnTo>
                  <a:lnTo>
                    <a:pt x="2898" y="206"/>
                  </a:lnTo>
                  <a:lnTo>
                    <a:pt x="2906" y="206"/>
                  </a:lnTo>
                  <a:lnTo>
                    <a:pt x="2906" y="206"/>
                  </a:lnTo>
                  <a:lnTo>
                    <a:pt x="2906" y="206"/>
                  </a:lnTo>
                  <a:lnTo>
                    <a:pt x="2906" y="206"/>
                  </a:lnTo>
                  <a:lnTo>
                    <a:pt x="2913" y="206"/>
                  </a:lnTo>
                  <a:lnTo>
                    <a:pt x="2913" y="199"/>
                  </a:lnTo>
                  <a:lnTo>
                    <a:pt x="2920" y="199"/>
                  </a:lnTo>
                  <a:lnTo>
                    <a:pt x="2920" y="199"/>
                  </a:lnTo>
                  <a:lnTo>
                    <a:pt x="2928" y="199"/>
                  </a:lnTo>
                  <a:lnTo>
                    <a:pt x="2928" y="199"/>
                  </a:lnTo>
                  <a:lnTo>
                    <a:pt x="2928" y="199"/>
                  </a:lnTo>
                  <a:lnTo>
                    <a:pt x="2928" y="191"/>
                  </a:lnTo>
                  <a:lnTo>
                    <a:pt x="2935" y="191"/>
                  </a:lnTo>
                  <a:lnTo>
                    <a:pt x="2935" y="191"/>
                  </a:lnTo>
                  <a:lnTo>
                    <a:pt x="2943" y="191"/>
                  </a:lnTo>
                  <a:lnTo>
                    <a:pt x="2943" y="191"/>
                  </a:lnTo>
                  <a:lnTo>
                    <a:pt x="2950" y="191"/>
                  </a:lnTo>
                  <a:lnTo>
                    <a:pt x="2950" y="191"/>
                  </a:lnTo>
                  <a:lnTo>
                    <a:pt x="2950" y="191"/>
                  </a:lnTo>
                  <a:lnTo>
                    <a:pt x="2950" y="191"/>
                  </a:lnTo>
                  <a:lnTo>
                    <a:pt x="2957" y="191"/>
                  </a:lnTo>
                  <a:lnTo>
                    <a:pt x="2957" y="191"/>
                  </a:lnTo>
                  <a:lnTo>
                    <a:pt x="2965" y="191"/>
                  </a:lnTo>
                  <a:lnTo>
                    <a:pt x="2965" y="191"/>
                  </a:lnTo>
                  <a:lnTo>
                    <a:pt x="2972" y="191"/>
                  </a:lnTo>
                  <a:lnTo>
                    <a:pt x="2972" y="184"/>
                  </a:lnTo>
                  <a:lnTo>
                    <a:pt x="2979" y="184"/>
                  </a:lnTo>
                  <a:lnTo>
                    <a:pt x="2979" y="184"/>
                  </a:lnTo>
                  <a:lnTo>
                    <a:pt x="2979" y="184"/>
                  </a:lnTo>
                  <a:lnTo>
                    <a:pt x="2979" y="184"/>
                  </a:lnTo>
                  <a:lnTo>
                    <a:pt x="2987" y="184"/>
                  </a:lnTo>
                  <a:lnTo>
                    <a:pt x="2987" y="184"/>
                  </a:lnTo>
                  <a:lnTo>
                    <a:pt x="2994" y="184"/>
                  </a:lnTo>
                  <a:lnTo>
                    <a:pt x="2994" y="184"/>
                  </a:lnTo>
                  <a:lnTo>
                    <a:pt x="3002" y="184"/>
                  </a:lnTo>
                  <a:lnTo>
                    <a:pt x="3002" y="184"/>
                  </a:lnTo>
                  <a:lnTo>
                    <a:pt x="3002" y="184"/>
                  </a:lnTo>
                  <a:lnTo>
                    <a:pt x="3002" y="184"/>
                  </a:lnTo>
                  <a:lnTo>
                    <a:pt x="3009" y="184"/>
                  </a:lnTo>
                  <a:lnTo>
                    <a:pt x="3009" y="184"/>
                  </a:lnTo>
                  <a:lnTo>
                    <a:pt x="3016" y="184"/>
                  </a:lnTo>
                  <a:lnTo>
                    <a:pt x="3016" y="177"/>
                  </a:lnTo>
                  <a:lnTo>
                    <a:pt x="3024" y="177"/>
                  </a:lnTo>
                  <a:lnTo>
                    <a:pt x="3024" y="177"/>
                  </a:lnTo>
                  <a:lnTo>
                    <a:pt x="3024" y="177"/>
                  </a:lnTo>
                  <a:lnTo>
                    <a:pt x="3024" y="177"/>
                  </a:lnTo>
                  <a:lnTo>
                    <a:pt x="3031" y="177"/>
                  </a:lnTo>
                  <a:lnTo>
                    <a:pt x="3031" y="177"/>
                  </a:lnTo>
                  <a:lnTo>
                    <a:pt x="3038" y="177"/>
                  </a:lnTo>
                  <a:lnTo>
                    <a:pt x="3038" y="169"/>
                  </a:lnTo>
                  <a:lnTo>
                    <a:pt x="3046" y="169"/>
                  </a:lnTo>
                  <a:lnTo>
                    <a:pt x="3046" y="162"/>
                  </a:lnTo>
                  <a:lnTo>
                    <a:pt x="3046" y="162"/>
                  </a:lnTo>
                  <a:lnTo>
                    <a:pt x="3046" y="162"/>
                  </a:lnTo>
                  <a:lnTo>
                    <a:pt x="3053" y="162"/>
                  </a:lnTo>
                  <a:lnTo>
                    <a:pt x="3053" y="155"/>
                  </a:lnTo>
                  <a:lnTo>
                    <a:pt x="3061" y="155"/>
                  </a:lnTo>
                  <a:lnTo>
                    <a:pt x="3061" y="155"/>
                  </a:lnTo>
                  <a:lnTo>
                    <a:pt x="3068" y="155"/>
                  </a:lnTo>
                  <a:lnTo>
                    <a:pt x="3068" y="147"/>
                  </a:lnTo>
                  <a:lnTo>
                    <a:pt x="3075" y="147"/>
                  </a:lnTo>
                  <a:lnTo>
                    <a:pt x="3075" y="147"/>
                  </a:lnTo>
                  <a:lnTo>
                    <a:pt x="3075" y="147"/>
                  </a:lnTo>
                  <a:lnTo>
                    <a:pt x="3075" y="147"/>
                  </a:lnTo>
                  <a:lnTo>
                    <a:pt x="3083" y="147"/>
                  </a:lnTo>
                  <a:lnTo>
                    <a:pt x="3083" y="147"/>
                  </a:lnTo>
                  <a:lnTo>
                    <a:pt x="3090" y="147"/>
                  </a:lnTo>
                  <a:lnTo>
                    <a:pt x="3090" y="140"/>
                  </a:lnTo>
                  <a:lnTo>
                    <a:pt x="3097" y="140"/>
                  </a:lnTo>
                  <a:lnTo>
                    <a:pt x="3097" y="140"/>
                  </a:lnTo>
                  <a:lnTo>
                    <a:pt x="3097" y="140"/>
                  </a:lnTo>
                  <a:lnTo>
                    <a:pt x="3097" y="132"/>
                  </a:lnTo>
                  <a:lnTo>
                    <a:pt x="3105" y="132"/>
                  </a:lnTo>
                  <a:lnTo>
                    <a:pt x="3105" y="125"/>
                  </a:lnTo>
                  <a:lnTo>
                    <a:pt x="3112" y="125"/>
                  </a:lnTo>
                  <a:lnTo>
                    <a:pt x="3112" y="125"/>
                  </a:lnTo>
                  <a:lnTo>
                    <a:pt x="3120" y="125"/>
                  </a:lnTo>
                  <a:lnTo>
                    <a:pt x="3120" y="125"/>
                  </a:lnTo>
                  <a:lnTo>
                    <a:pt x="3120" y="125"/>
                  </a:lnTo>
                  <a:lnTo>
                    <a:pt x="3120" y="125"/>
                  </a:lnTo>
                  <a:lnTo>
                    <a:pt x="3127" y="125"/>
                  </a:lnTo>
                  <a:lnTo>
                    <a:pt x="3127" y="118"/>
                  </a:lnTo>
                  <a:lnTo>
                    <a:pt x="3134" y="118"/>
                  </a:lnTo>
                  <a:lnTo>
                    <a:pt x="3134" y="118"/>
                  </a:lnTo>
                  <a:lnTo>
                    <a:pt x="3142" y="118"/>
                  </a:lnTo>
                  <a:lnTo>
                    <a:pt x="3142" y="118"/>
                  </a:lnTo>
                  <a:lnTo>
                    <a:pt x="3149" y="118"/>
                  </a:lnTo>
                  <a:lnTo>
                    <a:pt x="3149" y="118"/>
                  </a:lnTo>
                  <a:lnTo>
                    <a:pt x="3149" y="118"/>
                  </a:lnTo>
                  <a:lnTo>
                    <a:pt x="3149" y="110"/>
                  </a:lnTo>
                  <a:lnTo>
                    <a:pt x="3156" y="110"/>
                  </a:lnTo>
                  <a:lnTo>
                    <a:pt x="3156" y="110"/>
                  </a:lnTo>
                  <a:lnTo>
                    <a:pt x="3164" y="110"/>
                  </a:lnTo>
                  <a:lnTo>
                    <a:pt x="3164" y="110"/>
                  </a:lnTo>
                  <a:lnTo>
                    <a:pt x="3171" y="110"/>
                  </a:lnTo>
                  <a:lnTo>
                    <a:pt x="3171" y="103"/>
                  </a:lnTo>
                  <a:lnTo>
                    <a:pt x="3171" y="103"/>
                  </a:lnTo>
                  <a:lnTo>
                    <a:pt x="3171" y="103"/>
                  </a:lnTo>
                  <a:lnTo>
                    <a:pt x="3179" y="103"/>
                  </a:lnTo>
                  <a:lnTo>
                    <a:pt x="3179" y="103"/>
                  </a:lnTo>
                  <a:lnTo>
                    <a:pt x="3186" y="103"/>
                  </a:lnTo>
                  <a:lnTo>
                    <a:pt x="3186" y="103"/>
                  </a:lnTo>
                  <a:lnTo>
                    <a:pt x="3193" y="103"/>
                  </a:lnTo>
                  <a:lnTo>
                    <a:pt x="3193" y="103"/>
                  </a:lnTo>
                  <a:lnTo>
                    <a:pt x="3193" y="103"/>
                  </a:lnTo>
                  <a:lnTo>
                    <a:pt x="3193" y="96"/>
                  </a:lnTo>
                  <a:lnTo>
                    <a:pt x="3201" y="96"/>
                  </a:lnTo>
                  <a:lnTo>
                    <a:pt x="3201" y="96"/>
                  </a:lnTo>
                  <a:lnTo>
                    <a:pt x="3208" y="96"/>
                  </a:lnTo>
                  <a:lnTo>
                    <a:pt x="3208" y="88"/>
                  </a:lnTo>
                  <a:lnTo>
                    <a:pt x="3215" y="88"/>
                  </a:lnTo>
                  <a:lnTo>
                    <a:pt x="3215" y="88"/>
                  </a:lnTo>
                  <a:lnTo>
                    <a:pt x="3215" y="88"/>
                  </a:lnTo>
                  <a:lnTo>
                    <a:pt x="3215" y="81"/>
                  </a:lnTo>
                  <a:lnTo>
                    <a:pt x="3223" y="81"/>
                  </a:lnTo>
                  <a:lnTo>
                    <a:pt x="3223" y="81"/>
                  </a:lnTo>
                  <a:lnTo>
                    <a:pt x="3230" y="81"/>
                  </a:lnTo>
                  <a:lnTo>
                    <a:pt x="3230" y="81"/>
                  </a:lnTo>
                  <a:lnTo>
                    <a:pt x="3238" y="81"/>
                  </a:lnTo>
                  <a:lnTo>
                    <a:pt x="3238" y="81"/>
                  </a:lnTo>
                  <a:lnTo>
                    <a:pt x="3245" y="81"/>
                  </a:lnTo>
                  <a:lnTo>
                    <a:pt x="3245" y="81"/>
                  </a:lnTo>
                  <a:lnTo>
                    <a:pt x="3245" y="81"/>
                  </a:lnTo>
                  <a:lnTo>
                    <a:pt x="3245" y="73"/>
                  </a:lnTo>
                  <a:lnTo>
                    <a:pt x="3252" y="73"/>
                  </a:lnTo>
                  <a:lnTo>
                    <a:pt x="3252" y="73"/>
                  </a:lnTo>
                  <a:lnTo>
                    <a:pt x="3260" y="73"/>
                  </a:lnTo>
                  <a:lnTo>
                    <a:pt x="3260" y="66"/>
                  </a:lnTo>
                  <a:lnTo>
                    <a:pt x="3267" y="66"/>
                  </a:lnTo>
                  <a:lnTo>
                    <a:pt x="3267" y="66"/>
                  </a:lnTo>
                  <a:lnTo>
                    <a:pt x="3267" y="66"/>
                  </a:lnTo>
                  <a:lnTo>
                    <a:pt x="3267" y="66"/>
                  </a:lnTo>
                  <a:lnTo>
                    <a:pt x="3274" y="66"/>
                  </a:lnTo>
                  <a:lnTo>
                    <a:pt x="3274" y="66"/>
                  </a:lnTo>
                  <a:lnTo>
                    <a:pt x="3282" y="66"/>
                  </a:lnTo>
                  <a:lnTo>
                    <a:pt x="3282" y="66"/>
                  </a:lnTo>
                  <a:lnTo>
                    <a:pt x="3289" y="66"/>
                  </a:lnTo>
                  <a:lnTo>
                    <a:pt x="3289" y="59"/>
                  </a:lnTo>
                  <a:lnTo>
                    <a:pt x="3289" y="59"/>
                  </a:lnTo>
                  <a:lnTo>
                    <a:pt x="3289" y="59"/>
                  </a:lnTo>
                  <a:lnTo>
                    <a:pt x="3297" y="59"/>
                  </a:lnTo>
                  <a:lnTo>
                    <a:pt x="3297" y="59"/>
                  </a:lnTo>
                  <a:lnTo>
                    <a:pt x="3304" y="59"/>
                  </a:lnTo>
                  <a:lnTo>
                    <a:pt x="3304" y="59"/>
                  </a:lnTo>
                  <a:lnTo>
                    <a:pt x="3311" y="59"/>
                  </a:lnTo>
                  <a:lnTo>
                    <a:pt x="3311" y="59"/>
                  </a:lnTo>
                  <a:lnTo>
                    <a:pt x="3311" y="59"/>
                  </a:lnTo>
                  <a:lnTo>
                    <a:pt x="3311" y="59"/>
                  </a:lnTo>
                  <a:lnTo>
                    <a:pt x="3319" y="59"/>
                  </a:lnTo>
                  <a:lnTo>
                    <a:pt x="3319" y="59"/>
                  </a:lnTo>
                  <a:lnTo>
                    <a:pt x="3326" y="59"/>
                  </a:lnTo>
                  <a:lnTo>
                    <a:pt x="3326" y="59"/>
                  </a:lnTo>
                  <a:lnTo>
                    <a:pt x="3333" y="59"/>
                  </a:lnTo>
                  <a:lnTo>
                    <a:pt x="3333" y="59"/>
                  </a:lnTo>
                  <a:lnTo>
                    <a:pt x="3341" y="59"/>
                  </a:lnTo>
                  <a:lnTo>
                    <a:pt x="3341" y="59"/>
                  </a:lnTo>
                  <a:lnTo>
                    <a:pt x="3341" y="59"/>
                  </a:lnTo>
                  <a:lnTo>
                    <a:pt x="3341" y="59"/>
                  </a:lnTo>
                  <a:lnTo>
                    <a:pt x="3348" y="59"/>
                  </a:lnTo>
                  <a:lnTo>
                    <a:pt x="3348" y="59"/>
                  </a:lnTo>
                  <a:lnTo>
                    <a:pt x="3356" y="59"/>
                  </a:lnTo>
                  <a:lnTo>
                    <a:pt x="3356" y="59"/>
                  </a:lnTo>
                  <a:lnTo>
                    <a:pt x="3363" y="59"/>
                  </a:lnTo>
                  <a:lnTo>
                    <a:pt x="3363" y="51"/>
                  </a:lnTo>
                  <a:lnTo>
                    <a:pt x="3363" y="51"/>
                  </a:lnTo>
                  <a:lnTo>
                    <a:pt x="3363" y="51"/>
                  </a:lnTo>
                  <a:lnTo>
                    <a:pt x="3370" y="51"/>
                  </a:lnTo>
                  <a:lnTo>
                    <a:pt x="3370" y="51"/>
                  </a:lnTo>
                  <a:lnTo>
                    <a:pt x="3378" y="51"/>
                  </a:lnTo>
                  <a:lnTo>
                    <a:pt x="3378" y="51"/>
                  </a:lnTo>
                  <a:lnTo>
                    <a:pt x="3385" y="51"/>
                  </a:lnTo>
                  <a:lnTo>
                    <a:pt x="3385" y="51"/>
                  </a:lnTo>
                  <a:lnTo>
                    <a:pt x="3385" y="51"/>
                  </a:lnTo>
                  <a:lnTo>
                    <a:pt x="3385" y="44"/>
                  </a:lnTo>
                  <a:lnTo>
                    <a:pt x="3392" y="44"/>
                  </a:lnTo>
                  <a:lnTo>
                    <a:pt x="3392" y="44"/>
                  </a:lnTo>
                  <a:lnTo>
                    <a:pt x="3400" y="44"/>
                  </a:lnTo>
                  <a:lnTo>
                    <a:pt x="3400" y="44"/>
                  </a:lnTo>
                  <a:lnTo>
                    <a:pt x="3407" y="44"/>
                  </a:lnTo>
                  <a:lnTo>
                    <a:pt x="3407" y="44"/>
                  </a:lnTo>
                  <a:lnTo>
                    <a:pt x="3415" y="44"/>
                  </a:lnTo>
                  <a:lnTo>
                    <a:pt x="3415" y="44"/>
                  </a:lnTo>
                  <a:lnTo>
                    <a:pt x="3415" y="44"/>
                  </a:lnTo>
                  <a:lnTo>
                    <a:pt x="3415" y="44"/>
                  </a:lnTo>
                  <a:lnTo>
                    <a:pt x="3422" y="44"/>
                  </a:lnTo>
                  <a:lnTo>
                    <a:pt x="3422" y="44"/>
                  </a:lnTo>
                  <a:lnTo>
                    <a:pt x="3429" y="44"/>
                  </a:lnTo>
                  <a:lnTo>
                    <a:pt x="3429" y="44"/>
                  </a:lnTo>
                  <a:lnTo>
                    <a:pt x="3437" y="44"/>
                  </a:lnTo>
                  <a:lnTo>
                    <a:pt x="3437" y="44"/>
                  </a:lnTo>
                  <a:lnTo>
                    <a:pt x="3437" y="44"/>
                  </a:lnTo>
                  <a:lnTo>
                    <a:pt x="3437" y="44"/>
                  </a:lnTo>
                  <a:lnTo>
                    <a:pt x="3444" y="44"/>
                  </a:lnTo>
                  <a:lnTo>
                    <a:pt x="3444" y="44"/>
                  </a:lnTo>
                  <a:lnTo>
                    <a:pt x="3451" y="44"/>
                  </a:lnTo>
                  <a:lnTo>
                    <a:pt x="3451" y="44"/>
                  </a:lnTo>
                  <a:lnTo>
                    <a:pt x="3459" y="44"/>
                  </a:lnTo>
                  <a:lnTo>
                    <a:pt x="3459" y="44"/>
                  </a:lnTo>
                  <a:lnTo>
                    <a:pt x="3459" y="44"/>
                  </a:lnTo>
                  <a:lnTo>
                    <a:pt x="3459" y="37"/>
                  </a:lnTo>
                  <a:lnTo>
                    <a:pt x="3466" y="37"/>
                  </a:lnTo>
                  <a:lnTo>
                    <a:pt x="3466" y="37"/>
                  </a:lnTo>
                  <a:lnTo>
                    <a:pt x="3474" y="37"/>
                  </a:lnTo>
                  <a:lnTo>
                    <a:pt x="3474" y="37"/>
                  </a:lnTo>
                  <a:lnTo>
                    <a:pt x="3481" y="37"/>
                  </a:lnTo>
                  <a:lnTo>
                    <a:pt x="3481" y="37"/>
                  </a:lnTo>
                  <a:lnTo>
                    <a:pt x="3481" y="37"/>
                  </a:lnTo>
                  <a:lnTo>
                    <a:pt x="3481" y="37"/>
                  </a:lnTo>
                  <a:lnTo>
                    <a:pt x="3488" y="37"/>
                  </a:lnTo>
                  <a:lnTo>
                    <a:pt x="3488" y="37"/>
                  </a:lnTo>
                  <a:lnTo>
                    <a:pt x="3496" y="37"/>
                  </a:lnTo>
                  <a:lnTo>
                    <a:pt x="3496" y="37"/>
                  </a:lnTo>
                  <a:lnTo>
                    <a:pt x="3503" y="37"/>
                  </a:lnTo>
                  <a:lnTo>
                    <a:pt x="3503" y="37"/>
                  </a:lnTo>
                  <a:lnTo>
                    <a:pt x="3510" y="37"/>
                  </a:lnTo>
                  <a:lnTo>
                    <a:pt x="3510" y="37"/>
                  </a:lnTo>
                  <a:lnTo>
                    <a:pt x="3510" y="37"/>
                  </a:lnTo>
                  <a:lnTo>
                    <a:pt x="3510" y="37"/>
                  </a:lnTo>
                  <a:lnTo>
                    <a:pt x="3518" y="37"/>
                  </a:lnTo>
                  <a:lnTo>
                    <a:pt x="3518" y="37"/>
                  </a:lnTo>
                  <a:lnTo>
                    <a:pt x="3525" y="37"/>
                  </a:lnTo>
                  <a:lnTo>
                    <a:pt x="3525" y="37"/>
                  </a:lnTo>
                  <a:lnTo>
                    <a:pt x="3533" y="37"/>
                  </a:lnTo>
                  <a:lnTo>
                    <a:pt x="3533" y="37"/>
                  </a:lnTo>
                  <a:lnTo>
                    <a:pt x="3533" y="37"/>
                  </a:lnTo>
                  <a:lnTo>
                    <a:pt x="3533" y="37"/>
                  </a:lnTo>
                  <a:lnTo>
                    <a:pt x="3540" y="37"/>
                  </a:lnTo>
                  <a:lnTo>
                    <a:pt x="3540" y="37"/>
                  </a:lnTo>
                  <a:lnTo>
                    <a:pt x="3547" y="37"/>
                  </a:lnTo>
                  <a:lnTo>
                    <a:pt x="3547" y="37"/>
                  </a:lnTo>
                  <a:lnTo>
                    <a:pt x="3555" y="37"/>
                  </a:lnTo>
                  <a:lnTo>
                    <a:pt x="3555" y="37"/>
                  </a:lnTo>
                  <a:lnTo>
                    <a:pt x="3555" y="37"/>
                  </a:lnTo>
                  <a:lnTo>
                    <a:pt x="3555" y="37"/>
                  </a:lnTo>
                  <a:lnTo>
                    <a:pt x="3562" y="37"/>
                  </a:lnTo>
                  <a:lnTo>
                    <a:pt x="3562" y="37"/>
                  </a:lnTo>
                  <a:lnTo>
                    <a:pt x="3569" y="37"/>
                  </a:lnTo>
                  <a:lnTo>
                    <a:pt x="3569" y="37"/>
                  </a:lnTo>
                  <a:lnTo>
                    <a:pt x="3577" y="37"/>
                  </a:lnTo>
                  <a:lnTo>
                    <a:pt x="3577" y="37"/>
                  </a:lnTo>
                  <a:lnTo>
                    <a:pt x="3584" y="37"/>
                  </a:lnTo>
                  <a:lnTo>
                    <a:pt x="3584" y="29"/>
                  </a:lnTo>
                  <a:lnTo>
                    <a:pt x="3584" y="29"/>
                  </a:lnTo>
                  <a:lnTo>
                    <a:pt x="3584" y="29"/>
                  </a:lnTo>
                  <a:lnTo>
                    <a:pt x="3592" y="29"/>
                  </a:lnTo>
                  <a:lnTo>
                    <a:pt x="3592" y="29"/>
                  </a:lnTo>
                  <a:lnTo>
                    <a:pt x="3599" y="29"/>
                  </a:lnTo>
                  <a:lnTo>
                    <a:pt x="3599" y="29"/>
                  </a:lnTo>
                  <a:lnTo>
                    <a:pt x="3606" y="29"/>
                  </a:lnTo>
                  <a:lnTo>
                    <a:pt x="3606" y="29"/>
                  </a:lnTo>
                  <a:lnTo>
                    <a:pt x="3606" y="29"/>
                  </a:lnTo>
                  <a:lnTo>
                    <a:pt x="3606" y="29"/>
                  </a:lnTo>
                  <a:lnTo>
                    <a:pt x="3614" y="29"/>
                  </a:lnTo>
                  <a:lnTo>
                    <a:pt x="3614" y="29"/>
                  </a:lnTo>
                  <a:lnTo>
                    <a:pt x="3621" y="29"/>
                  </a:lnTo>
                  <a:lnTo>
                    <a:pt x="3621" y="29"/>
                  </a:lnTo>
                  <a:lnTo>
                    <a:pt x="3628" y="29"/>
                  </a:lnTo>
                  <a:lnTo>
                    <a:pt x="3628" y="29"/>
                  </a:lnTo>
                  <a:lnTo>
                    <a:pt x="3628" y="29"/>
                  </a:lnTo>
                  <a:lnTo>
                    <a:pt x="3628" y="29"/>
                  </a:lnTo>
                  <a:lnTo>
                    <a:pt x="3636" y="29"/>
                  </a:lnTo>
                  <a:lnTo>
                    <a:pt x="3636" y="29"/>
                  </a:lnTo>
                  <a:lnTo>
                    <a:pt x="3643" y="29"/>
                  </a:lnTo>
                  <a:lnTo>
                    <a:pt x="3643" y="29"/>
                  </a:lnTo>
                  <a:lnTo>
                    <a:pt x="3651" y="29"/>
                  </a:lnTo>
                  <a:lnTo>
                    <a:pt x="3651" y="29"/>
                  </a:lnTo>
                  <a:lnTo>
                    <a:pt x="3651" y="29"/>
                  </a:lnTo>
                  <a:lnTo>
                    <a:pt x="3651" y="29"/>
                  </a:lnTo>
                  <a:lnTo>
                    <a:pt x="3658" y="29"/>
                  </a:lnTo>
                  <a:lnTo>
                    <a:pt x="3658" y="29"/>
                  </a:lnTo>
                  <a:lnTo>
                    <a:pt x="3665" y="29"/>
                  </a:lnTo>
                  <a:lnTo>
                    <a:pt x="3665" y="29"/>
                  </a:lnTo>
                  <a:lnTo>
                    <a:pt x="3673" y="29"/>
                  </a:lnTo>
                  <a:lnTo>
                    <a:pt x="3673" y="29"/>
                  </a:lnTo>
                  <a:lnTo>
                    <a:pt x="3680" y="29"/>
                  </a:lnTo>
                  <a:lnTo>
                    <a:pt x="3680" y="22"/>
                  </a:lnTo>
                  <a:lnTo>
                    <a:pt x="3680" y="22"/>
                  </a:lnTo>
                  <a:lnTo>
                    <a:pt x="3680" y="22"/>
                  </a:lnTo>
                  <a:lnTo>
                    <a:pt x="3687" y="22"/>
                  </a:lnTo>
                  <a:lnTo>
                    <a:pt x="3687" y="22"/>
                  </a:lnTo>
                  <a:lnTo>
                    <a:pt x="3695" y="22"/>
                  </a:lnTo>
                  <a:lnTo>
                    <a:pt x="3695" y="22"/>
                  </a:lnTo>
                  <a:lnTo>
                    <a:pt x="3702" y="22"/>
                  </a:lnTo>
                  <a:lnTo>
                    <a:pt x="3702" y="22"/>
                  </a:lnTo>
                  <a:lnTo>
                    <a:pt x="3702" y="22"/>
                  </a:lnTo>
                  <a:lnTo>
                    <a:pt x="3702" y="22"/>
                  </a:lnTo>
                  <a:lnTo>
                    <a:pt x="3710" y="22"/>
                  </a:lnTo>
                  <a:lnTo>
                    <a:pt x="3710" y="22"/>
                  </a:lnTo>
                  <a:lnTo>
                    <a:pt x="3717" y="22"/>
                  </a:lnTo>
                  <a:lnTo>
                    <a:pt x="3717" y="22"/>
                  </a:lnTo>
                  <a:lnTo>
                    <a:pt x="3724" y="22"/>
                  </a:lnTo>
                  <a:lnTo>
                    <a:pt x="3724" y="22"/>
                  </a:lnTo>
                  <a:lnTo>
                    <a:pt x="3724" y="22"/>
                  </a:lnTo>
                  <a:lnTo>
                    <a:pt x="3724" y="15"/>
                  </a:lnTo>
                  <a:lnTo>
                    <a:pt x="3732" y="15"/>
                  </a:lnTo>
                  <a:lnTo>
                    <a:pt x="3732" y="15"/>
                  </a:lnTo>
                  <a:lnTo>
                    <a:pt x="3739" y="15"/>
                  </a:lnTo>
                  <a:lnTo>
                    <a:pt x="3739" y="15"/>
                  </a:lnTo>
                  <a:lnTo>
                    <a:pt x="3746" y="15"/>
                  </a:lnTo>
                  <a:lnTo>
                    <a:pt x="3746" y="15"/>
                  </a:lnTo>
                  <a:lnTo>
                    <a:pt x="3754" y="15"/>
                  </a:lnTo>
                  <a:lnTo>
                    <a:pt x="3754" y="15"/>
                  </a:lnTo>
                  <a:lnTo>
                    <a:pt x="3754" y="15"/>
                  </a:lnTo>
                  <a:lnTo>
                    <a:pt x="3754" y="15"/>
                  </a:lnTo>
                  <a:lnTo>
                    <a:pt x="3761" y="15"/>
                  </a:lnTo>
                  <a:lnTo>
                    <a:pt x="3761" y="15"/>
                  </a:lnTo>
                  <a:lnTo>
                    <a:pt x="3769" y="15"/>
                  </a:lnTo>
                  <a:lnTo>
                    <a:pt x="3769" y="15"/>
                  </a:lnTo>
                  <a:lnTo>
                    <a:pt x="3776" y="15"/>
                  </a:lnTo>
                  <a:lnTo>
                    <a:pt x="3776" y="15"/>
                  </a:lnTo>
                  <a:lnTo>
                    <a:pt x="3776" y="15"/>
                  </a:lnTo>
                  <a:lnTo>
                    <a:pt x="3776" y="15"/>
                  </a:lnTo>
                  <a:lnTo>
                    <a:pt x="3783" y="15"/>
                  </a:lnTo>
                  <a:lnTo>
                    <a:pt x="3783" y="15"/>
                  </a:lnTo>
                  <a:lnTo>
                    <a:pt x="3791" y="15"/>
                  </a:lnTo>
                  <a:lnTo>
                    <a:pt x="3791" y="15"/>
                  </a:lnTo>
                  <a:lnTo>
                    <a:pt x="3798" y="15"/>
                  </a:lnTo>
                  <a:lnTo>
                    <a:pt x="3798" y="15"/>
                  </a:lnTo>
                  <a:lnTo>
                    <a:pt x="3798" y="15"/>
                  </a:lnTo>
                  <a:lnTo>
                    <a:pt x="3798" y="15"/>
                  </a:lnTo>
                  <a:lnTo>
                    <a:pt x="3805" y="15"/>
                  </a:lnTo>
                  <a:lnTo>
                    <a:pt x="3805" y="15"/>
                  </a:lnTo>
                  <a:lnTo>
                    <a:pt x="3813" y="15"/>
                  </a:lnTo>
                  <a:lnTo>
                    <a:pt x="3813" y="15"/>
                  </a:lnTo>
                  <a:lnTo>
                    <a:pt x="3820" y="15"/>
                  </a:lnTo>
                  <a:lnTo>
                    <a:pt x="3820" y="15"/>
                  </a:lnTo>
                  <a:lnTo>
                    <a:pt x="3820" y="15"/>
                  </a:lnTo>
                  <a:lnTo>
                    <a:pt x="3820" y="15"/>
                  </a:lnTo>
                  <a:lnTo>
                    <a:pt x="3828" y="15"/>
                  </a:lnTo>
                  <a:lnTo>
                    <a:pt x="3828" y="15"/>
                  </a:lnTo>
                  <a:lnTo>
                    <a:pt x="3835" y="15"/>
                  </a:lnTo>
                  <a:lnTo>
                    <a:pt x="3835" y="15"/>
                  </a:lnTo>
                  <a:lnTo>
                    <a:pt x="3842" y="15"/>
                  </a:lnTo>
                  <a:lnTo>
                    <a:pt x="3842" y="15"/>
                  </a:lnTo>
                  <a:lnTo>
                    <a:pt x="3850" y="15"/>
                  </a:lnTo>
                  <a:lnTo>
                    <a:pt x="3850" y="15"/>
                  </a:lnTo>
                  <a:lnTo>
                    <a:pt x="3850" y="15"/>
                  </a:lnTo>
                  <a:lnTo>
                    <a:pt x="3850" y="15"/>
                  </a:lnTo>
                  <a:lnTo>
                    <a:pt x="3857" y="15"/>
                  </a:lnTo>
                  <a:lnTo>
                    <a:pt x="3857" y="15"/>
                  </a:lnTo>
                  <a:lnTo>
                    <a:pt x="3864" y="15"/>
                  </a:lnTo>
                  <a:lnTo>
                    <a:pt x="3864" y="15"/>
                  </a:lnTo>
                  <a:lnTo>
                    <a:pt x="3872" y="15"/>
                  </a:lnTo>
                  <a:lnTo>
                    <a:pt x="3872" y="15"/>
                  </a:lnTo>
                  <a:lnTo>
                    <a:pt x="3879" y="15"/>
                  </a:lnTo>
                  <a:lnTo>
                    <a:pt x="3879" y="7"/>
                  </a:lnTo>
                  <a:lnTo>
                    <a:pt x="3887" y="7"/>
                  </a:lnTo>
                  <a:lnTo>
                    <a:pt x="3887" y="7"/>
                  </a:lnTo>
                  <a:lnTo>
                    <a:pt x="3894" y="7"/>
                  </a:lnTo>
                  <a:lnTo>
                    <a:pt x="3894" y="7"/>
                  </a:lnTo>
                  <a:lnTo>
                    <a:pt x="3894" y="7"/>
                  </a:lnTo>
                  <a:lnTo>
                    <a:pt x="3894" y="7"/>
                  </a:lnTo>
                  <a:lnTo>
                    <a:pt x="3901" y="7"/>
                  </a:lnTo>
                  <a:lnTo>
                    <a:pt x="3901" y="7"/>
                  </a:lnTo>
                  <a:lnTo>
                    <a:pt x="3909" y="7"/>
                  </a:lnTo>
                  <a:lnTo>
                    <a:pt x="3909" y="7"/>
                  </a:lnTo>
                  <a:lnTo>
                    <a:pt x="3916" y="7"/>
                  </a:lnTo>
                  <a:lnTo>
                    <a:pt x="3916" y="7"/>
                  </a:lnTo>
                  <a:lnTo>
                    <a:pt x="3923" y="7"/>
                  </a:lnTo>
                  <a:lnTo>
                    <a:pt x="3923" y="0"/>
                  </a:lnTo>
                  <a:lnTo>
                    <a:pt x="3923" y="0"/>
                  </a:lnTo>
                  <a:lnTo>
                    <a:pt x="3923" y="0"/>
                  </a:lnTo>
                </a:path>
              </a:pathLst>
            </a:custGeom>
            <a:noFill/>
            <a:ln w="25400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8766175" y="3886201"/>
              <a:ext cx="1955800" cy="585788"/>
            </a:xfrm>
            <a:custGeom>
              <a:avLst/>
              <a:gdLst>
                <a:gd name="T0" fmla="*/ 23 w 1232"/>
                <a:gd name="T1" fmla="*/ 369 h 369"/>
                <a:gd name="T2" fmla="*/ 45 w 1232"/>
                <a:gd name="T3" fmla="*/ 354 h 369"/>
                <a:gd name="T4" fmla="*/ 59 w 1232"/>
                <a:gd name="T5" fmla="*/ 354 h 369"/>
                <a:gd name="T6" fmla="*/ 82 w 1232"/>
                <a:gd name="T7" fmla="*/ 347 h 369"/>
                <a:gd name="T8" fmla="*/ 96 w 1232"/>
                <a:gd name="T9" fmla="*/ 339 h 369"/>
                <a:gd name="T10" fmla="*/ 118 w 1232"/>
                <a:gd name="T11" fmla="*/ 332 h 369"/>
                <a:gd name="T12" fmla="*/ 141 w 1232"/>
                <a:gd name="T13" fmla="*/ 332 h 369"/>
                <a:gd name="T14" fmla="*/ 163 w 1232"/>
                <a:gd name="T15" fmla="*/ 325 h 369"/>
                <a:gd name="T16" fmla="*/ 177 w 1232"/>
                <a:gd name="T17" fmla="*/ 325 h 369"/>
                <a:gd name="T18" fmla="*/ 200 w 1232"/>
                <a:gd name="T19" fmla="*/ 310 h 369"/>
                <a:gd name="T20" fmla="*/ 214 w 1232"/>
                <a:gd name="T21" fmla="*/ 302 h 369"/>
                <a:gd name="T22" fmla="*/ 236 w 1232"/>
                <a:gd name="T23" fmla="*/ 288 h 369"/>
                <a:gd name="T24" fmla="*/ 259 w 1232"/>
                <a:gd name="T25" fmla="*/ 280 h 369"/>
                <a:gd name="T26" fmla="*/ 281 w 1232"/>
                <a:gd name="T27" fmla="*/ 273 h 369"/>
                <a:gd name="T28" fmla="*/ 295 w 1232"/>
                <a:gd name="T29" fmla="*/ 266 h 369"/>
                <a:gd name="T30" fmla="*/ 318 w 1232"/>
                <a:gd name="T31" fmla="*/ 266 h 369"/>
                <a:gd name="T32" fmla="*/ 332 w 1232"/>
                <a:gd name="T33" fmla="*/ 258 h 369"/>
                <a:gd name="T34" fmla="*/ 362 w 1232"/>
                <a:gd name="T35" fmla="*/ 258 h 369"/>
                <a:gd name="T36" fmla="*/ 377 w 1232"/>
                <a:gd name="T37" fmla="*/ 251 h 369"/>
                <a:gd name="T38" fmla="*/ 399 w 1232"/>
                <a:gd name="T39" fmla="*/ 243 h 369"/>
                <a:gd name="T40" fmla="*/ 413 w 1232"/>
                <a:gd name="T41" fmla="*/ 243 h 369"/>
                <a:gd name="T42" fmla="*/ 436 w 1232"/>
                <a:gd name="T43" fmla="*/ 243 h 369"/>
                <a:gd name="T44" fmla="*/ 458 w 1232"/>
                <a:gd name="T45" fmla="*/ 236 h 369"/>
                <a:gd name="T46" fmla="*/ 480 w 1232"/>
                <a:gd name="T47" fmla="*/ 236 h 369"/>
                <a:gd name="T48" fmla="*/ 495 w 1232"/>
                <a:gd name="T49" fmla="*/ 236 h 369"/>
                <a:gd name="T50" fmla="*/ 517 w 1232"/>
                <a:gd name="T51" fmla="*/ 229 h 369"/>
                <a:gd name="T52" fmla="*/ 531 w 1232"/>
                <a:gd name="T53" fmla="*/ 229 h 369"/>
                <a:gd name="T54" fmla="*/ 554 w 1232"/>
                <a:gd name="T55" fmla="*/ 229 h 369"/>
                <a:gd name="T56" fmla="*/ 576 w 1232"/>
                <a:gd name="T57" fmla="*/ 221 h 369"/>
                <a:gd name="T58" fmla="*/ 598 w 1232"/>
                <a:gd name="T59" fmla="*/ 221 h 369"/>
                <a:gd name="T60" fmla="*/ 613 w 1232"/>
                <a:gd name="T61" fmla="*/ 214 h 369"/>
                <a:gd name="T62" fmla="*/ 635 w 1232"/>
                <a:gd name="T63" fmla="*/ 199 h 369"/>
                <a:gd name="T64" fmla="*/ 657 w 1232"/>
                <a:gd name="T65" fmla="*/ 199 h 369"/>
                <a:gd name="T66" fmla="*/ 679 w 1232"/>
                <a:gd name="T67" fmla="*/ 184 h 369"/>
                <a:gd name="T68" fmla="*/ 701 w 1232"/>
                <a:gd name="T69" fmla="*/ 184 h 369"/>
                <a:gd name="T70" fmla="*/ 723 w 1232"/>
                <a:gd name="T71" fmla="*/ 184 h 369"/>
                <a:gd name="T72" fmla="*/ 738 w 1232"/>
                <a:gd name="T73" fmla="*/ 184 h 369"/>
                <a:gd name="T74" fmla="*/ 760 w 1232"/>
                <a:gd name="T75" fmla="*/ 184 h 369"/>
                <a:gd name="T76" fmla="*/ 775 w 1232"/>
                <a:gd name="T77" fmla="*/ 184 h 369"/>
                <a:gd name="T78" fmla="*/ 797 w 1232"/>
                <a:gd name="T79" fmla="*/ 184 h 369"/>
                <a:gd name="T80" fmla="*/ 819 w 1232"/>
                <a:gd name="T81" fmla="*/ 177 h 369"/>
                <a:gd name="T82" fmla="*/ 841 w 1232"/>
                <a:gd name="T83" fmla="*/ 170 h 369"/>
                <a:gd name="T84" fmla="*/ 856 w 1232"/>
                <a:gd name="T85" fmla="*/ 155 h 369"/>
                <a:gd name="T86" fmla="*/ 878 w 1232"/>
                <a:gd name="T87" fmla="*/ 148 h 369"/>
                <a:gd name="T88" fmla="*/ 893 w 1232"/>
                <a:gd name="T89" fmla="*/ 140 h 369"/>
                <a:gd name="T90" fmla="*/ 915 w 1232"/>
                <a:gd name="T91" fmla="*/ 140 h 369"/>
                <a:gd name="T92" fmla="*/ 937 w 1232"/>
                <a:gd name="T93" fmla="*/ 125 h 369"/>
                <a:gd name="T94" fmla="*/ 959 w 1232"/>
                <a:gd name="T95" fmla="*/ 125 h 369"/>
                <a:gd name="T96" fmla="*/ 974 w 1232"/>
                <a:gd name="T97" fmla="*/ 118 h 369"/>
                <a:gd name="T98" fmla="*/ 996 w 1232"/>
                <a:gd name="T99" fmla="*/ 118 h 369"/>
                <a:gd name="T100" fmla="*/ 1011 w 1232"/>
                <a:gd name="T101" fmla="*/ 111 h 369"/>
                <a:gd name="T102" fmla="*/ 1040 w 1232"/>
                <a:gd name="T103" fmla="*/ 96 h 369"/>
                <a:gd name="T104" fmla="*/ 1055 w 1232"/>
                <a:gd name="T105" fmla="*/ 89 h 369"/>
                <a:gd name="T106" fmla="*/ 1077 w 1232"/>
                <a:gd name="T107" fmla="*/ 89 h 369"/>
                <a:gd name="T108" fmla="*/ 1092 w 1232"/>
                <a:gd name="T109" fmla="*/ 89 h 369"/>
                <a:gd name="T110" fmla="*/ 1114 w 1232"/>
                <a:gd name="T111" fmla="*/ 81 h 369"/>
                <a:gd name="T112" fmla="*/ 1136 w 1232"/>
                <a:gd name="T113" fmla="*/ 81 h 369"/>
                <a:gd name="T114" fmla="*/ 1158 w 1232"/>
                <a:gd name="T115" fmla="*/ 74 h 369"/>
                <a:gd name="T116" fmla="*/ 1173 w 1232"/>
                <a:gd name="T117" fmla="*/ 59 h 369"/>
                <a:gd name="T118" fmla="*/ 1195 w 1232"/>
                <a:gd name="T119" fmla="*/ 52 h 369"/>
                <a:gd name="T120" fmla="*/ 1210 w 1232"/>
                <a:gd name="T121" fmla="*/ 30 h 369"/>
                <a:gd name="T122" fmla="*/ 1232 w 1232"/>
                <a:gd name="T123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32" h="369">
                  <a:moveTo>
                    <a:pt x="0" y="369"/>
                  </a:moveTo>
                  <a:lnTo>
                    <a:pt x="8" y="369"/>
                  </a:lnTo>
                  <a:lnTo>
                    <a:pt x="8" y="369"/>
                  </a:lnTo>
                  <a:lnTo>
                    <a:pt x="15" y="369"/>
                  </a:lnTo>
                  <a:lnTo>
                    <a:pt x="15" y="369"/>
                  </a:lnTo>
                  <a:lnTo>
                    <a:pt x="23" y="369"/>
                  </a:lnTo>
                  <a:lnTo>
                    <a:pt x="23" y="369"/>
                  </a:lnTo>
                  <a:lnTo>
                    <a:pt x="23" y="369"/>
                  </a:lnTo>
                  <a:lnTo>
                    <a:pt x="23" y="361"/>
                  </a:lnTo>
                  <a:lnTo>
                    <a:pt x="30" y="361"/>
                  </a:lnTo>
                  <a:lnTo>
                    <a:pt x="30" y="354"/>
                  </a:lnTo>
                  <a:lnTo>
                    <a:pt x="37" y="354"/>
                  </a:lnTo>
                  <a:lnTo>
                    <a:pt x="37" y="354"/>
                  </a:lnTo>
                  <a:lnTo>
                    <a:pt x="45" y="354"/>
                  </a:lnTo>
                  <a:lnTo>
                    <a:pt x="45" y="354"/>
                  </a:lnTo>
                  <a:lnTo>
                    <a:pt x="45" y="354"/>
                  </a:lnTo>
                  <a:lnTo>
                    <a:pt x="45" y="354"/>
                  </a:lnTo>
                  <a:lnTo>
                    <a:pt x="52" y="354"/>
                  </a:lnTo>
                  <a:lnTo>
                    <a:pt x="52" y="354"/>
                  </a:lnTo>
                  <a:lnTo>
                    <a:pt x="59" y="354"/>
                  </a:lnTo>
                  <a:lnTo>
                    <a:pt x="59" y="354"/>
                  </a:lnTo>
                  <a:lnTo>
                    <a:pt x="67" y="354"/>
                  </a:lnTo>
                  <a:lnTo>
                    <a:pt x="67" y="354"/>
                  </a:lnTo>
                  <a:lnTo>
                    <a:pt x="67" y="354"/>
                  </a:lnTo>
                  <a:lnTo>
                    <a:pt x="67" y="347"/>
                  </a:lnTo>
                  <a:lnTo>
                    <a:pt x="74" y="347"/>
                  </a:lnTo>
                  <a:lnTo>
                    <a:pt x="74" y="347"/>
                  </a:lnTo>
                  <a:lnTo>
                    <a:pt x="82" y="347"/>
                  </a:lnTo>
                  <a:lnTo>
                    <a:pt x="82" y="347"/>
                  </a:lnTo>
                  <a:lnTo>
                    <a:pt x="89" y="347"/>
                  </a:lnTo>
                  <a:lnTo>
                    <a:pt x="89" y="339"/>
                  </a:lnTo>
                  <a:lnTo>
                    <a:pt x="96" y="339"/>
                  </a:lnTo>
                  <a:lnTo>
                    <a:pt x="96" y="339"/>
                  </a:lnTo>
                  <a:lnTo>
                    <a:pt x="96" y="339"/>
                  </a:lnTo>
                  <a:lnTo>
                    <a:pt x="96" y="339"/>
                  </a:lnTo>
                  <a:lnTo>
                    <a:pt x="104" y="339"/>
                  </a:lnTo>
                  <a:lnTo>
                    <a:pt x="104" y="339"/>
                  </a:lnTo>
                  <a:lnTo>
                    <a:pt x="111" y="339"/>
                  </a:lnTo>
                  <a:lnTo>
                    <a:pt x="111" y="339"/>
                  </a:lnTo>
                  <a:lnTo>
                    <a:pt x="118" y="339"/>
                  </a:lnTo>
                  <a:lnTo>
                    <a:pt x="118" y="332"/>
                  </a:lnTo>
                  <a:lnTo>
                    <a:pt x="118" y="332"/>
                  </a:lnTo>
                  <a:lnTo>
                    <a:pt x="118" y="332"/>
                  </a:lnTo>
                  <a:lnTo>
                    <a:pt x="126" y="332"/>
                  </a:lnTo>
                  <a:lnTo>
                    <a:pt x="126" y="332"/>
                  </a:lnTo>
                  <a:lnTo>
                    <a:pt x="133" y="332"/>
                  </a:lnTo>
                  <a:lnTo>
                    <a:pt x="133" y="332"/>
                  </a:lnTo>
                  <a:lnTo>
                    <a:pt x="141" y="332"/>
                  </a:lnTo>
                  <a:lnTo>
                    <a:pt x="141" y="332"/>
                  </a:lnTo>
                  <a:lnTo>
                    <a:pt x="141" y="332"/>
                  </a:lnTo>
                  <a:lnTo>
                    <a:pt x="141" y="332"/>
                  </a:lnTo>
                  <a:lnTo>
                    <a:pt x="148" y="332"/>
                  </a:lnTo>
                  <a:lnTo>
                    <a:pt x="148" y="325"/>
                  </a:lnTo>
                  <a:lnTo>
                    <a:pt x="155" y="325"/>
                  </a:lnTo>
                  <a:lnTo>
                    <a:pt x="155" y="325"/>
                  </a:lnTo>
                  <a:lnTo>
                    <a:pt x="163" y="325"/>
                  </a:lnTo>
                  <a:lnTo>
                    <a:pt x="163" y="325"/>
                  </a:lnTo>
                  <a:lnTo>
                    <a:pt x="163" y="325"/>
                  </a:lnTo>
                  <a:lnTo>
                    <a:pt x="163" y="325"/>
                  </a:lnTo>
                  <a:lnTo>
                    <a:pt x="170" y="325"/>
                  </a:lnTo>
                  <a:lnTo>
                    <a:pt x="170" y="325"/>
                  </a:lnTo>
                  <a:lnTo>
                    <a:pt x="177" y="325"/>
                  </a:lnTo>
                  <a:lnTo>
                    <a:pt x="177" y="325"/>
                  </a:lnTo>
                  <a:lnTo>
                    <a:pt x="185" y="325"/>
                  </a:lnTo>
                  <a:lnTo>
                    <a:pt x="185" y="317"/>
                  </a:lnTo>
                  <a:lnTo>
                    <a:pt x="192" y="317"/>
                  </a:lnTo>
                  <a:lnTo>
                    <a:pt x="192" y="317"/>
                  </a:lnTo>
                  <a:lnTo>
                    <a:pt x="192" y="317"/>
                  </a:lnTo>
                  <a:lnTo>
                    <a:pt x="192" y="310"/>
                  </a:lnTo>
                  <a:lnTo>
                    <a:pt x="200" y="310"/>
                  </a:lnTo>
                  <a:lnTo>
                    <a:pt x="200" y="310"/>
                  </a:lnTo>
                  <a:lnTo>
                    <a:pt x="207" y="310"/>
                  </a:lnTo>
                  <a:lnTo>
                    <a:pt x="207" y="302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22" y="302"/>
                  </a:lnTo>
                  <a:lnTo>
                    <a:pt x="222" y="295"/>
                  </a:lnTo>
                  <a:lnTo>
                    <a:pt x="229" y="295"/>
                  </a:lnTo>
                  <a:lnTo>
                    <a:pt x="229" y="295"/>
                  </a:lnTo>
                  <a:lnTo>
                    <a:pt x="236" y="295"/>
                  </a:lnTo>
                  <a:lnTo>
                    <a:pt x="236" y="288"/>
                  </a:lnTo>
                  <a:lnTo>
                    <a:pt x="236" y="288"/>
                  </a:lnTo>
                  <a:lnTo>
                    <a:pt x="236" y="288"/>
                  </a:lnTo>
                  <a:lnTo>
                    <a:pt x="244" y="288"/>
                  </a:lnTo>
                  <a:lnTo>
                    <a:pt x="244" y="288"/>
                  </a:lnTo>
                  <a:lnTo>
                    <a:pt x="251" y="288"/>
                  </a:lnTo>
                  <a:lnTo>
                    <a:pt x="251" y="280"/>
                  </a:lnTo>
                  <a:lnTo>
                    <a:pt x="259" y="280"/>
                  </a:lnTo>
                  <a:lnTo>
                    <a:pt x="259" y="280"/>
                  </a:lnTo>
                  <a:lnTo>
                    <a:pt x="266" y="280"/>
                  </a:lnTo>
                  <a:lnTo>
                    <a:pt x="266" y="273"/>
                  </a:lnTo>
                  <a:lnTo>
                    <a:pt x="266" y="273"/>
                  </a:lnTo>
                  <a:lnTo>
                    <a:pt x="266" y="273"/>
                  </a:lnTo>
                  <a:lnTo>
                    <a:pt x="273" y="273"/>
                  </a:lnTo>
                  <a:lnTo>
                    <a:pt x="273" y="273"/>
                  </a:lnTo>
                  <a:lnTo>
                    <a:pt x="281" y="273"/>
                  </a:lnTo>
                  <a:lnTo>
                    <a:pt x="281" y="266"/>
                  </a:lnTo>
                  <a:lnTo>
                    <a:pt x="288" y="266"/>
                  </a:lnTo>
                  <a:lnTo>
                    <a:pt x="288" y="266"/>
                  </a:lnTo>
                  <a:lnTo>
                    <a:pt x="288" y="266"/>
                  </a:lnTo>
                  <a:lnTo>
                    <a:pt x="288" y="266"/>
                  </a:lnTo>
                  <a:lnTo>
                    <a:pt x="295" y="266"/>
                  </a:lnTo>
                  <a:lnTo>
                    <a:pt x="295" y="266"/>
                  </a:lnTo>
                  <a:lnTo>
                    <a:pt x="303" y="266"/>
                  </a:lnTo>
                  <a:lnTo>
                    <a:pt x="303" y="266"/>
                  </a:lnTo>
                  <a:lnTo>
                    <a:pt x="310" y="266"/>
                  </a:lnTo>
                  <a:lnTo>
                    <a:pt x="310" y="266"/>
                  </a:lnTo>
                  <a:lnTo>
                    <a:pt x="310" y="266"/>
                  </a:lnTo>
                  <a:lnTo>
                    <a:pt x="310" y="266"/>
                  </a:lnTo>
                  <a:lnTo>
                    <a:pt x="318" y="266"/>
                  </a:lnTo>
                  <a:lnTo>
                    <a:pt x="318" y="266"/>
                  </a:lnTo>
                  <a:lnTo>
                    <a:pt x="325" y="266"/>
                  </a:lnTo>
                  <a:lnTo>
                    <a:pt x="325" y="266"/>
                  </a:lnTo>
                  <a:lnTo>
                    <a:pt x="332" y="266"/>
                  </a:lnTo>
                  <a:lnTo>
                    <a:pt x="332" y="266"/>
                  </a:lnTo>
                  <a:lnTo>
                    <a:pt x="332" y="266"/>
                  </a:lnTo>
                  <a:lnTo>
                    <a:pt x="332" y="258"/>
                  </a:lnTo>
                  <a:lnTo>
                    <a:pt x="340" y="258"/>
                  </a:lnTo>
                  <a:lnTo>
                    <a:pt x="340" y="258"/>
                  </a:lnTo>
                  <a:lnTo>
                    <a:pt x="347" y="258"/>
                  </a:lnTo>
                  <a:lnTo>
                    <a:pt x="347" y="258"/>
                  </a:lnTo>
                  <a:lnTo>
                    <a:pt x="354" y="258"/>
                  </a:lnTo>
                  <a:lnTo>
                    <a:pt x="354" y="258"/>
                  </a:lnTo>
                  <a:lnTo>
                    <a:pt x="362" y="258"/>
                  </a:lnTo>
                  <a:lnTo>
                    <a:pt x="362" y="251"/>
                  </a:lnTo>
                  <a:lnTo>
                    <a:pt x="362" y="251"/>
                  </a:lnTo>
                  <a:lnTo>
                    <a:pt x="362" y="251"/>
                  </a:lnTo>
                  <a:lnTo>
                    <a:pt x="369" y="251"/>
                  </a:lnTo>
                  <a:lnTo>
                    <a:pt x="369" y="251"/>
                  </a:lnTo>
                  <a:lnTo>
                    <a:pt x="377" y="251"/>
                  </a:lnTo>
                  <a:lnTo>
                    <a:pt x="377" y="251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84" y="251"/>
                  </a:lnTo>
                  <a:lnTo>
                    <a:pt x="391" y="251"/>
                  </a:lnTo>
                  <a:lnTo>
                    <a:pt x="391" y="243"/>
                  </a:lnTo>
                  <a:lnTo>
                    <a:pt x="399" y="243"/>
                  </a:lnTo>
                  <a:lnTo>
                    <a:pt x="399" y="243"/>
                  </a:lnTo>
                  <a:lnTo>
                    <a:pt x="406" y="243"/>
                  </a:lnTo>
                  <a:lnTo>
                    <a:pt x="406" y="243"/>
                  </a:lnTo>
                  <a:lnTo>
                    <a:pt x="406" y="243"/>
                  </a:lnTo>
                  <a:lnTo>
                    <a:pt x="406" y="243"/>
                  </a:lnTo>
                  <a:lnTo>
                    <a:pt x="413" y="243"/>
                  </a:lnTo>
                  <a:lnTo>
                    <a:pt x="413" y="243"/>
                  </a:lnTo>
                  <a:lnTo>
                    <a:pt x="421" y="243"/>
                  </a:lnTo>
                  <a:lnTo>
                    <a:pt x="421" y="243"/>
                  </a:lnTo>
                  <a:lnTo>
                    <a:pt x="428" y="243"/>
                  </a:lnTo>
                  <a:lnTo>
                    <a:pt x="428" y="243"/>
                  </a:lnTo>
                  <a:lnTo>
                    <a:pt x="436" y="243"/>
                  </a:lnTo>
                  <a:lnTo>
                    <a:pt x="436" y="243"/>
                  </a:lnTo>
                  <a:lnTo>
                    <a:pt x="436" y="243"/>
                  </a:lnTo>
                  <a:lnTo>
                    <a:pt x="436" y="243"/>
                  </a:lnTo>
                  <a:lnTo>
                    <a:pt x="443" y="243"/>
                  </a:lnTo>
                  <a:lnTo>
                    <a:pt x="443" y="243"/>
                  </a:lnTo>
                  <a:lnTo>
                    <a:pt x="450" y="243"/>
                  </a:lnTo>
                  <a:lnTo>
                    <a:pt x="450" y="236"/>
                  </a:lnTo>
                  <a:lnTo>
                    <a:pt x="458" y="236"/>
                  </a:lnTo>
                  <a:lnTo>
                    <a:pt x="458" y="236"/>
                  </a:lnTo>
                  <a:lnTo>
                    <a:pt x="458" y="236"/>
                  </a:lnTo>
                  <a:lnTo>
                    <a:pt x="458" y="236"/>
                  </a:lnTo>
                  <a:lnTo>
                    <a:pt x="465" y="236"/>
                  </a:lnTo>
                  <a:lnTo>
                    <a:pt x="465" y="236"/>
                  </a:lnTo>
                  <a:lnTo>
                    <a:pt x="472" y="236"/>
                  </a:lnTo>
                  <a:lnTo>
                    <a:pt x="472" y="236"/>
                  </a:lnTo>
                  <a:lnTo>
                    <a:pt x="480" y="236"/>
                  </a:lnTo>
                  <a:lnTo>
                    <a:pt x="480" y="236"/>
                  </a:lnTo>
                  <a:lnTo>
                    <a:pt x="480" y="236"/>
                  </a:lnTo>
                  <a:lnTo>
                    <a:pt x="480" y="236"/>
                  </a:lnTo>
                  <a:lnTo>
                    <a:pt x="487" y="236"/>
                  </a:lnTo>
                  <a:lnTo>
                    <a:pt x="487" y="236"/>
                  </a:lnTo>
                  <a:lnTo>
                    <a:pt x="495" y="236"/>
                  </a:lnTo>
                  <a:lnTo>
                    <a:pt x="495" y="236"/>
                  </a:lnTo>
                  <a:lnTo>
                    <a:pt x="502" y="236"/>
                  </a:lnTo>
                  <a:lnTo>
                    <a:pt x="502" y="236"/>
                  </a:lnTo>
                  <a:lnTo>
                    <a:pt x="502" y="236"/>
                  </a:lnTo>
                  <a:lnTo>
                    <a:pt x="502" y="236"/>
                  </a:lnTo>
                  <a:lnTo>
                    <a:pt x="509" y="236"/>
                  </a:lnTo>
                  <a:lnTo>
                    <a:pt x="509" y="229"/>
                  </a:lnTo>
                  <a:lnTo>
                    <a:pt x="517" y="229"/>
                  </a:lnTo>
                  <a:lnTo>
                    <a:pt x="517" y="229"/>
                  </a:lnTo>
                  <a:lnTo>
                    <a:pt x="524" y="229"/>
                  </a:lnTo>
                  <a:lnTo>
                    <a:pt x="524" y="229"/>
                  </a:lnTo>
                  <a:lnTo>
                    <a:pt x="531" y="229"/>
                  </a:lnTo>
                  <a:lnTo>
                    <a:pt x="531" y="229"/>
                  </a:lnTo>
                  <a:lnTo>
                    <a:pt x="531" y="229"/>
                  </a:lnTo>
                  <a:lnTo>
                    <a:pt x="531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46" y="229"/>
                  </a:lnTo>
                  <a:lnTo>
                    <a:pt x="546" y="229"/>
                  </a:lnTo>
                  <a:lnTo>
                    <a:pt x="554" y="229"/>
                  </a:lnTo>
                  <a:lnTo>
                    <a:pt x="554" y="229"/>
                  </a:lnTo>
                  <a:lnTo>
                    <a:pt x="554" y="229"/>
                  </a:lnTo>
                  <a:lnTo>
                    <a:pt x="554" y="221"/>
                  </a:lnTo>
                  <a:lnTo>
                    <a:pt x="561" y="221"/>
                  </a:lnTo>
                  <a:lnTo>
                    <a:pt x="561" y="221"/>
                  </a:lnTo>
                  <a:lnTo>
                    <a:pt x="568" y="221"/>
                  </a:lnTo>
                  <a:lnTo>
                    <a:pt x="568" y="221"/>
                  </a:lnTo>
                  <a:lnTo>
                    <a:pt x="576" y="221"/>
                  </a:lnTo>
                  <a:lnTo>
                    <a:pt x="576" y="221"/>
                  </a:lnTo>
                  <a:lnTo>
                    <a:pt x="576" y="221"/>
                  </a:lnTo>
                  <a:lnTo>
                    <a:pt x="576" y="221"/>
                  </a:lnTo>
                  <a:lnTo>
                    <a:pt x="583" y="221"/>
                  </a:lnTo>
                  <a:lnTo>
                    <a:pt x="583" y="221"/>
                  </a:lnTo>
                  <a:lnTo>
                    <a:pt x="590" y="221"/>
                  </a:lnTo>
                  <a:lnTo>
                    <a:pt x="590" y="221"/>
                  </a:lnTo>
                  <a:lnTo>
                    <a:pt x="598" y="221"/>
                  </a:lnTo>
                  <a:lnTo>
                    <a:pt x="598" y="214"/>
                  </a:lnTo>
                  <a:lnTo>
                    <a:pt x="605" y="214"/>
                  </a:lnTo>
                  <a:lnTo>
                    <a:pt x="605" y="214"/>
                  </a:lnTo>
                  <a:lnTo>
                    <a:pt x="605" y="214"/>
                  </a:lnTo>
                  <a:lnTo>
                    <a:pt x="605" y="214"/>
                  </a:lnTo>
                  <a:lnTo>
                    <a:pt x="613" y="214"/>
                  </a:lnTo>
                  <a:lnTo>
                    <a:pt x="613" y="214"/>
                  </a:lnTo>
                  <a:lnTo>
                    <a:pt x="620" y="214"/>
                  </a:lnTo>
                  <a:lnTo>
                    <a:pt x="620" y="214"/>
                  </a:lnTo>
                  <a:lnTo>
                    <a:pt x="627" y="214"/>
                  </a:lnTo>
                  <a:lnTo>
                    <a:pt x="627" y="214"/>
                  </a:lnTo>
                  <a:lnTo>
                    <a:pt x="627" y="214"/>
                  </a:lnTo>
                  <a:lnTo>
                    <a:pt x="627" y="199"/>
                  </a:lnTo>
                  <a:lnTo>
                    <a:pt x="635" y="199"/>
                  </a:lnTo>
                  <a:lnTo>
                    <a:pt x="635" y="199"/>
                  </a:lnTo>
                  <a:lnTo>
                    <a:pt x="642" y="199"/>
                  </a:lnTo>
                  <a:lnTo>
                    <a:pt x="642" y="199"/>
                  </a:lnTo>
                  <a:lnTo>
                    <a:pt x="649" y="199"/>
                  </a:lnTo>
                  <a:lnTo>
                    <a:pt x="649" y="199"/>
                  </a:lnTo>
                  <a:lnTo>
                    <a:pt x="657" y="199"/>
                  </a:lnTo>
                  <a:lnTo>
                    <a:pt x="657" y="199"/>
                  </a:lnTo>
                  <a:lnTo>
                    <a:pt x="664" y="199"/>
                  </a:lnTo>
                  <a:lnTo>
                    <a:pt x="664" y="192"/>
                  </a:lnTo>
                  <a:lnTo>
                    <a:pt x="672" y="192"/>
                  </a:lnTo>
                  <a:lnTo>
                    <a:pt x="672" y="192"/>
                  </a:lnTo>
                  <a:lnTo>
                    <a:pt x="672" y="192"/>
                  </a:lnTo>
                  <a:lnTo>
                    <a:pt x="672" y="184"/>
                  </a:lnTo>
                  <a:lnTo>
                    <a:pt x="679" y="184"/>
                  </a:lnTo>
                  <a:lnTo>
                    <a:pt x="679" y="184"/>
                  </a:lnTo>
                  <a:lnTo>
                    <a:pt x="686" y="184"/>
                  </a:lnTo>
                  <a:lnTo>
                    <a:pt x="686" y="184"/>
                  </a:lnTo>
                  <a:lnTo>
                    <a:pt x="694" y="184"/>
                  </a:lnTo>
                  <a:lnTo>
                    <a:pt x="694" y="184"/>
                  </a:lnTo>
                  <a:lnTo>
                    <a:pt x="701" y="184"/>
                  </a:lnTo>
                  <a:lnTo>
                    <a:pt x="701" y="184"/>
                  </a:lnTo>
                  <a:lnTo>
                    <a:pt x="701" y="184"/>
                  </a:lnTo>
                  <a:lnTo>
                    <a:pt x="701" y="184"/>
                  </a:lnTo>
                  <a:lnTo>
                    <a:pt x="708" y="184"/>
                  </a:lnTo>
                  <a:lnTo>
                    <a:pt x="708" y="184"/>
                  </a:lnTo>
                  <a:lnTo>
                    <a:pt x="716" y="184"/>
                  </a:lnTo>
                  <a:lnTo>
                    <a:pt x="716" y="184"/>
                  </a:lnTo>
                  <a:lnTo>
                    <a:pt x="723" y="184"/>
                  </a:lnTo>
                  <a:lnTo>
                    <a:pt x="723" y="184"/>
                  </a:lnTo>
                  <a:lnTo>
                    <a:pt x="723" y="184"/>
                  </a:lnTo>
                  <a:lnTo>
                    <a:pt x="723" y="184"/>
                  </a:lnTo>
                  <a:lnTo>
                    <a:pt x="731" y="184"/>
                  </a:lnTo>
                  <a:lnTo>
                    <a:pt x="731" y="184"/>
                  </a:lnTo>
                  <a:lnTo>
                    <a:pt x="738" y="184"/>
                  </a:lnTo>
                  <a:lnTo>
                    <a:pt x="738" y="184"/>
                  </a:lnTo>
                  <a:lnTo>
                    <a:pt x="745" y="184"/>
                  </a:lnTo>
                  <a:lnTo>
                    <a:pt x="745" y="184"/>
                  </a:lnTo>
                  <a:lnTo>
                    <a:pt x="745" y="184"/>
                  </a:lnTo>
                  <a:lnTo>
                    <a:pt x="745" y="184"/>
                  </a:lnTo>
                  <a:lnTo>
                    <a:pt x="753" y="184"/>
                  </a:lnTo>
                  <a:lnTo>
                    <a:pt x="753" y="184"/>
                  </a:lnTo>
                  <a:lnTo>
                    <a:pt x="760" y="184"/>
                  </a:lnTo>
                  <a:lnTo>
                    <a:pt x="760" y="184"/>
                  </a:lnTo>
                  <a:lnTo>
                    <a:pt x="767" y="184"/>
                  </a:lnTo>
                  <a:lnTo>
                    <a:pt x="767" y="184"/>
                  </a:lnTo>
                  <a:lnTo>
                    <a:pt x="775" y="184"/>
                  </a:lnTo>
                  <a:lnTo>
                    <a:pt x="775" y="184"/>
                  </a:lnTo>
                  <a:lnTo>
                    <a:pt x="775" y="184"/>
                  </a:lnTo>
                  <a:lnTo>
                    <a:pt x="775" y="184"/>
                  </a:lnTo>
                  <a:lnTo>
                    <a:pt x="782" y="184"/>
                  </a:lnTo>
                  <a:lnTo>
                    <a:pt x="782" y="184"/>
                  </a:lnTo>
                  <a:lnTo>
                    <a:pt x="790" y="184"/>
                  </a:lnTo>
                  <a:lnTo>
                    <a:pt x="790" y="184"/>
                  </a:lnTo>
                  <a:lnTo>
                    <a:pt x="797" y="184"/>
                  </a:lnTo>
                  <a:lnTo>
                    <a:pt x="797" y="184"/>
                  </a:lnTo>
                  <a:lnTo>
                    <a:pt x="797" y="184"/>
                  </a:lnTo>
                  <a:lnTo>
                    <a:pt x="797" y="177"/>
                  </a:lnTo>
                  <a:lnTo>
                    <a:pt x="804" y="177"/>
                  </a:lnTo>
                  <a:lnTo>
                    <a:pt x="804" y="177"/>
                  </a:lnTo>
                  <a:lnTo>
                    <a:pt x="812" y="177"/>
                  </a:lnTo>
                  <a:lnTo>
                    <a:pt x="812" y="177"/>
                  </a:lnTo>
                  <a:lnTo>
                    <a:pt x="819" y="177"/>
                  </a:lnTo>
                  <a:lnTo>
                    <a:pt x="819" y="177"/>
                  </a:lnTo>
                  <a:lnTo>
                    <a:pt x="819" y="177"/>
                  </a:lnTo>
                  <a:lnTo>
                    <a:pt x="819" y="170"/>
                  </a:lnTo>
                  <a:lnTo>
                    <a:pt x="826" y="170"/>
                  </a:lnTo>
                  <a:lnTo>
                    <a:pt x="826" y="170"/>
                  </a:lnTo>
                  <a:lnTo>
                    <a:pt x="834" y="170"/>
                  </a:lnTo>
                  <a:lnTo>
                    <a:pt x="834" y="170"/>
                  </a:lnTo>
                  <a:lnTo>
                    <a:pt x="841" y="170"/>
                  </a:lnTo>
                  <a:lnTo>
                    <a:pt x="841" y="170"/>
                  </a:lnTo>
                  <a:lnTo>
                    <a:pt x="841" y="170"/>
                  </a:lnTo>
                  <a:lnTo>
                    <a:pt x="841" y="162"/>
                  </a:lnTo>
                  <a:lnTo>
                    <a:pt x="849" y="162"/>
                  </a:lnTo>
                  <a:lnTo>
                    <a:pt x="849" y="155"/>
                  </a:lnTo>
                  <a:lnTo>
                    <a:pt x="856" y="155"/>
                  </a:lnTo>
                  <a:lnTo>
                    <a:pt x="856" y="155"/>
                  </a:lnTo>
                  <a:lnTo>
                    <a:pt x="863" y="155"/>
                  </a:lnTo>
                  <a:lnTo>
                    <a:pt x="863" y="155"/>
                  </a:lnTo>
                  <a:lnTo>
                    <a:pt x="871" y="155"/>
                  </a:lnTo>
                  <a:lnTo>
                    <a:pt x="871" y="148"/>
                  </a:lnTo>
                  <a:lnTo>
                    <a:pt x="871" y="148"/>
                  </a:lnTo>
                  <a:lnTo>
                    <a:pt x="871" y="148"/>
                  </a:lnTo>
                  <a:lnTo>
                    <a:pt x="878" y="148"/>
                  </a:lnTo>
                  <a:lnTo>
                    <a:pt x="878" y="148"/>
                  </a:lnTo>
                  <a:lnTo>
                    <a:pt x="885" y="148"/>
                  </a:lnTo>
                  <a:lnTo>
                    <a:pt x="885" y="148"/>
                  </a:lnTo>
                  <a:lnTo>
                    <a:pt x="893" y="148"/>
                  </a:lnTo>
                  <a:lnTo>
                    <a:pt x="893" y="148"/>
                  </a:lnTo>
                  <a:lnTo>
                    <a:pt x="893" y="148"/>
                  </a:lnTo>
                  <a:lnTo>
                    <a:pt x="893" y="140"/>
                  </a:lnTo>
                  <a:lnTo>
                    <a:pt x="900" y="140"/>
                  </a:lnTo>
                  <a:lnTo>
                    <a:pt x="900" y="140"/>
                  </a:lnTo>
                  <a:lnTo>
                    <a:pt x="908" y="140"/>
                  </a:lnTo>
                  <a:lnTo>
                    <a:pt x="908" y="140"/>
                  </a:lnTo>
                  <a:lnTo>
                    <a:pt x="915" y="140"/>
                  </a:lnTo>
                  <a:lnTo>
                    <a:pt x="915" y="140"/>
                  </a:lnTo>
                  <a:lnTo>
                    <a:pt x="915" y="140"/>
                  </a:lnTo>
                  <a:lnTo>
                    <a:pt x="915" y="140"/>
                  </a:lnTo>
                  <a:lnTo>
                    <a:pt x="922" y="140"/>
                  </a:lnTo>
                  <a:lnTo>
                    <a:pt x="922" y="140"/>
                  </a:lnTo>
                  <a:lnTo>
                    <a:pt x="930" y="140"/>
                  </a:lnTo>
                  <a:lnTo>
                    <a:pt x="930" y="125"/>
                  </a:lnTo>
                  <a:lnTo>
                    <a:pt x="937" y="125"/>
                  </a:lnTo>
                  <a:lnTo>
                    <a:pt x="937" y="125"/>
                  </a:lnTo>
                  <a:lnTo>
                    <a:pt x="937" y="125"/>
                  </a:lnTo>
                  <a:lnTo>
                    <a:pt x="937" y="125"/>
                  </a:lnTo>
                  <a:lnTo>
                    <a:pt x="944" y="125"/>
                  </a:lnTo>
                  <a:lnTo>
                    <a:pt x="944" y="125"/>
                  </a:lnTo>
                  <a:lnTo>
                    <a:pt x="952" y="125"/>
                  </a:lnTo>
                  <a:lnTo>
                    <a:pt x="952" y="125"/>
                  </a:lnTo>
                  <a:lnTo>
                    <a:pt x="959" y="125"/>
                  </a:lnTo>
                  <a:lnTo>
                    <a:pt x="959" y="118"/>
                  </a:lnTo>
                  <a:lnTo>
                    <a:pt x="967" y="118"/>
                  </a:lnTo>
                  <a:lnTo>
                    <a:pt x="967" y="118"/>
                  </a:lnTo>
                  <a:lnTo>
                    <a:pt x="967" y="118"/>
                  </a:lnTo>
                  <a:lnTo>
                    <a:pt x="967" y="118"/>
                  </a:lnTo>
                  <a:lnTo>
                    <a:pt x="974" y="118"/>
                  </a:lnTo>
                  <a:lnTo>
                    <a:pt x="974" y="118"/>
                  </a:lnTo>
                  <a:lnTo>
                    <a:pt x="981" y="118"/>
                  </a:lnTo>
                  <a:lnTo>
                    <a:pt x="981" y="118"/>
                  </a:lnTo>
                  <a:lnTo>
                    <a:pt x="989" y="118"/>
                  </a:lnTo>
                  <a:lnTo>
                    <a:pt x="989" y="118"/>
                  </a:lnTo>
                  <a:lnTo>
                    <a:pt x="989" y="118"/>
                  </a:lnTo>
                  <a:lnTo>
                    <a:pt x="989" y="118"/>
                  </a:lnTo>
                  <a:lnTo>
                    <a:pt x="996" y="118"/>
                  </a:lnTo>
                  <a:lnTo>
                    <a:pt x="996" y="118"/>
                  </a:lnTo>
                  <a:lnTo>
                    <a:pt x="1003" y="118"/>
                  </a:lnTo>
                  <a:lnTo>
                    <a:pt x="1003" y="118"/>
                  </a:lnTo>
                  <a:lnTo>
                    <a:pt x="1011" y="118"/>
                  </a:lnTo>
                  <a:lnTo>
                    <a:pt x="1011" y="118"/>
                  </a:lnTo>
                  <a:lnTo>
                    <a:pt x="1011" y="118"/>
                  </a:lnTo>
                  <a:lnTo>
                    <a:pt x="1011" y="111"/>
                  </a:lnTo>
                  <a:lnTo>
                    <a:pt x="1018" y="111"/>
                  </a:lnTo>
                  <a:lnTo>
                    <a:pt x="1018" y="111"/>
                  </a:lnTo>
                  <a:lnTo>
                    <a:pt x="1026" y="111"/>
                  </a:lnTo>
                  <a:lnTo>
                    <a:pt x="1026" y="96"/>
                  </a:lnTo>
                  <a:lnTo>
                    <a:pt x="1033" y="96"/>
                  </a:lnTo>
                  <a:lnTo>
                    <a:pt x="1033" y="96"/>
                  </a:lnTo>
                  <a:lnTo>
                    <a:pt x="1040" y="96"/>
                  </a:lnTo>
                  <a:lnTo>
                    <a:pt x="1040" y="96"/>
                  </a:lnTo>
                  <a:lnTo>
                    <a:pt x="1040" y="96"/>
                  </a:lnTo>
                  <a:lnTo>
                    <a:pt x="1040" y="96"/>
                  </a:lnTo>
                  <a:lnTo>
                    <a:pt x="1048" y="96"/>
                  </a:lnTo>
                  <a:lnTo>
                    <a:pt x="1048" y="89"/>
                  </a:lnTo>
                  <a:lnTo>
                    <a:pt x="1055" y="89"/>
                  </a:lnTo>
                  <a:lnTo>
                    <a:pt x="1055" y="89"/>
                  </a:lnTo>
                  <a:lnTo>
                    <a:pt x="1062" y="89"/>
                  </a:lnTo>
                  <a:lnTo>
                    <a:pt x="1062" y="89"/>
                  </a:lnTo>
                  <a:lnTo>
                    <a:pt x="1062" y="89"/>
                  </a:lnTo>
                  <a:lnTo>
                    <a:pt x="1062" y="89"/>
                  </a:lnTo>
                  <a:lnTo>
                    <a:pt x="1070" y="89"/>
                  </a:lnTo>
                  <a:lnTo>
                    <a:pt x="1070" y="89"/>
                  </a:lnTo>
                  <a:lnTo>
                    <a:pt x="1077" y="89"/>
                  </a:lnTo>
                  <a:lnTo>
                    <a:pt x="1077" y="89"/>
                  </a:lnTo>
                  <a:lnTo>
                    <a:pt x="1085" y="89"/>
                  </a:lnTo>
                  <a:lnTo>
                    <a:pt x="1085" y="89"/>
                  </a:lnTo>
                  <a:lnTo>
                    <a:pt x="1085" y="89"/>
                  </a:lnTo>
                  <a:lnTo>
                    <a:pt x="1085" y="89"/>
                  </a:lnTo>
                  <a:lnTo>
                    <a:pt x="1092" y="89"/>
                  </a:lnTo>
                  <a:lnTo>
                    <a:pt x="1092" y="89"/>
                  </a:lnTo>
                  <a:lnTo>
                    <a:pt x="1099" y="89"/>
                  </a:lnTo>
                  <a:lnTo>
                    <a:pt x="1099" y="89"/>
                  </a:lnTo>
                  <a:lnTo>
                    <a:pt x="1107" y="89"/>
                  </a:lnTo>
                  <a:lnTo>
                    <a:pt x="1107" y="81"/>
                  </a:lnTo>
                  <a:lnTo>
                    <a:pt x="1107" y="81"/>
                  </a:lnTo>
                  <a:lnTo>
                    <a:pt x="1107" y="81"/>
                  </a:lnTo>
                  <a:lnTo>
                    <a:pt x="1114" y="81"/>
                  </a:lnTo>
                  <a:lnTo>
                    <a:pt x="1114" y="81"/>
                  </a:lnTo>
                  <a:lnTo>
                    <a:pt x="1121" y="81"/>
                  </a:lnTo>
                  <a:lnTo>
                    <a:pt x="1121" y="81"/>
                  </a:lnTo>
                  <a:lnTo>
                    <a:pt x="1129" y="81"/>
                  </a:lnTo>
                  <a:lnTo>
                    <a:pt x="1129" y="81"/>
                  </a:lnTo>
                  <a:lnTo>
                    <a:pt x="1136" y="81"/>
                  </a:lnTo>
                  <a:lnTo>
                    <a:pt x="1136" y="81"/>
                  </a:lnTo>
                  <a:lnTo>
                    <a:pt x="1136" y="81"/>
                  </a:lnTo>
                  <a:lnTo>
                    <a:pt x="1136" y="81"/>
                  </a:lnTo>
                  <a:lnTo>
                    <a:pt x="1144" y="81"/>
                  </a:lnTo>
                  <a:lnTo>
                    <a:pt x="1144" y="74"/>
                  </a:lnTo>
                  <a:lnTo>
                    <a:pt x="1151" y="74"/>
                  </a:lnTo>
                  <a:lnTo>
                    <a:pt x="1151" y="74"/>
                  </a:lnTo>
                  <a:lnTo>
                    <a:pt x="1158" y="74"/>
                  </a:lnTo>
                  <a:lnTo>
                    <a:pt x="1158" y="74"/>
                  </a:lnTo>
                  <a:lnTo>
                    <a:pt x="1158" y="74"/>
                  </a:lnTo>
                  <a:lnTo>
                    <a:pt x="1158" y="74"/>
                  </a:lnTo>
                  <a:lnTo>
                    <a:pt x="1166" y="74"/>
                  </a:lnTo>
                  <a:lnTo>
                    <a:pt x="1166" y="66"/>
                  </a:lnTo>
                  <a:lnTo>
                    <a:pt x="1173" y="66"/>
                  </a:lnTo>
                  <a:lnTo>
                    <a:pt x="1173" y="59"/>
                  </a:lnTo>
                  <a:lnTo>
                    <a:pt x="1181" y="59"/>
                  </a:lnTo>
                  <a:lnTo>
                    <a:pt x="1181" y="52"/>
                  </a:lnTo>
                  <a:lnTo>
                    <a:pt x="1181" y="52"/>
                  </a:lnTo>
                  <a:lnTo>
                    <a:pt x="1181" y="52"/>
                  </a:lnTo>
                  <a:lnTo>
                    <a:pt x="1188" y="52"/>
                  </a:lnTo>
                  <a:lnTo>
                    <a:pt x="1188" y="52"/>
                  </a:lnTo>
                  <a:lnTo>
                    <a:pt x="1195" y="52"/>
                  </a:lnTo>
                  <a:lnTo>
                    <a:pt x="1195" y="37"/>
                  </a:lnTo>
                  <a:lnTo>
                    <a:pt x="1203" y="37"/>
                  </a:lnTo>
                  <a:lnTo>
                    <a:pt x="1203" y="37"/>
                  </a:lnTo>
                  <a:lnTo>
                    <a:pt x="1210" y="37"/>
                  </a:lnTo>
                  <a:lnTo>
                    <a:pt x="1210" y="30"/>
                  </a:lnTo>
                  <a:lnTo>
                    <a:pt x="1210" y="30"/>
                  </a:lnTo>
                  <a:lnTo>
                    <a:pt x="1210" y="30"/>
                  </a:lnTo>
                  <a:lnTo>
                    <a:pt x="1217" y="30"/>
                  </a:lnTo>
                  <a:lnTo>
                    <a:pt x="1217" y="30"/>
                  </a:lnTo>
                  <a:lnTo>
                    <a:pt x="1225" y="30"/>
                  </a:lnTo>
                  <a:lnTo>
                    <a:pt x="1225" y="0"/>
                  </a:lnTo>
                  <a:lnTo>
                    <a:pt x="1232" y="0"/>
                  </a:lnTo>
                  <a:lnTo>
                    <a:pt x="1232" y="0"/>
                  </a:lnTo>
                  <a:lnTo>
                    <a:pt x="1232" y="0"/>
                  </a:lnTo>
                  <a:lnTo>
                    <a:pt x="1232" y="0"/>
                  </a:lnTo>
                </a:path>
              </a:pathLst>
            </a:custGeom>
            <a:noFill/>
            <a:ln w="25400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/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auto">
            <a:xfrm>
              <a:off x="9083675" y="4729163"/>
              <a:ext cx="12259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400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</a:endParaRPr>
            </a:p>
          </p:txBody>
        </p:sp>
      </p:grpSp>
      <p:grpSp>
        <p:nvGrpSpPr>
          <p:cNvPr id="52" name="Group 4"/>
          <p:cNvGrpSpPr>
            <a:grpSpLocks noChangeAspect="1"/>
          </p:cNvGrpSpPr>
          <p:nvPr/>
        </p:nvGrpSpPr>
        <p:grpSpPr bwMode="auto">
          <a:xfrm>
            <a:off x="6027621" y="1974996"/>
            <a:ext cx="5176888" cy="4521200"/>
            <a:chOff x="512" y="1003"/>
            <a:chExt cx="6645" cy="2848"/>
          </a:xfrm>
        </p:grpSpPr>
        <p:sp>
          <p:nvSpPr>
            <p:cNvPr id="53" name="AutoShape 3"/>
            <p:cNvSpPr>
              <a:spLocks noChangeAspect="1" noChangeArrowheads="1" noTextEdit="1"/>
            </p:cNvSpPr>
            <p:nvPr/>
          </p:nvSpPr>
          <p:spPr bwMode="auto">
            <a:xfrm>
              <a:off x="512" y="1003"/>
              <a:ext cx="6645" cy="28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54" name="Line 5"/>
            <p:cNvSpPr>
              <a:spLocks noChangeShapeType="1"/>
            </p:cNvSpPr>
            <p:nvPr/>
          </p:nvSpPr>
          <p:spPr bwMode="auto">
            <a:xfrm>
              <a:off x="1509" y="3310"/>
              <a:ext cx="5362" cy="0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55" name="Line 6"/>
            <p:cNvSpPr>
              <a:spLocks noChangeShapeType="1"/>
            </p:cNvSpPr>
            <p:nvPr/>
          </p:nvSpPr>
          <p:spPr bwMode="auto">
            <a:xfrm flipV="1">
              <a:off x="1509" y="1348"/>
              <a:ext cx="0" cy="1962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56" name="Line 7"/>
            <p:cNvSpPr>
              <a:spLocks noChangeShapeType="1"/>
            </p:cNvSpPr>
            <p:nvPr/>
          </p:nvSpPr>
          <p:spPr bwMode="auto">
            <a:xfrm>
              <a:off x="1509" y="3310"/>
              <a:ext cx="5362" cy="0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57" name="Line 8"/>
            <p:cNvSpPr>
              <a:spLocks noChangeShapeType="1"/>
            </p:cNvSpPr>
            <p:nvPr/>
          </p:nvSpPr>
          <p:spPr bwMode="auto">
            <a:xfrm>
              <a:off x="1509" y="3310"/>
              <a:ext cx="0" cy="61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58" name="Line 9"/>
            <p:cNvSpPr>
              <a:spLocks noChangeShapeType="1"/>
            </p:cNvSpPr>
            <p:nvPr/>
          </p:nvSpPr>
          <p:spPr bwMode="auto">
            <a:xfrm>
              <a:off x="2583" y="3310"/>
              <a:ext cx="0" cy="61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59" name="Line 10"/>
            <p:cNvSpPr>
              <a:spLocks noChangeShapeType="1"/>
            </p:cNvSpPr>
            <p:nvPr/>
          </p:nvSpPr>
          <p:spPr bwMode="auto">
            <a:xfrm>
              <a:off x="2583" y="3310"/>
              <a:ext cx="0" cy="61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0" name="Line 11"/>
            <p:cNvSpPr>
              <a:spLocks noChangeShapeType="1"/>
            </p:cNvSpPr>
            <p:nvPr/>
          </p:nvSpPr>
          <p:spPr bwMode="auto">
            <a:xfrm>
              <a:off x="3657" y="3310"/>
              <a:ext cx="0" cy="61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1" name="Line 12"/>
            <p:cNvSpPr>
              <a:spLocks noChangeShapeType="1"/>
            </p:cNvSpPr>
            <p:nvPr/>
          </p:nvSpPr>
          <p:spPr bwMode="auto">
            <a:xfrm>
              <a:off x="3657" y="3310"/>
              <a:ext cx="0" cy="61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2" name="Line 13"/>
            <p:cNvSpPr>
              <a:spLocks noChangeShapeType="1"/>
            </p:cNvSpPr>
            <p:nvPr/>
          </p:nvSpPr>
          <p:spPr bwMode="auto">
            <a:xfrm>
              <a:off x="4731" y="3310"/>
              <a:ext cx="0" cy="61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3" name="Line 14"/>
            <p:cNvSpPr>
              <a:spLocks noChangeShapeType="1"/>
            </p:cNvSpPr>
            <p:nvPr/>
          </p:nvSpPr>
          <p:spPr bwMode="auto">
            <a:xfrm>
              <a:off x="4731" y="3310"/>
              <a:ext cx="0" cy="61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4" name="Line 15"/>
            <p:cNvSpPr>
              <a:spLocks noChangeShapeType="1"/>
            </p:cNvSpPr>
            <p:nvPr/>
          </p:nvSpPr>
          <p:spPr bwMode="auto">
            <a:xfrm>
              <a:off x="5797" y="3310"/>
              <a:ext cx="0" cy="61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5" name="Line 16"/>
            <p:cNvSpPr>
              <a:spLocks noChangeShapeType="1"/>
            </p:cNvSpPr>
            <p:nvPr/>
          </p:nvSpPr>
          <p:spPr bwMode="auto">
            <a:xfrm>
              <a:off x="5797" y="3310"/>
              <a:ext cx="0" cy="61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6" name="Line 17"/>
            <p:cNvSpPr>
              <a:spLocks noChangeShapeType="1"/>
            </p:cNvSpPr>
            <p:nvPr/>
          </p:nvSpPr>
          <p:spPr bwMode="auto">
            <a:xfrm>
              <a:off x="6871" y="3310"/>
              <a:ext cx="0" cy="61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7" name="Line 18"/>
            <p:cNvSpPr>
              <a:spLocks noChangeShapeType="1"/>
            </p:cNvSpPr>
            <p:nvPr/>
          </p:nvSpPr>
          <p:spPr bwMode="auto">
            <a:xfrm flipV="1">
              <a:off x="1509" y="1348"/>
              <a:ext cx="0" cy="1962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8" name="Line 19"/>
            <p:cNvSpPr>
              <a:spLocks noChangeShapeType="1"/>
            </p:cNvSpPr>
            <p:nvPr/>
          </p:nvSpPr>
          <p:spPr bwMode="auto">
            <a:xfrm flipH="1">
              <a:off x="1448" y="3310"/>
              <a:ext cx="61" cy="0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69" name="Line 20"/>
            <p:cNvSpPr>
              <a:spLocks noChangeShapeType="1"/>
            </p:cNvSpPr>
            <p:nvPr/>
          </p:nvSpPr>
          <p:spPr bwMode="auto">
            <a:xfrm flipH="1">
              <a:off x="1448" y="2819"/>
              <a:ext cx="61" cy="0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70" name="Line 21"/>
            <p:cNvSpPr>
              <a:spLocks noChangeShapeType="1"/>
            </p:cNvSpPr>
            <p:nvPr/>
          </p:nvSpPr>
          <p:spPr bwMode="auto">
            <a:xfrm flipH="1">
              <a:off x="1448" y="2329"/>
              <a:ext cx="61" cy="0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71" name="Line 22"/>
            <p:cNvSpPr>
              <a:spLocks noChangeShapeType="1"/>
            </p:cNvSpPr>
            <p:nvPr/>
          </p:nvSpPr>
          <p:spPr bwMode="auto">
            <a:xfrm flipH="1">
              <a:off x="1448" y="1838"/>
              <a:ext cx="61" cy="0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72" name="Line 23"/>
            <p:cNvSpPr>
              <a:spLocks noChangeShapeType="1"/>
            </p:cNvSpPr>
            <p:nvPr/>
          </p:nvSpPr>
          <p:spPr bwMode="auto">
            <a:xfrm flipH="1">
              <a:off x="1448" y="1348"/>
              <a:ext cx="61" cy="0"/>
            </a:xfrm>
            <a:prstGeom prst="line">
              <a:avLst/>
            </a:pr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73" name="Rectangle 72"/>
            <p:cNvSpPr>
              <a:spLocks noChangeArrowheads="1"/>
            </p:cNvSpPr>
            <p:nvPr/>
          </p:nvSpPr>
          <p:spPr bwMode="auto">
            <a:xfrm>
              <a:off x="1381" y="3397"/>
              <a:ext cx="177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74" name="Rectangle 73"/>
            <p:cNvSpPr>
              <a:spLocks noChangeArrowheads="1"/>
            </p:cNvSpPr>
            <p:nvPr/>
          </p:nvSpPr>
          <p:spPr bwMode="auto">
            <a:xfrm>
              <a:off x="2370" y="3397"/>
              <a:ext cx="428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0.5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75" name="Rectangle 74"/>
            <p:cNvSpPr>
              <a:spLocks noChangeArrowheads="1"/>
            </p:cNvSpPr>
            <p:nvPr/>
          </p:nvSpPr>
          <p:spPr bwMode="auto">
            <a:xfrm>
              <a:off x="3528" y="3397"/>
              <a:ext cx="177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1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76" name="Rectangle 75"/>
            <p:cNvSpPr>
              <a:spLocks noChangeArrowheads="1"/>
            </p:cNvSpPr>
            <p:nvPr/>
          </p:nvSpPr>
          <p:spPr bwMode="auto">
            <a:xfrm>
              <a:off x="4518" y="3397"/>
              <a:ext cx="428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1.5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77" name="Rectangle 76"/>
            <p:cNvSpPr>
              <a:spLocks noChangeArrowheads="1"/>
            </p:cNvSpPr>
            <p:nvPr/>
          </p:nvSpPr>
          <p:spPr bwMode="auto">
            <a:xfrm>
              <a:off x="5676" y="3397"/>
              <a:ext cx="177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2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78" name="Rectangle 77"/>
            <p:cNvSpPr>
              <a:spLocks noChangeArrowheads="1"/>
            </p:cNvSpPr>
            <p:nvPr/>
          </p:nvSpPr>
          <p:spPr bwMode="auto">
            <a:xfrm>
              <a:off x="6666" y="3397"/>
              <a:ext cx="428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2.5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79" name="Rectangle 78"/>
            <p:cNvSpPr>
              <a:spLocks noChangeArrowheads="1"/>
            </p:cNvSpPr>
            <p:nvPr/>
          </p:nvSpPr>
          <p:spPr bwMode="auto">
            <a:xfrm>
              <a:off x="1116" y="3183"/>
              <a:ext cx="177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80" name="Rectangle 79"/>
            <p:cNvSpPr>
              <a:spLocks noChangeArrowheads="1"/>
            </p:cNvSpPr>
            <p:nvPr/>
          </p:nvSpPr>
          <p:spPr bwMode="auto">
            <a:xfrm>
              <a:off x="1001" y="2692"/>
              <a:ext cx="354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10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81" name="Rectangle 80"/>
            <p:cNvSpPr>
              <a:spLocks noChangeArrowheads="1"/>
            </p:cNvSpPr>
            <p:nvPr/>
          </p:nvSpPr>
          <p:spPr bwMode="auto">
            <a:xfrm>
              <a:off x="1001" y="2202"/>
              <a:ext cx="354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20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82" name="Rectangle 81"/>
            <p:cNvSpPr>
              <a:spLocks noChangeArrowheads="1"/>
            </p:cNvSpPr>
            <p:nvPr/>
          </p:nvSpPr>
          <p:spPr bwMode="auto">
            <a:xfrm>
              <a:off x="1001" y="1711"/>
              <a:ext cx="354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30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83" name="Rectangle 82"/>
            <p:cNvSpPr>
              <a:spLocks noChangeArrowheads="1"/>
            </p:cNvSpPr>
            <p:nvPr/>
          </p:nvSpPr>
          <p:spPr bwMode="auto">
            <a:xfrm>
              <a:off x="1001" y="1221"/>
              <a:ext cx="354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dirty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40</a:t>
              </a:r>
              <a:endParaRPr kumimoji="0" lang="en-US" altLang="en-US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84" name="Rectangle 83"/>
            <p:cNvSpPr>
              <a:spLocks noChangeArrowheads="1"/>
            </p:cNvSpPr>
            <p:nvPr/>
          </p:nvSpPr>
          <p:spPr bwMode="auto">
            <a:xfrm>
              <a:off x="3229" y="3543"/>
              <a:ext cx="2669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Years of Follow-up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auto">
            <a:xfrm>
              <a:off x="1509" y="3195"/>
              <a:ext cx="4511" cy="115"/>
            </a:xfrm>
            <a:custGeom>
              <a:avLst/>
              <a:gdLst>
                <a:gd name="T0" fmla="*/ 376 w 4511"/>
                <a:gd name="T1" fmla="*/ 107 h 115"/>
                <a:gd name="T2" fmla="*/ 599 w 4511"/>
                <a:gd name="T3" fmla="*/ 107 h 115"/>
                <a:gd name="T4" fmla="*/ 744 w 4511"/>
                <a:gd name="T5" fmla="*/ 100 h 115"/>
                <a:gd name="T6" fmla="*/ 905 w 4511"/>
                <a:gd name="T7" fmla="*/ 100 h 115"/>
                <a:gd name="T8" fmla="*/ 1082 w 4511"/>
                <a:gd name="T9" fmla="*/ 92 h 115"/>
                <a:gd name="T10" fmla="*/ 1335 w 4511"/>
                <a:gd name="T11" fmla="*/ 92 h 115"/>
                <a:gd name="T12" fmla="*/ 1458 w 4511"/>
                <a:gd name="T13" fmla="*/ 92 h 115"/>
                <a:gd name="T14" fmla="*/ 1649 w 4511"/>
                <a:gd name="T15" fmla="*/ 84 h 115"/>
                <a:gd name="T16" fmla="*/ 1795 w 4511"/>
                <a:gd name="T17" fmla="*/ 84 h 115"/>
                <a:gd name="T18" fmla="*/ 1910 w 4511"/>
                <a:gd name="T19" fmla="*/ 84 h 115"/>
                <a:gd name="T20" fmla="*/ 2010 w 4511"/>
                <a:gd name="T21" fmla="*/ 77 h 115"/>
                <a:gd name="T22" fmla="*/ 2094 w 4511"/>
                <a:gd name="T23" fmla="*/ 77 h 115"/>
                <a:gd name="T24" fmla="*/ 2156 w 4511"/>
                <a:gd name="T25" fmla="*/ 69 h 115"/>
                <a:gd name="T26" fmla="*/ 2202 w 4511"/>
                <a:gd name="T27" fmla="*/ 69 h 115"/>
                <a:gd name="T28" fmla="*/ 2248 w 4511"/>
                <a:gd name="T29" fmla="*/ 69 h 115"/>
                <a:gd name="T30" fmla="*/ 2301 w 4511"/>
                <a:gd name="T31" fmla="*/ 69 h 115"/>
                <a:gd name="T32" fmla="*/ 2355 w 4511"/>
                <a:gd name="T33" fmla="*/ 69 h 115"/>
                <a:gd name="T34" fmla="*/ 2417 w 4511"/>
                <a:gd name="T35" fmla="*/ 61 h 115"/>
                <a:gd name="T36" fmla="*/ 2463 w 4511"/>
                <a:gd name="T37" fmla="*/ 61 h 115"/>
                <a:gd name="T38" fmla="*/ 2509 w 4511"/>
                <a:gd name="T39" fmla="*/ 61 h 115"/>
                <a:gd name="T40" fmla="*/ 2555 w 4511"/>
                <a:gd name="T41" fmla="*/ 61 h 115"/>
                <a:gd name="T42" fmla="*/ 2601 w 4511"/>
                <a:gd name="T43" fmla="*/ 61 h 115"/>
                <a:gd name="T44" fmla="*/ 2647 w 4511"/>
                <a:gd name="T45" fmla="*/ 61 h 115"/>
                <a:gd name="T46" fmla="*/ 2693 w 4511"/>
                <a:gd name="T47" fmla="*/ 61 h 115"/>
                <a:gd name="T48" fmla="*/ 2746 w 4511"/>
                <a:gd name="T49" fmla="*/ 61 h 115"/>
                <a:gd name="T50" fmla="*/ 2792 w 4511"/>
                <a:gd name="T51" fmla="*/ 61 h 115"/>
                <a:gd name="T52" fmla="*/ 2838 w 4511"/>
                <a:gd name="T53" fmla="*/ 54 h 115"/>
                <a:gd name="T54" fmla="*/ 2884 w 4511"/>
                <a:gd name="T55" fmla="*/ 54 h 115"/>
                <a:gd name="T56" fmla="*/ 2930 w 4511"/>
                <a:gd name="T57" fmla="*/ 54 h 115"/>
                <a:gd name="T58" fmla="*/ 2976 w 4511"/>
                <a:gd name="T59" fmla="*/ 54 h 115"/>
                <a:gd name="T60" fmla="*/ 3023 w 4511"/>
                <a:gd name="T61" fmla="*/ 46 h 115"/>
                <a:gd name="T62" fmla="*/ 3069 w 4511"/>
                <a:gd name="T63" fmla="*/ 46 h 115"/>
                <a:gd name="T64" fmla="*/ 3122 w 4511"/>
                <a:gd name="T65" fmla="*/ 46 h 115"/>
                <a:gd name="T66" fmla="*/ 3168 w 4511"/>
                <a:gd name="T67" fmla="*/ 46 h 115"/>
                <a:gd name="T68" fmla="*/ 3214 w 4511"/>
                <a:gd name="T69" fmla="*/ 46 h 115"/>
                <a:gd name="T70" fmla="*/ 3260 w 4511"/>
                <a:gd name="T71" fmla="*/ 46 h 115"/>
                <a:gd name="T72" fmla="*/ 3306 w 4511"/>
                <a:gd name="T73" fmla="*/ 38 h 115"/>
                <a:gd name="T74" fmla="*/ 3352 w 4511"/>
                <a:gd name="T75" fmla="*/ 38 h 115"/>
                <a:gd name="T76" fmla="*/ 3398 w 4511"/>
                <a:gd name="T77" fmla="*/ 38 h 115"/>
                <a:gd name="T78" fmla="*/ 3444 w 4511"/>
                <a:gd name="T79" fmla="*/ 31 h 115"/>
                <a:gd name="T80" fmla="*/ 3498 w 4511"/>
                <a:gd name="T81" fmla="*/ 31 h 115"/>
                <a:gd name="T82" fmla="*/ 3544 w 4511"/>
                <a:gd name="T83" fmla="*/ 31 h 115"/>
                <a:gd name="T84" fmla="*/ 3590 w 4511"/>
                <a:gd name="T85" fmla="*/ 31 h 115"/>
                <a:gd name="T86" fmla="*/ 3636 w 4511"/>
                <a:gd name="T87" fmla="*/ 31 h 115"/>
                <a:gd name="T88" fmla="*/ 3682 w 4511"/>
                <a:gd name="T89" fmla="*/ 31 h 115"/>
                <a:gd name="T90" fmla="*/ 3728 w 4511"/>
                <a:gd name="T91" fmla="*/ 31 h 115"/>
                <a:gd name="T92" fmla="*/ 3774 w 4511"/>
                <a:gd name="T93" fmla="*/ 31 h 115"/>
                <a:gd name="T94" fmla="*/ 3828 w 4511"/>
                <a:gd name="T95" fmla="*/ 23 h 115"/>
                <a:gd name="T96" fmla="*/ 3874 w 4511"/>
                <a:gd name="T97" fmla="*/ 23 h 115"/>
                <a:gd name="T98" fmla="*/ 3920 w 4511"/>
                <a:gd name="T99" fmla="*/ 15 h 115"/>
                <a:gd name="T100" fmla="*/ 3966 w 4511"/>
                <a:gd name="T101" fmla="*/ 15 h 115"/>
                <a:gd name="T102" fmla="*/ 4012 w 4511"/>
                <a:gd name="T103" fmla="*/ 15 h 115"/>
                <a:gd name="T104" fmla="*/ 4058 w 4511"/>
                <a:gd name="T105" fmla="*/ 15 h 115"/>
                <a:gd name="T106" fmla="*/ 4112 w 4511"/>
                <a:gd name="T107" fmla="*/ 15 h 115"/>
                <a:gd name="T108" fmla="*/ 4158 w 4511"/>
                <a:gd name="T109" fmla="*/ 15 h 115"/>
                <a:gd name="T110" fmla="*/ 4204 w 4511"/>
                <a:gd name="T111" fmla="*/ 15 h 115"/>
                <a:gd name="T112" fmla="*/ 4250 w 4511"/>
                <a:gd name="T113" fmla="*/ 8 h 115"/>
                <a:gd name="T114" fmla="*/ 4304 w 4511"/>
                <a:gd name="T115" fmla="*/ 8 h 115"/>
                <a:gd name="T116" fmla="*/ 4350 w 4511"/>
                <a:gd name="T117" fmla="*/ 8 h 115"/>
                <a:gd name="T118" fmla="*/ 4396 w 4511"/>
                <a:gd name="T119" fmla="*/ 8 h 115"/>
                <a:gd name="T120" fmla="*/ 4442 w 4511"/>
                <a:gd name="T121" fmla="*/ 0 h 115"/>
                <a:gd name="T122" fmla="*/ 4488 w 4511"/>
                <a:gd name="T123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1" h="115">
                  <a:moveTo>
                    <a:pt x="0" y="115"/>
                  </a:moveTo>
                  <a:lnTo>
                    <a:pt x="108" y="115"/>
                  </a:lnTo>
                  <a:lnTo>
                    <a:pt x="108" y="107"/>
                  </a:lnTo>
                  <a:lnTo>
                    <a:pt x="177" y="107"/>
                  </a:lnTo>
                  <a:lnTo>
                    <a:pt x="177" y="107"/>
                  </a:lnTo>
                  <a:lnTo>
                    <a:pt x="223" y="107"/>
                  </a:lnTo>
                  <a:lnTo>
                    <a:pt x="223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53" y="107"/>
                  </a:lnTo>
                  <a:lnTo>
                    <a:pt x="253" y="107"/>
                  </a:lnTo>
                  <a:lnTo>
                    <a:pt x="330" y="107"/>
                  </a:lnTo>
                  <a:lnTo>
                    <a:pt x="330" y="107"/>
                  </a:lnTo>
                  <a:lnTo>
                    <a:pt x="353" y="107"/>
                  </a:lnTo>
                  <a:lnTo>
                    <a:pt x="353" y="107"/>
                  </a:lnTo>
                  <a:lnTo>
                    <a:pt x="376" y="107"/>
                  </a:lnTo>
                  <a:lnTo>
                    <a:pt x="376" y="107"/>
                  </a:lnTo>
                  <a:lnTo>
                    <a:pt x="399" y="107"/>
                  </a:lnTo>
                  <a:lnTo>
                    <a:pt x="399" y="107"/>
                  </a:lnTo>
                  <a:lnTo>
                    <a:pt x="422" y="107"/>
                  </a:lnTo>
                  <a:lnTo>
                    <a:pt x="422" y="107"/>
                  </a:lnTo>
                  <a:lnTo>
                    <a:pt x="445" y="107"/>
                  </a:lnTo>
                  <a:lnTo>
                    <a:pt x="445" y="107"/>
                  </a:lnTo>
                  <a:lnTo>
                    <a:pt x="483" y="107"/>
                  </a:lnTo>
                  <a:lnTo>
                    <a:pt x="483" y="107"/>
                  </a:lnTo>
                  <a:lnTo>
                    <a:pt x="507" y="107"/>
                  </a:lnTo>
                  <a:lnTo>
                    <a:pt x="507" y="107"/>
                  </a:lnTo>
                  <a:lnTo>
                    <a:pt x="576" y="107"/>
                  </a:lnTo>
                  <a:lnTo>
                    <a:pt x="576" y="107"/>
                  </a:lnTo>
                  <a:lnTo>
                    <a:pt x="583" y="107"/>
                  </a:lnTo>
                  <a:lnTo>
                    <a:pt x="583" y="107"/>
                  </a:lnTo>
                  <a:lnTo>
                    <a:pt x="599" y="107"/>
                  </a:lnTo>
                  <a:lnTo>
                    <a:pt x="599" y="107"/>
                  </a:lnTo>
                  <a:lnTo>
                    <a:pt x="629" y="107"/>
                  </a:lnTo>
                  <a:lnTo>
                    <a:pt x="629" y="100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45" y="100"/>
                  </a:lnTo>
                  <a:lnTo>
                    <a:pt x="645" y="100"/>
                  </a:lnTo>
                  <a:lnTo>
                    <a:pt x="652" y="100"/>
                  </a:lnTo>
                  <a:lnTo>
                    <a:pt x="652" y="100"/>
                  </a:lnTo>
                  <a:lnTo>
                    <a:pt x="675" y="100"/>
                  </a:lnTo>
                  <a:lnTo>
                    <a:pt x="675" y="100"/>
                  </a:lnTo>
                  <a:lnTo>
                    <a:pt x="714" y="100"/>
                  </a:lnTo>
                  <a:lnTo>
                    <a:pt x="714" y="100"/>
                  </a:lnTo>
                  <a:lnTo>
                    <a:pt x="721" y="100"/>
                  </a:lnTo>
                  <a:lnTo>
                    <a:pt x="721" y="100"/>
                  </a:lnTo>
                  <a:lnTo>
                    <a:pt x="744" y="100"/>
                  </a:lnTo>
                  <a:lnTo>
                    <a:pt x="744" y="100"/>
                  </a:lnTo>
                  <a:lnTo>
                    <a:pt x="752" y="100"/>
                  </a:lnTo>
                  <a:lnTo>
                    <a:pt x="752" y="100"/>
                  </a:lnTo>
                  <a:lnTo>
                    <a:pt x="775" y="100"/>
                  </a:lnTo>
                  <a:lnTo>
                    <a:pt x="775" y="100"/>
                  </a:lnTo>
                  <a:lnTo>
                    <a:pt x="783" y="100"/>
                  </a:lnTo>
                  <a:lnTo>
                    <a:pt x="783" y="100"/>
                  </a:lnTo>
                  <a:lnTo>
                    <a:pt x="783" y="100"/>
                  </a:lnTo>
                  <a:lnTo>
                    <a:pt x="783" y="100"/>
                  </a:lnTo>
                  <a:lnTo>
                    <a:pt x="813" y="100"/>
                  </a:lnTo>
                  <a:lnTo>
                    <a:pt x="813" y="100"/>
                  </a:lnTo>
                  <a:lnTo>
                    <a:pt x="859" y="100"/>
                  </a:lnTo>
                  <a:lnTo>
                    <a:pt x="859" y="100"/>
                  </a:lnTo>
                  <a:lnTo>
                    <a:pt x="890" y="100"/>
                  </a:lnTo>
                  <a:lnTo>
                    <a:pt x="890" y="100"/>
                  </a:lnTo>
                  <a:lnTo>
                    <a:pt x="905" y="100"/>
                  </a:lnTo>
                  <a:lnTo>
                    <a:pt x="905" y="100"/>
                  </a:lnTo>
                  <a:lnTo>
                    <a:pt x="928" y="100"/>
                  </a:lnTo>
                  <a:lnTo>
                    <a:pt x="928" y="100"/>
                  </a:lnTo>
                  <a:lnTo>
                    <a:pt x="1005" y="100"/>
                  </a:lnTo>
                  <a:lnTo>
                    <a:pt x="1005" y="100"/>
                  </a:lnTo>
                  <a:lnTo>
                    <a:pt x="1020" y="100"/>
                  </a:lnTo>
                  <a:lnTo>
                    <a:pt x="1020" y="100"/>
                  </a:lnTo>
                  <a:lnTo>
                    <a:pt x="1028" y="100"/>
                  </a:lnTo>
                  <a:lnTo>
                    <a:pt x="1028" y="92"/>
                  </a:lnTo>
                  <a:lnTo>
                    <a:pt x="1028" y="92"/>
                  </a:lnTo>
                  <a:lnTo>
                    <a:pt x="1028" y="92"/>
                  </a:lnTo>
                  <a:lnTo>
                    <a:pt x="1043" y="92"/>
                  </a:lnTo>
                  <a:lnTo>
                    <a:pt x="1043" y="92"/>
                  </a:lnTo>
                  <a:lnTo>
                    <a:pt x="1074" y="92"/>
                  </a:lnTo>
                  <a:lnTo>
                    <a:pt x="1074" y="92"/>
                  </a:lnTo>
                  <a:lnTo>
                    <a:pt x="1082" y="92"/>
                  </a:lnTo>
                  <a:lnTo>
                    <a:pt x="1082" y="92"/>
                  </a:lnTo>
                  <a:lnTo>
                    <a:pt x="1105" y="92"/>
                  </a:lnTo>
                  <a:lnTo>
                    <a:pt x="1105" y="92"/>
                  </a:lnTo>
                  <a:lnTo>
                    <a:pt x="1159" y="92"/>
                  </a:lnTo>
                  <a:lnTo>
                    <a:pt x="1159" y="92"/>
                  </a:lnTo>
                  <a:lnTo>
                    <a:pt x="1166" y="92"/>
                  </a:lnTo>
                  <a:lnTo>
                    <a:pt x="1166" y="92"/>
                  </a:lnTo>
                  <a:lnTo>
                    <a:pt x="1197" y="92"/>
                  </a:lnTo>
                  <a:lnTo>
                    <a:pt x="1197" y="92"/>
                  </a:lnTo>
                  <a:lnTo>
                    <a:pt x="1235" y="92"/>
                  </a:lnTo>
                  <a:lnTo>
                    <a:pt x="1235" y="92"/>
                  </a:lnTo>
                  <a:lnTo>
                    <a:pt x="1289" y="92"/>
                  </a:lnTo>
                  <a:lnTo>
                    <a:pt x="1289" y="92"/>
                  </a:lnTo>
                  <a:lnTo>
                    <a:pt x="1304" y="92"/>
                  </a:lnTo>
                  <a:lnTo>
                    <a:pt x="1304" y="92"/>
                  </a:lnTo>
                  <a:lnTo>
                    <a:pt x="1335" y="92"/>
                  </a:lnTo>
                  <a:lnTo>
                    <a:pt x="1335" y="92"/>
                  </a:lnTo>
                  <a:lnTo>
                    <a:pt x="1358" y="92"/>
                  </a:lnTo>
                  <a:lnTo>
                    <a:pt x="1358" y="92"/>
                  </a:lnTo>
                  <a:lnTo>
                    <a:pt x="1358" y="92"/>
                  </a:lnTo>
                  <a:lnTo>
                    <a:pt x="1358" y="92"/>
                  </a:lnTo>
                  <a:lnTo>
                    <a:pt x="1404" y="92"/>
                  </a:lnTo>
                  <a:lnTo>
                    <a:pt x="1404" y="92"/>
                  </a:lnTo>
                  <a:lnTo>
                    <a:pt x="1412" y="92"/>
                  </a:lnTo>
                  <a:lnTo>
                    <a:pt x="1412" y="92"/>
                  </a:lnTo>
                  <a:lnTo>
                    <a:pt x="1419" y="92"/>
                  </a:lnTo>
                  <a:lnTo>
                    <a:pt x="1419" y="92"/>
                  </a:lnTo>
                  <a:lnTo>
                    <a:pt x="1442" y="92"/>
                  </a:lnTo>
                  <a:lnTo>
                    <a:pt x="1442" y="92"/>
                  </a:lnTo>
                  <a:lnTo>
                    <a:pt x="1458" y="92"/>
                  </a:lnTo>
                  <a:lnTo>
                    <a:pt x="1458" y="92"/>
                  </a:lnTo>
                  <a:lnTo>
                    <a:pt x="1458" y="92"/>
                  </a:lnTo>
                  <a:lnTo>
                    <a:pt x="1458" y="84"/>
                  </a:lnTo>
                  <a:lnTo>
                    <a:pt x="1511" y="84"/>
                  </a:lnTo>
                  <a:lnTo>
                    <a:pt x="1511" y="84"/>
                  </a:lnTo>
                  <a:lnTo>
                    <a:pt x="1519" y="84"/>
                  </a:lnTo>
                  <a:lnTo>
                    <a:pt x="1519" y="84"/>
                  </a:lnTo>
                  <a:lnTo>
                    <a:pt x="1542" y="84"/>
                  </a:lnTo>
                  <a:lnTo>
                    <a:pt x="1542" y="84"/>
                  </a:lnTo>
                  <a:lnTo>
                    <a:pt x="1550" y="84"/>
                  </a:lnTo>
                  <a:lnTo>
                    <a:pt x="1550" y="84"/>
                  </a:lnTo>
                  <a:lnTo>
                    <a:pt x="1603" y="84"/>
                  </a:lnTo>
                  <a:lnTo>
                    <a:pt x="1603" y="84"/>
                  </a:lnTo>
                  <a:lnTo>
                    <a:pt x="1611" y="84"/>
                  </a:lnTo>
                  <a:lnTo>
                    <a:pt x="1611" y="84"/>
                  </a:lnTo>
                  <a:lnTo>
                    <a:pt x="1611" y="84"/>
                  </a:lnTo>
                  <a:lnTo>
                    <a:pt x="1611" y="84"/>
                  </a:lnTo>
                  <a:lnTo>
                    <a:pt x="1649" y="84"/>
                  </a:lnTo>
                  <a:lnTo>
                    <a:pt x="1649" y="84"/>
                  </a:lnTo>
                  <a:lnTo>
                    <a:pt x="1657" y="84"/>
                  </a:lnTo>
                  <a:lnTo>
                    <a:pt x="1657" y="84"/>
                  </a:lnTo>
                  <a:lnTo>
                    <a:pt x="1688" y="84"/>
                  </a:lnTo>
                  <a:lnTo>
                    <a:pt x="1688" y="84"/>
                  </a:lnTo>
                  <a:lnTo>
                    <a:pt x="1695" y="84"/>
                  </a:lnTo>
                  <a:lnTo>
                    <a:pt x="1695" y="84"/>
                  </a:lnTo>
                  <a:lnTo>
                    <a:pt x="1711" y="84"/>
                  </a:lnTo>
                  <a:lnTo>
                    <a:pt x="1711" y="84"/>
                  </a:lnTo>
                  <a:lnTo>
                    <a:pt x="1726" y="84"/>
                  </a:lnTo>
                  <a:lnTo>
                    <a:pt x="1726" y="84"/>
                  </a:lnTo>
                  <a:lnTo>
                    <a:pt x="1765" y="84"/>
                  </a:lnTo>
                  <a:lnTo>
                    <a:pt x="1765" y="84"/>
                  </a:lnTo>
                  <a:lnTo>
                    <a:pt x="1788" y="84"/>
                  </a:lnTo>
                  <a:lnTo>
                    <a:pt x="1788" y="84"/>
                  </a:lnTo>
                  <a:lnTo>
                    <a:pt x="1795" y="84"/>
                  </a:lnTo>
                  <a:lnTo>
                    <a:pt x="1795" y="84"/>
                  </a:lnTo>
                  <a:lnTo>
                    <a:pt x="1811" y="84"/>
                  </a:lnTo>
                  <a:lnTo>
                    <a:pt x="1811" y="84"/>
                  </a:lnTo>
                  <a:lnTo>
                    <a:pt x="1811" y="84"/>
                  </a:lnTo>
                  <a:lnTo>
                    <a:pt x="1811" y="84"/>
                  </a:lnTo>
                  <a:lnTo>
                    <a:pt x="1818" y="84"/>
                  </a:lnTo>
                  <a:lnTo>
                    <a:pt x="1818" y="84"/>
                  </a:lnTo>
                  <a:lnTo>
                    <a:pt x="1826" y="84"/>
                  </a:lnTo>
                  <a:lnTo>
                    <a:pt x="1826" y="84"/>
                  </a:lnTo>
                  <a:lnTo>
                    <a:pt x="1834" y="84"/>
                  </a:lnTo>
                  <a:lnTo>
                    <a:pt x="1834" y="84"/>
                  </a:lnTo>
                  <a:lnTo>
                    <a:pt x="1864" y="84"/>
                  </a:lnTo>
                  <a:lnTo>
                    <a:pt x="1864" y="84"/>
                  </a:lnTo>
                  <a:lnTo>
                    <a:pt x="1903" y="84"/>
                  </a:lnTo>
                  <a:lnTo>
                    <a:pt x="1903" y="84"/>
                  </a:lnTo>
                  <a:lnTo>
                    <a:pt x="1910" y="84"/>
                  </a:lnTo>
                  <a:lnTo>
                    <a:pt x="1910" y="77"/>
                  </a:lnTo>
                  <a:lnTo>
                    <a:pt x="1933" y="77"/>
                  </a:lnTo>
                  <a:lnTo>
                    <a:pt x="1933" y="77"/>
                  </a:lnTo>
                  <a:lnTo>
                    <a:pt x="1941" y="77"/>
                  </a:lnTo>
                  <a:lnTo>
                    <a:pt x="1941" y="77"/>
                  </a:lnTo>
                  <a:lnTo>
                    <a:pt x="1949" y="77"/>
                  </a:lnTo>
                  <a:lnTo>
                    <a:pt x="1949" y="77"/>
                  </a:lnTo>
                  <a:lnTo>
                    <a:pt x="1964" y="77"/>
                  </a:lnTo>
                  <a:lnTo>
                    <a:pt x="1964" y="77"/>
                  </a:lnTo>
                  <a:lnTo>
                    <a:pt x="1979" y="77"/>
                  </a:lnTo>
                  <a:lnTo>
                    <a:pt x="1979" y="77"/>
                  </a:lnTo>
                  <a:lnTo>
                    <a:pt x="1987" y="77"/>
                  </a:lnTo>
                  <a:lnTo>
                    <a:pt x="1987" y="77"/>
                  </a:lnTo>
                  <a:lnTo>
                    <a:pt x="1995" y="77"/>
                  </a:lnTo>
                  <a:lnTo>
                    <a:pt x="1995" y="77"/>
                  </a:lnTo>
                  <a:lnTo>
                    <a:pt x="2010" y="77"/>
                  </a:lnTo>
                  <a:lnTo>
                    <a:pt x="2010" y="77"/>
                  </a:lnTo>
                  <a:lnTo>
                    <a:pt x="2018" y="77"/>
                  </a:lnTo>
                  <a:lnTo>
                    <a:pt x="2018" y="77"/>
                  </a:lnTo>
                  <a:lnTo>
                    <a:pt x="2025" y="77"/>
                  </a:lnTo>
                  <a:lnTo>
                    <a:pt x="2025" y="77"/>
                  </a:lnTo>
                  <a:lnTo>
                    <a:pt x="2033" y="77"/>
                  </a:lnTo>
                  <a:lnTo>
                    <a:pt x="2033" y="77"/>
                  </a:lnTo>
                  <a:lnTo>
                    <a:pt x="2041" y="77"/>
                  </a:lnTo>
                  <a:lnTo>
                    <a:pt x="2041" y="77"/>
                  </a:lnTo>
                  <a:lnTo>
                    <a:pt x="2041" y="77"/>
                  </a:lnTo>
                  <a:lnTo>
                    <a:pt x="2041" y="77"/>
                  </a:lnTo>
                  <a:lnTo>
                    <a:pt x="2064" y="77"/>
                  </a:lnTo>
                  <a:lnTo>
                    <a:pt x="2064" y="77"/>
                  </a:lnTo>
                  <a:lnTo>
                    <a:pt x="2087" y="77"/>
                  </a:lnTo>
                  <a:lnTo>
                    <a:pt x="2087" y="77"/>
                  </a:lnTo>
                  <a:lnTo>
                    <a:pt x="2094" y="77"/>
                  </a:lnTo>
                  <a:lnTo>
                    <a:pt x="2094" y="69"/>
                  </a:lnTo>
                  <a:lnTo>
                    <a:pt x="2102" y="69"/>
                  </a:lnTo>
                  <a:lnTo>
                    <a:pt x="2102" y="69"/>
                  </a:lnTo>
                  <a:lnTo>
                    <a:pt x="2117" y="69"/>
                  </a:lnTo>
                  <a:lnTo>
                    <a:pt x="2117" y="69"/>
                  </a:lnTo>
                  <a:lnTo>
                    <a:pt x="2117" y="69"/>
                  </a:lnTo>
                  <a:lnTo>
                    <a:pt x="2117" y="69"/>
                  </a:lnTo>
                  <a:lnTo>
                    <a:pt x="2125" y="69"/>
                  </a:lnTo>
                  <a:lnTo>
                    <a:pt x="2125" y="69"/>
                  </a:lnTo>
                  <a:lnTo>
                    <a:pt x="2140" y="69"/>
                  </a:lnTo>
                  <a:lnTo>
                    <a:pt x="2140" y="69"/>
                  </a:lnTo>
                  <a:lnTo>
                    <a:pt x="2140" y="69"/>
                  </a:lnTo>
                  <a:lnTo>
                    <a:pt x="2140" y="69"/>
                  </a:lnTo>
                  <a:lnTo>
                    <a:pt x="2148" y="69"/>
                  </a:lnTo>
                  <a:lnTo>
                    <a:pt x="2148" y="69"/>
                  </a:lnTo>
                  <a:lnTo>
                    <a:pt x="2156" y="69"/>
                  </a:lnTo>
                  <a:lnTo>
                    <a:pt x="2156" y="69"/>
                  </a:lnTo>
                  <a:lnTo>
                    <a:pt x="2163" y="69"/>
                  </a:lnTo>
                  <a:lnTo>
                    <a:pt x="2163" y="69"/>
                  </a:lnTo>
                  <a:lnTo>
                    <a:pt x="2163" y="69"/>
                  </a:lnTo>
                  <a:lnTo>
                    <a:pt x="2163" y="69"/>
                  </a:lnTo>
                  <a:lnTo>
                    <a:pt x="2171" y="69"/>
                  </a:lnTo>
                  <a:lnTo>
                    <a:pt x="2171" y="69"/>
                  </a:lnTo>
                  <a:lnTo>
                    <a:pt x="2179" y="69"/>
                  </a:lnTo>
                  <a:lnTo>
                    <a:pt x="2179" y="69"/>
                  </a:lnTo>
                  <a:lnTo>
                    <a:pt x="2186" y="69"/>
                  </a:lnTo>
                  <a:lnTo>
                    <a:pt x="2186" y="69"/>
                  </a:lnTo>
                  <a:lnTo>
                    <a:pt x="2186" y="69"/>
                  </a:lnTo>
                  <a:lnTo>
                    <a:pt x="2186" y="69"/>
                  </a:lnTo>
                  <a:lnTo>
                    <a:pt x="2194" y="69"/>
                  </a:lnTo>
                  <a:lnTo>
                    <a:pt x="2194" y="69"/>
                  </a:lnTo>
                  <a:lnTo>
                    <a:pt x="2202" y="69"/>
                  </a:lnTo>
                  <a:lnTo>
                    <a:pt x="2202" y="69"/>
                  </a:lnTo>
                  <a:lnTo>
                    <a:pt x="2209" y="69"/>
                  </a:lnTo>
                  <a:lnTo>
                    <a:pt x="2209" y="69"/>
                  </a:lnTo>
                  <a:lnTo>
                    <a:pt x="2217" y="69"/>
                  </a:lnTo>
                  <a:lnTo>
                    <a:pt x="2217" y="69"/>
                  </a:lnTo>
                  <a:lnTo>
                    <a:pt x="2217" y="69"/>
                  </a:lnTo>
                  <a:lnTo>
                    <a:pt x="2217" y="69"/>
                  </a:lnTo>
                  <a:lnTo>
                    <a:pt x="2225" y="69"/>
                  </a:lnTo>
                  <a:lnTo>
                    <a:pt x="2225" y="69"/>
                  </a:lnTo>
                  <a:lnTo>
                    <a:pt x="2232" y="69"/>
                  </a:lnTo>
                  <a:lnTo>
                    <a:pt x="2232" y="69"/>
                  </a:lnTo>
                  <a:lnTo>
                    <a:pt x="2240" y="69"/>
                  </a:lnTo>
                  <a:lnTo>
                    <a:pt x="2240" y="69"/>
                  </a:lnTo>
                  <a:lnTo>
                    <a:pt x="2240" y="69"/>
                  </a:lnTo>
                  <a:lnTo>
                    <a:pt x="2240" y="69"/>
                  </a:lnTo>
                  <a:lnTo>
                    <a:pt x="2248" y="69"/>
                  </a:lnTo>
                  <a:lnTo>
                    <a:pt x="2248" y="69"/>
                  </a:lnTo>
                  <a:lnTo>
                    <a:pt x="2263" y="69"/>
                  </a:lnTo>
                  <a:lnTo>
                    <a:pt x="2263" y="69"/>
                  </a:lnTo>
                  <a:lnTo>
                    <a:pt x="2263" y="69"/>
                  </a:lnTo>
                  <a:lnTo>
                    <a:pt x="2263" y="69"/>
                  </a:lnTo>
                  <a:lnTo>
                    <a:pt x="2271" y="69"/>
                  </a:lnTo>
                  <a:lnTo>
                    <a:pt x="2271" y="69"/>
                  </a:lnTo>
                  <a:lnTo>
                    <a:pt x="2278" y="69"/>
                  </a:lnTo>
                  <a:lnTo>
                    <a:pt x="2278" y="69"/>
                  </a:lnTo>
                  <a:lnTo>
                    <a:pt x="2286" y="69"/>
                  </a:lnTo>
                  <a:lnTo>
                    <a:pt x="2286" y="69"/>
                  </a:lnTo>
                  <a:lnTo>
                    <a:pt x="2294" y="69"/>
                  </a:lnTo>
                  <a:lnTo>
                    <a:pt x="2294" y="69"/>
                  </a:lnTo>
                  <a:lnTo>
                    <a:pt x="2294" y="69"/>
                  </a:lnTo>
                  <a:lnTo>
                    <a:pt x="2294" y="69"/>
                  </a:lnTo>
                  <a:lnTo>
                    <a:pt x="2301" y="69"/>
                  </a:lnTo>
                  <a:lnTo>
                    <a:pt x="2301" y="69"/>
                  </a:lnTo>
                  <a:lnTo>
                    <a:pt x="2309" y="69"/>
                  </a:lnTo>
                  <a:lnTo>
                    <a:pt x="2309" y="69"/>
                  </a:lnTo>
                  <a:lnTo>
                    <a:pt x="2317" y="69"/>
                  </a:lnTo>
                  <a:lnTo>
                    <a:pt x="2317" y="69"/>
                  </a:lnTo>
                  <a:lnTo>
                    <a:pt x="2317" y="69"/>
                  </a:lnTo>
                  <a:lnTo>
                    <a:pt x="2317" y="69"/>
                  </a:lnTo>
                  <a:lnTo>
                    <a:pt x="2332" y="69"/>
                  </a:lnTo>
                  <a:lnTo>
                    <a:pt x="2332" y="69"/>
                  </a:lnTo>
                  <a:lnTo>
                    <a:pt x="2340" y="69"/>
                  </a:lnTo>
                  <a:lnTo>
                    <a:pt x="2340" y="69"/>
                  </a:lnTo>
                  <a:lnTo>
                    <a:pt x="2340" y="69"/>
                  </a:lnTo>
                  <a:lnTo>
                    <a:pt x="2340" y="69"/>
                  </a:lnTo>
                  <a:lnTo>
                    <a:pt x="2347" y="69"/>
                  </a:lnTo>
                  <a:lnTo>
                    <a:pt x="2347" y="69"/>
                  </a:lnTo>
                  <a:lnTo>
                    <a:pt x="2355" y="69"/>
                  </a:lnTo>
                  <a:lnTo>
                    <a:pt x="2355" y="69"/>
                  </a:lnTo>
                  <a:lnTo>
                    <a:pt x="2363" y="69"/>
                  </a:lnTo>
                  <a:lnTo>
                    <a:pt x="2363" y="69"/>
                  </a:lnTo>
                  <a:lnTo>
                    <a:pt x="2378" y="69"/>
                  </a:lnTo>
                  <a:lnTo>
                    <a:pt x="2378" y="69"/>
                  </a:lnTo>
                  <a:lnTo>
                    <a:pt x="2386" y="69"/>
                  </a:lnTo>
                  <a:lnTo>
                    <a:pt x="2386" y="61"/>
                  </a:lnTo>
                  <a:lnTo>
                    <a:pt x="2394" y="61"/>
                  </a:lnTo>
                  <a:lnTo>
                    <a:pt x="2394" y="61"/>
                  </a:lnTo>
                  <a:lnTo>
                    <a:pt x="2394" y="61"/>
                  </a:lnTo>
                  <a:lnTo>
                    <a:pt x="2394" y="61"/>
                  </a:lnTo>
                  <a:lnTo>
                    <a:pt x="2401" y="61"/>
                  </a:lnTo>
                  <a:lnTo>
                    <a:pt x="2401" y="61"/>
                  </a:lnTo>
                  <a:lnTo>
                    <a:pt x="2409" y="61"/>
                  </a:lnTo>
                  <a:lnTo>
                    <a:pt x="2409" y="61"/>
                  </a:lnTo>
                  <a:lnTo>
                    <a:pt x="2417" y="61"/>
                  </a:lnTo>
                  <a:lnTo>
                    <a:pt x="2417" y="61"/>
                  </a:lnTo>
                  <a:lnTo>
                    <a:pt x="2417" y="61"/>
                  </a:lnTo>
                  <a:lnTo>
                    <a:pt x="2417" y="61"/>
                  </a:lnTo>
                  <a:lnTo>
                    <a:pt x="2424" y="61"/>
                  </a:lnTo>
                  <a:lnTo>
                    <a:pt x="2424" y="61"/>
                  </a:lnTo>
                  <a:lnTo>
                    <a:pt x="2432" y="61"/>
                  </a:lnTo>
                  <a:lnTo>
                    <a:pt x="2432" y="61"/>
                  </a:lnTo>
                  <a:lnTo>
                    <a:pt x="2440" y="61"/>
                  </a:lnTo>
                  <a:lnTo>
                    <a:pt x="2440" y="61"/>
                  </a:lnTo>
                  <a:lnTo>
                    <a:pt x="2440" y="61"/>
                  </a:lnTo>
                  <a:lnTo>
                    <a:pt x="2440" y="61"/>
                  </a:lnTo>
                  <a:lnTo>
                    <a:pt x="2447" y="61"/>
                  </a:lnTo>
                  <a:lnTo>
                    <a:pt x="2447" y="61"/>
                  </a:lnTo>
                  <a:lnTo>
                    <a:pt x="2455" y="61"/>
                  </a:lnTo>
                  <a:lnTo>
                    <a:pt x="2455" y="61"/>
                  </a:lnTo>
                  <a:lnTo>
                    <a:pt x="2463" y="61"/>
                  </a:lnTo>
                  <a:lnTo>
                    <a:pt x="2463" y="61"/>
                  </a:lnTo>
                  <a:lnTo>
                    <a:pt x="2470" y="61"/>
                  </a:lnTo>
                  <a:lnTo>
                    <a:pt x="2470" y="61"/>
                  </a:lnTo>
                  <a:lnTo>
                    <a:pt x="2470" y="61"/>
                  </a:lnTo>
                  <a:lnTo>
                    <a:pt x="2470" y="61"/>
                  </a:lnTo>
                  <a:lnTo>
                    <a:pt x="2478" y="61"/>
                  </a:lnTo>
                  <a:lnTo>
                    <a:pt x="2478" y="61"/>
                  </a:lnTo>
                  <a:lnTo>
                    <a:pt x="2486" y="61"/>
                  </a:lnTo>
                  <a:lnTo>
                    <a:pt x="2486" y="61"/>
                  </a:lnTo>
                  <a:lnTo>
                    <a:pt x="2493" y="61"/>
                  </a:lnTo>
                  <a:lnTo>
                    <a:pt x="2493" y="61"/>
                  </a:lnTo>
                  <a:lnTo>
                    <a:pt x="2493" y="61"/>
                  </a:lnTo>
                  <a:lnTo>
                    <a:pt x="2493" y="61"/>
                  </a:lnTo>
                  <a:lnTo>
                    <a:pt x="2501" y="61"/>
                  </a:lnTo>
                  <a:lnTo>
                    <a:pt x="2501" y="61"/>
                  </a:lnTo>
                  <a:lnTo>
                    <a:pt x="2509" y="61"/>
                  </a:lnTo>
                  <a:lnTo>
                    <a:pt x="2509" y="61"/>
                  </a:lnTo>
                  <a:lnTo>
                    <a:pt x="2516" y="61"/>
                  </a:lnTo>
                  <a:lnTo>
                    <a:pt x="2516" y="61"/>
                  </a:lnTo>
                  <a:lnTo>
                    <a:pt x="2516" y="61"/>
                  </a:lnTo>
                  <a:lnTo>
                    <a:pt x="2516" y="61"/>
                  </a:lnTo>
                  <a:lnTo>
                    <a:pt x="2524" y="61"/>
                  </a:lnTo>
                  <a:lnTo>
                    <a:pt x="2524" y="61"/>
                  </a:lnTo>
                  <a:lnTo>
                    <a:pt x="2532" y="61"/>
                  </a:lnTo>
                  <a:lnTo>
                    <a:pt x="2532" y="61"/>
                  </a:lnTo>
                  <a:lnTo>
                    <a:pt x="2539" y="61"/>
                  </a:lnTo>
                  <a:lnTo>
                    <a:pt x="2539" y="61"/>
                  </a:lnTo>
                  <a:lnTo>
                    <a:pt x="2539" y="61"/>
                  </a:lnTo>
                  <a:lnTo>
                    <a:pt x="2539" y="61"/>
                  </a:lnTo>
                  <a:lnTo>
                    <a:pt x="2547" y="61"/>
                  </a:lnTo>
                  <a:lnTo>
                    <a:pt x="2547" y="61"/>
                  </a:lnTo>
                  <a:lnTo>
                    <a:pt x="2555" y="61"/>
                  </a:lnTo>
                  <a:lnTo>
                    <a:pt x="2555" y="61"/>
                  </a:lnTo>
                  <a:lnTo>
                    <a:pt x="2562" y="61"/>
                  </a:lnTo>
                  <a:lnTo>
                    <a:pt x="2562" y="61"/>
                  </a:lnTo>
                  <a:lnTo>
                    <a:pt x="2570" y="61"/>
                  </a:lnTo>
                  <a:lnTo>
                    <a:pt x="2570" y="61"/>
                  </a:lnTo>
                  <a:lnTo>
                    <a:pt x="2570" y="61"/>
                  </a:lnTo>
                  <a:lnTo>
                    <a:pt x="2570" y="61"/>
                  </a:lnTo>
                  <a:lnTo>
                    <a:pt x="2578" y="61"/>
                  </a:lnTo>
                  <a:lnTo>
                    <a:pt x="2578" y="61"/>
                  </a:lnTo>
                  <a:lnTo>
                    <a:pt x="2585" y="61"/>
                  </a:lnTo>
                  <a:lnTo>
                    <a:pt x="2585" y="61"/>
                  </a:lnTo>
                  <a:lnTo>
                    <a:pt x="2593" y="61"/>
                  </a:lnTo>
                  <a:lnTo>
                    <a:pt x="2593" y="61"/>
                  </a:lnTo>
                  <a:lnTo>
                    <a:pt x="2593" y="61"/>
                  </a:lnTo>
                  <a:lnTo>
                    <a:pt x="2593" y="61"/>
                  </a:lnTo>
                  <a:lnTo>
                    <a:pt x="2601" y="61"/>
                  </a:lnTo>
                  <a:lnTo>
                    <a:pt x="2601" y="61"/>
                  </a:lnTo>
                  <a:lnTo>
                    <a:pt x="2608" y="61"/>
                  </a:lnTo>
                  <a:lnTo>
                    <a:pt x="2608" y="61"/>
                  </a:lnTo>
                  <a:lnTo>
                    <a:pt x="2616" y="61"/>
                  </a:lnTo>
                  <a:lnTo>
                    <a:pt x="2616" y="61"/>
                  </a:lnTo>
                  <a:lnTo>
                    <a:pt x="2616" y="61"/>
                  </a:lnTo>
                  <a:lnTo>
                    <a:pt x="2616" y="61"/>
                  </a:lnTo>
                  <a:lnTo>
                    <a:pt x="2624" y="61"/>
                  </a:lnTo>
                  <a:lnTo>
                    <a:pt x="2624" y="61"/>
                  </a:lnTo>
                  <a:lnTo>
                    <a:pt x="2631" y="61"/>
                  </a:lnTo>
                  <a:lnTo>
                    <a:pt x="2631" y="61"/>
                  </a:lnTo>
                  <a:lnTo>
                    <a:pt x="2639" y="61"/>
                  </a:lnTo>
                  <a:lnTo>
                    <a:pt x="2639" y="61"/>
                  </a:lnTo>
                  <a:lnTo>
                    <a:pt x="2639" y="61"/>
                  </a:lnTo>
                  <a:lnTo>
                    <a:pt x="2639" y="61"/>
                  </a:lnTo>
                  <a:lnTo>
                    <a:pt x="2647" y="61"/>
                  </a:lnTo>
                  <a:lnTo>
                    <a:pt x="2647" y="61"/>
                  </a:lnTo>
                  <a:lnTo>
                    <a:pt x="2654" y="61"/>
                  </a:lnTo>
                  <a:lnTo>
                    <a:pt x="2654" y="61"/>
                  </a:lnTo>
                  <a:lnTo>
                    <a:pt x="2662" y="61"/>
                  </a:lnTo>
                  <a:lnTo>
                    <a:pt x="2662" y="61"/>
                  </a:lnTo>
                  <a:lnTo>
                    <a:pt x="2670" y="61"/>
                  </a:lnTo>
                  <a:lnTo>
                    <a:pt x="2670" y="61"/>
                  </a:lnTo>
                  <a:lnTo>
                    <a:pt x="2670" y="61"/>
                  </a:lnTo>
                  <a:lnTo>
                    <a:pt x="2670" y="61"/>
                  </a:lnTo>
                  <a:lnTo>
                    <a:pt x="2677" y="61"/>
                  </a:lnTo>
                  <a:lnTo>
                    <a:pt x="2677" y="61"/>
                  </a:lnTo>
                  <a:lnTo>
                    <a:pt x="2685" y="61"/>
                  </a:lnTo>
                  <a:lnTo>
                    <a:pt x="2685" y="61"/>
                  </a:lnTo>
                  <a:lnTo>
                    <a:pt x="2693" y="61"/>
                  </a:lnTo>
                  <a:lnTo>
                    <a:pt x="2693" y="61"/>
                  </a:lnTo>
                  <a:lnTo>
                    <a:pt x="2693" y="61"/>
                  </a:lnTo>
                  <a:lnTo>
                    <a:pt x="2693" y="61"/>
                  </a:lnTo>
                  <a:lnTo>
                    <a:pt x="2700" y="61"/>
                  </a:lnTo>
                  <a:lnTo>
                    <a:pt x="2700" y="61"/>
                  </a:lnTo>
                  <a:lnTo>
                    <a:pt x="2708" y="61"/>
                  </a:lnTo>
                  <a:lnTo>
                    <a:pt x="2708" y="61"/>
                  </a:lnTo>
                  <a:lnTo>
                    <a:pt x="2716" y="61"/>
                  </a:lnTo>
                  <a:lnTo>
                    <a:pt x="2716" y="61"/>
                  </a:lnTo>
                  <a:lnTo>
                    <a:pt x="2716" y="61"/>
                  </a:lnTo>
                  <a:lnTo>
                    <a:pt x="2716" y="61"/>
                  </a:lnTo>
                  <a:lnTo>
                    <a:pt x="2723" y="61"/>
                  </a:lnTo>
                  <a:lnTo>
                    <a:pt x="2723" y="61"/>
                  </a:lnTo>
                  <a:lnTo>
                    <a:pt x="2731" y="61"/>
                  </a:lnTo>
                  <a:lnTo>
                    <a:pt x="2731" y="61"/>
                  </a:lnTo>
                  <a:lnTo>
                    <a:pt x="2739" y="61"/>
                  </a:lnTo>
                  <a:lnTo>
                    <a:pt x="2739" y="61"/>
                  </a:lnTo>
                  <a:lnTo>
                    <a:pt x="2746" y="61"/>
                  </a:lnTo>
                  <a:lnTo>
                    <a:pt x="2746" y="61"/>
                  </a:lnTo>
                  <a:lnTo>
                    <a:pt x="2746" y="61"/>
                  </a:lnTo>
                  <a:lnTo>
                    <a:pt x="2746" y="61"/>
                  </a:lnTo>
                  <a:lnTo>
                    <a:pt x="2754" y="61"/>
                  </a:lnTo>
                  <a:lnTo>
                    <a:pt x="2754" y="61"/>
                  </a:lnTo>
                  <a:lnTo>
                    <a:pt x="2762" y="61"/>
                  </a:lnTo>
                  <a:lnTo>
                    <a:pt x="2762" y="61"/>
                  </a:lnTo>
                  <a:lnTo>
                    <a:pt x="2769" y="61"/>
                  </a:lnTo>
                  <a:lnTo>
                    <a:pt x="2769" y="61"/>
                  </a:lnTo>
                  <a:lnTo>
                    <a:pt x="2769" y="61"/>
                  </a:lnTo>
                  <a:lnTo>
                    <a:pt x="2769" y="61"/>
                  </a:lnTo>
                  <a:lnTo>
                    <a:pt x="2777" y="61"/>
                  </a:lnTo>
                  <a:lnTo>
                    <a:pt x="2777" y="61"/>
                  </a:lnTo>
                  <a:lnTo>
                    <a:pt x="2785" y="61"/>
                  </a:lnTo>
                  <a:lnTo>
                    <a:pt x="2785" y="61"/>
                  </a:lnTo>
                  <a:lnTo>
                    <a:pt x="2792" y="61"/>
                  </a:lnTo>
                  <a:lnTo>
                    <a:pt x="2792" y="61"/>
                  </a:lnTo>
                  <a:lnTo>
                    <a:pt x="2792" y="61"/>
                  </a:lnTo>
                  <a:lnTo>
                    <a:pt x="2792" y="61"/>
                  </a:lnTo>
                  <a:lnTo>
                    <a:pt x="2800" y="61"/>
                  </a:lnTo>
                  <a:lnTo>
                    <a:pt x="2800" y="54"/>
                  </a:lnTo>
                  <a:lnTo>
                    <a:pt x="2808" y="54"/>
                  </a:lnTo>
                  <a:lnTo>
                    <a:pt x="2808" y="54"/>
                  </a:lnTo>
                  <a:lnTo>
                    <a:pt x="2815" y="54"/>
                  </a:lnTo>
                  <a:lnTo>
                    <a:pt x="2815" y="54"/>
                  </a:lnTo>
                  <a:lnTo>
                    <a:pt x="2815" y="54"/>
                  </a:lnTo>
                  <a:lnTo>
                    <a:pt x="2815" y="54"/>
                  </a:lnTo>
                  <a:lnTo>
                    <a:pt x="2823" y="54"/>
                  </a:lnTo>
                  <a:lnTo>
                    <a:pt x="2823" y="54"/>
                  </a:lnTo>
                  <a:lnTo>
                    <a:pt x="2831" y="54"/>
                  </a:lnTo>
                  <a:lnTo>
                    <a:pt x="2831" y="54"/>
                  </a:lnTo>
                  <a:lnTo>
                    <a:pt x="2838" y="54"/>
                  </a:lnTo>
                  <a:lnTo>
                    <a:pt x="2838" y="54"/>
                  </a:lnTo>
                  <a:lnTo>
                    <a:pt x="2846" y="54"/>
                  </a:lnTo>
                  <a:lnTo>
                    <a:pt x="2846" y="54"/>
                  </a:lnTo>
                  <a:lnTo>
                    <a:pt x="2846" y="54"/>
                  </a:lnTo>
                  <a:lnTo>
                    <a:pt x="2846" y="54"/>
                  </a:lnTo>
                  <a:lnTo>
                    <a:pt x="2854" y="54"/>
                  </a:lnTo>
                  <a:lnTo>
                    <a:pt x="2854" y="54"/>
                  </a:lnTo>
                  <a:lnTo>
                    <a:pt x="2861" y="54"/>
                  </a:lnTo>
                  <a:lnTo>
                    <a:pt x="2861" y="54"/>
                  </a:lnTo>
                  <a:lnTo>
                    <a:pt x="2869" y="54"/>
                  </a:lnTo>
                  <a:lnTo>
                    <a:pt x="2869" y="54"/>
                  </a:lnTo>
                  <a:lnTo>
                    <a:pt x="2869" y="54"/>
                  </a:lnTo>
                  <a:lnTo>
                    <a:pt x="2869" y="54"/>
                  </a:lnTo>
                  <a:lnTo>
                    <a:pt x="2877" y="54"/>
                  </a:lnTo>
                  <a:lnTo>
                    <a:pt x="2877" y="54"/>
                  </a:lnTo>
                  <a:lnTo>
                    <a:pt x="2884" y="54"/>
                  </a:lnTo>
                  <a:lnTo>
                    <a:pt x="2884" y="54"/>
                  </a:lnTo>
                  <a:lnTo>
                    <a:pt x="2892" y="54"/>
                  </a:lnTo>
                  <a:lnTo>
                    <a:pt x="2892" y="54"/>
                  </a:lnTo>
                  <a:lnTo>
                    <a:pt x="2892" y="54"/>
                  </a:lnTo>
                  <a:lnTo>
                    <a:pt x="2892" y="54"/>
                  </a:lnTo>
                  <a:lnTo>
                    <a:pt x="2900" y="54"/>
                  </a:lnTo>
                  <a:lnTo>
                    <a:pt x="2900" y="54"/>
                  </a:lnTo>
                  <a:lnTo>
                    <a:pt x="2907" y="54"/>
                  </a:lnTo>
                  <a:lnTo>
                    <a:pt x="2907" y="54"/>
                  </a:lnTo>
                  <a:lnTo>
                    <a:pt x="2915" y="54"/>
                  </a:lnTo>
                  <a:lnTo>
                    <a:pt x="2915" y="54"/>
                  </a:lnTo>
                  <a:lnTo>
                    <a:pt x="2923" y="54"/>
                  </a:lnTo>
                  <a:lnTo>
                    <a:pt x="2923" y="54"/>
                  </a:lnTo>
                  <a:lnTo>
                    <a:pt x="2923" y="54"/>
                  </a:lnTo>
                  <a:lnTo>
                    <a:pt x="2923" y="54"/>
                  </a:lnTo>
                  <a:lnTo>
                    <a:pt x="2930" y="54"/>
                  </a:lnTo>
                  <a:lnTo>
                    <a:pt x="2930" y="54"/>
                  </a:lnTo>
                  <a:lnTo>
                    <a:pt x="2938" y="54"/>
                  </a:lnTo>
                  <a:lnTo>
                    <a:pt x="2938" y="54"/>
                  </a:lnTo>
                  <a:lnTo>
                    <a:pt x="2946" y="54"/>
                  </a:lnTo>
                  <a:lnTo>
                    <a:pt x="2946" y="54"/>
                  </a:lnTo>
                  <a:lnTo>
                    <a:pt x="2946" y="54"/>
                  </a:lnTo>
                  <a:lnTo>
                    <a:pt x="2946" y="54"/>
                  </a:lnTo>
                  <a:lnTo>
                    <a:pt x="2953" y="54"/>
                  </a:lnTo>
                  <a:lnTo>
                    <a:pt x="2953" y="54"/>
                  </a:lnTo>
                  <a:lnTo>
                    <a:pt x="2961" y="54"/>
                  </a:lnTo>
                  <a:lnTo>
                    <a:pt x="2961" y="54"/>
                  </a:lnTo>
                  <a:lnTo>
                    <a:pt x="2969" y="54"/>
                  </a:lnTo>
                  <a:lnTo>
                    <a:pt x="2969" y="54"/>
                  </a:lnTo>
                  <a:lnTo>
                    <a:pt x="2969" y="54"/>
                  </a:lnTo>
                  <a:lnTo>
                    <a:pt x="2969" y="54"/>
                  </a:lnTo>
                  <a:lnTo>
                    <a:pt x="2976" y="54"/>
                  </a:lnTo>
                  <a:lnTo>
                    <a:pt x="2976" y="54"/>
                  </a:lnTo>
                  <a:lnTo>
                    <a:pt x="2984" y="54"/>
                  </a:lnTo>
                  <a:lnTo>
                    <a:pt x="2984" y="54"/>
                  </a:lnTo>
                  <a:lnTo>
                    <a:pt x="2992" y="54"/>
                  </a:lnTo>
                  <a:lnTo>
                    <a:pt x="2992" y="54"/>
                  </a:lnTo>
                  <a:lnTo>
                    <a:pt x="2992" y="54"/>
                  </a:lnTo>
                  <a:lnTo>
                    <a:pt x="2992" y="46"/>
                  </a:lnTo>
                  <a:lnTo>
                    <a:pt x="3000" y="46"/>
                  </a:lnTo>
                  <a:lnTo>
                    <a:pt x="3000" y="46"/>
                  </a:lnTo>
                  <a:lnTo>
                    <a:pt x="3007" y="46"/>
                  </a:lnTo>
                  <a:lnTo>
                    <a:pt x="3007" y="46"/>
                  </a:lnTo>
                  <a:lnTo>
                    <a:pt x="3015" y="46"/>
                  </a:lnTo>
                  <a:lnTo>
                    <a:pt x="3015" y="46"/>
                  </a:lnTo>
                  <a:lnTo>
                    <a:pt x="3023" y="46"/>
                  </a:lnTo>
                  <a:lnTo>
                    <a:pt x="3023" y="46"/>
                  </a:lnTo>
                  <a:lnTo>
                    <a:pt x="3023" y="46"/>
                  </a:lnTo>
                  <a:lnTo>
                    <a:pt x="3023" y="46"/>
                  </a:lnTo>
                  <a:lnTo>
                    <a:pt x="3030" y="46"/>
                  </a:lnTo>
                  <a:lnTo>
                    <a:pt x="3030" y="46"/>
                  </a:lnTo>
                  <a:lnTo>
                    <a:pt x="3038" y="46"/>
                  </a:lnTo>
                  <a:lnTo>
                    <a:pt x="3038" y="46"/>
                  </a:lnTo>
                  <a:lnTo>
                    <a:pt x="3046" y="46"/>
                  </a:lnTo>
                  <a:lnTo>
                    <a:pt x="3046" y="46"/>
                  </a:lnTo>
                  <a:lnTo>
                    <a:pt x="3046" y="46"/>
                  </a:lnTo>
                  <a:lnTo>
                    <a:pt x="3046" y="46"/>
                  </a:lnTo>
                  <a:lnTo>
                    <a:pt x="3053" y="46"/>
                  </a:lnTo>
                  <a:lnTo>
                    <a:pt x="3053" y="46"/>
                  </a:lnTo>
                  <a:lnTo>
                    <a:pt x="3061" y="46"/>
                  </a:lnTo>
                  <a:lnTo>
                    <a:pt x="3061" y="46"/>
                  </a:lnTo>
                  <a:lnTo>
                    <a:pt x="3069" y="46"/>
                  </a:lnTo>
                  <a:lnTo>
                    <a:pt x="3069" y="46"/>
                  </a:lnTo>
                  <a:lnTo>
                    <a:pt x="3069" y="46"/>
                  </a:lnTo>
                  <a:lnTo>
                    <a:pt x="3069" y="46"/>
                  </a:lnTo>
                  <a:lnTo>
                    <a:pt x="3076" y="46"/>
                  </a:lnTo>
                  <a:lnTo>
                    <a:pt x="3076" y="46"/>
                  </a:lnTo>
                  <a:lnTo>
                    <a:pt x="3084" y="46"/>
                  </a:lnTo>
                  <a:lnTo>
                    <a:pt x="3084" y="46"/>
                  </a:lnTo>
                  <a:lnTo>
                    <a:pt x="3092" y="46"/>
                  </a:lnTo>
                  <a:lnTo>
                    <a:pt x="3092" y="46"/>
                  </a:lnTo>
                  <a:lnTo>
                    <a:pt x="3099" y="46"/>
                  </a:lnTo>
                  <a:lnTo>
                    <a:pt x="3099" y="46"/>
                  </a:lnTo>
                  <a:lnTo>
                    <a:pt x="3099" y="46"/>
                  </a:lnTo>
                  <a:lnTo>
                    <a:pt x="3099" y="46"/>
                  </a:lnTo>
                  <a:lnTo>
                    <a:pt x="3107" y="46"/>
                  </a:lnTo>
                  <a:lnTo>
                    <a:pt x="3107" y="46"/>
                  </a:lnTo>
                  <a:lnTo>
                    <a:pt x="3115" y="46"/>
                  </a:lnTo>
                  <a:lnTo>
                    <a:pt x="3115" y="46"/>
                  </a:lnTo>
                  <a:lnTo>
                    <a:pt x="3122" y="46"/>
                  </a:lnTo>
                  <a:lnTo>
                    <a:pt x="3122" y="46"/>
                  </a:lnTo>
                  <a:lnTo>
                    <a:pt x="3122" y="46"/>
                  </a:lnTo>
                  <a:lnTo>
                    <a:pt x="3122" y="46"/>
                  </a:lnTo>
                  <a:lnTo>
                    <a:pt x="3130" y="46"/>
                  </a:lnTo>
                  <a:lnTo>
                    <a:pt x="3130" y="46"/>
                  </a:lnTo>
                  <a:lnTo>
                    <a:pt x="3138" y="46"/>
                  </a:lnTo>
                  <a:lnTo>
                    <a:pt x="3138" y="46"/>
                  </a:lnTo>
                  <a:lnTo>
                    <a:pt x="3145" y="46"/>
                  </a:lnTo>
                  <a:lnTo>
                    <a:pt x="3145" y="46"/>
                  </a:lnTo>
                  <a:lnTo>
                    <a:pt x="3145" y="46"/>
                  </a:lnTo>
                  <a:lnTo>
                    <a:pt x="3145" y="46"/>
                  </a:lnTo>
                  <a:lnTo>
                    <a:pt x="3153" y="46"/>
                  </a:lnTo>
                  <a:lnTo>
                    <a:pt x="3153" y="46"/>
                  </a:lnTo>
                  <a:lnTo>
                    <a:pt x="3161" y="46"/>
                  </a:lnTo>
                  <a:lnTo>
                    <a:pt x="3161" y="46"/>
                  </a:lnTo>
                  <a:lnTo>
                    <a:pt x="3168" y="46"/>
                  </a:lnTo>
                  <a:lnTo>
                    <a:pt x="3168" y="46"/>
                  </a:lnTo>
                  <a:lnTo>
                    <a:pt x="3168" y="46"/>
                  </a:lnTo>
                  <a:lnTo>
                    <a:pt x="3168" y="46"/>
                  </a:lnTo>
                  <a:lnTo>
                    <a:pt x="3176" y="46"/>
                  </a:lnTo>
                  <a:lnTo>
                    <a:pt x="3176" y="46"/>
                  </a:lnTo>
                  <a:lnTo>
                    <a:pt x="3184" y="46"/>
                  </a:lnTo>
                  <a:lnTo>
                    <a:pt x="3184" y="46"/>
                  </a:lnTo>
                  <a:lnTo>
                    <a:pt x="3191" y="46"/>
                  </a:lnTo>
                  <a:lnTo>
                    <a:pt x="3191" y="46"/>
                  </a:lnTo>
                  <a:lnTo>
                    <a:pt x="3199" y="46"/>
                  </a:lnTo>
                  <a:lnTo>
                    <a:pt x="3199" y="46"/>
                  </a:lnTo>
                  <a:lnTo>
                    <a:pt x="3199" y="46"/>
                  </a:lnTo>
                  <a:lnTo>
                    <a:pt x="3199" y="46"/>
                  </a:lnTo>
                  <a:lnTo>
                    <a:pt x="3207" y="46"/>
                  </a:lnTo>
                  <a:lnTo>
                    <a:pt x="3207" y="46"/>
                  </a:lnTo>
                  <a:lnTo>
                    <a:pt x="3214" y="46"/>
                  </a:lnTo>
                  <a:lnTo>
                    <a:pt x="3214" y="46"/>
                  </a:lnTo>
                  <a:lnTo>
                    <a:pt x="3222" y="46"/>
                  </a:lnTo>
                  <a:lnTo>
                    <a:pt x="3222" y="46"/>
                  </a:lnTo>
                  <a:lnTo>
                    <a:pt x="3222" y="46"/>
                  </a:lnTo>
                  <a:lnTo>
                    <a:pt x="3222" y="46"/>
                  </a:lnTo>
                  <a:lnTo>
                    <a:pt x="3230" y="46"/>
                  </a:lnTo>
                  <a:lnTo>
                    <a:pt x="3230" y="46"/>
                  </a:lnTo>
                  <a:lnTo>
                    <a:pt x="3237" y="46"/>
                  </a:lnTo>
                  <a:lnTo>
                    <a:pt x="3237" y="46"/>
                  </a:lnTo>
                  <a:lnTo>
                    <a:pt x="3245" y="46"/>
                  </a:lnTo>
                  <a:lnTo>
                    <a:pt x="3245" y="46"/>
                  </a:lnTo>
                  <a:lnTo>
                    <a:pt x="3245" y="46"/>
                  </a:lnTo>
                  <a:lnTo>
                    <a:pt x="3245" y="46"/>
                  </a:lnTo>
                  <a:lnTo>
                    <a:pt x="3253" y="46"/>
                  </a:lnTo>
                  <a:lnTo>
                    <a:pt x="3253" y="46"/>
                  </a:lnTo>
                  <a:lnTo>
                    <a:pt x="3260" y="46"/>
                  </a:lnTo>
                  <a:lnTo>
                    <a:pt x="3260" y="46"/>
                  </a:lnTo>
                  <a:lnTo>
                    <a:pt x="3268" y="46"/>
                  </a:lnTo>
                  <a:lnTo>
                    <a:pt x="3268" y="46"/>
                  </a:lnTo>
                  <a:lnTo>
                    <a:pt x="3276" y="46"/>
                  </a:lnTo>
                  <a:lnTo>
                    <a:pt x="3276" y="46"/>
                  </a:lnTo>
                  <a:lnTo>
                    <a:pt x="3276" y="46"/>
                  </a:lnTo>
                  <a:lnTo>
                    <a:pt x="3276" y="38"/>
                  </a:lnTo>
                  <a:lnTo>
                    <a:pt x="3283" y="38"/>
                  </a:lnTo>
                  <a:lnTo>
                    <a:pt x="3283" y="38"/>
                  </a:lnTo>
                  <a:lnTo>
                    <a:pt x="3291" y="38"/>
                  </a:lnTo>
                  <a:lnTo>
                    <a:pt x="3291" y="38"/>
                  </a:lnTo>
                  <a:lnTo>
                    <a:pt x="3299" y="38"/>
                  </a:lnTo>
                  <a:lnTo>
                    <a:pt x="3299" y="38"/>
                  </a:lnTo>
                  <a:lnTo>
                    <a:pt x="3299" y="38"/>
                  </a:lnTo>
                  <a:lnTo>
                    <a:pt x="3299" y="38"/>
                  </a:lnTo>
                  <a:lnTo>
                    <a:pt x="3306" y="38"/>
                  </a:lnTo>
                  <a:lnTo>
                    <a:pt x="3306" y="38"/>
                  </a:lnTo>
                  <a:lnTo>
                    <a:pt x="3314" y="38"/>
                  </a:lnTo>
                  <a:lnTo>
                    <a:pt x="3314" y="38"/>
                  </a:lnTo>
                  <a:lnTo>
                    <a:pt x="3322" y="38"/>
                  </a:lnTo>
                  <a:lnTo>
                    <a:pt x="3322" y="38"/>
                  </a:lnTo>
                  <a:lnTo>
                    <a:pt x="3322" y="38"/>
                  </a:lnTo>
                  <a:lnTo>
                    <a:pt x="3322" y="38"/>
                  </a:lnTo>
                  <a:lnTo>
                    <a:pt x="3329" y="38"/>
                  </a:lnTo>
                  <a:lnTo>
                    <a:pt x="3329" y="38"/>
                  </a:lnTo>
                  <a:lnTo>
                    <a:pt x="3337" y="38"/>
                  </a:lnTo>
                  <a:lnTo>
                    <a:pt x="3337" y="38"/>
                  </a:lnTo>
                  <a:lnTo>
                    <a:pt x="3345" y="38"/>
                  </a:lnTo>
                  <a:lnTo>
                    <a:pt x="3345" y="38"/>
                  </a:lnTo>
                  <a:lnTo>
                    <a:pt x="3345" y="38"/>
                  </a:lnTo>
                  <a:lnTo>
                    <a:pt x="3345" y="38"/>
                  </a:lnTo>
                  <a:lnTo>
                    <a:pt x="3352" y="38"/>
                  </a:lnTo>
                  <a:lnTo>
                    <a:pt x="3352" y="38"/>
                  </a:lnTo>
                  <a:lnTo>
                    <a:pt x="3360" y="38"/>
                  </a:lnTo>
                  <a:lnTo>
                    <a:pt x="3360" y="38"/>
                  </a:lnTo>
                  <a:lnTo>
                    <a:pt x="3368" y="38"/>
                  </a:lnTo>
                  <a:lnTo>
                    <a:pt x="3368" y="38"/>
                  </a:lnTo>
                  <a:lnTo>
                    <a:pt x="3375" y="38"/>
                  </a:lnTo>
                  <a:lnTo>
                    <a:pt x="3375" y="38"/>
                  </a:lnTo>
                  <a:lnTo>
                    <a:pt x="3375" y="38"/>
                  </a:lnTo>
                  <a:lnTo>
                    <a:pt x="3375" y="38"/>
                  </a:lnTo>
                  <a:lnTo>
                    <a:pt x="3383" y="38"/>
                  </a:lnTo>
                  <a:lnTo>
                    <a:pt x="3383" y="38"/>
                  </a:lnTo>
                  <a:lnTo>
                    <a:pt x="3391" y="38"/>
                  </a:lnTo>
                  <a:lnTo>
                    <a:pt x="3391" y="38"/>
                  </a:lnTo>
                  <a:lnTo>
                    <a:pt x="3398" y="38"/>
                  </a:lnTo>
                  <a:lnTo>
                    <a:pt x="3398" y="38"/>
                  </a:lnTo>
                  <a:lnTo>
                    <a:pt x="3398" y="38"/>
                  </a:lnTo>
                  <a:lnTo>
                    <a:pt x="3398" y="38"/>
                  </a:lnTo>
                  <a:lnTo>
                    <a:pt x="3406" y="38"/>
                  </a:lnTo>
                  <a:lnTo>
                    <a:pt x="3406" y="38"/>
                  </a:lnTo>
                  <a:lnTo>
                    <a:pt x="3414" y="38"/>
                  </a:lnTo>
                  <a:lnTo>
                    <a:pt x="3414" y="38"/>
                  </a:lnTo>
                  <a:lnTo>
                    <a:pt x="3421" y="38"/>
                  </a:lnTo>
                  <a:lnTo>
                    <a:pt x="3421" y="31"/>
                  </a:lnTo>
                  <a:lnTo>
                    <a:pt x="3421" y="31"/>
                  </a:lnTo>
                  <a:lnTo>
                    <a:pt x="3421" y="31"/>
                  </a:lnTo>
                  <a:lnTo>
                    <a:pt x="3429" y="31"/>
                  </a:lnTo>
                  <a:lnTo>
                    <a:pt x="3429" y="31"/>
                  </a:lnTo>
                  <a:lnTo>
                    <a:pt x="3437" y="31"/>
                  </a:lnTo>
                  <a:lnTo>
                    <a:pt x="3437" y="31"/>
                  </a:lnTo>
                  <a:lnTo>
                    <a:pt x="3444" y="31"/>
                  </a:lnTo>
                  <a:lnTo>
                    <a:pt x="3444" y="31"/>
                  </a:lnTo>
                  <a:lnTo>
                    <a:pt x="3444" y="31"/>
                  </a:lnTo>
                  <a:lnTo>
                    <a:pt x="3444" y="31"/>
                  </a:lnTo>
                  <a:lnTo>
                    <a:pt x="3452" y="31"/>
                  </a:lnTo>
                  <a:lnTo>
                    <a:pt x="3452" y="31"/>
                  </a:lnTo>
                  <a:lnTo>
                    <a:pt x="3460" y="31"/>
                  </a:lnTo>
                  <a:lnTo>
                    <a:pt x="3460" y="31"/>
                  </a:lnTo>
                  <a:lnTo>
                    <a:pt x="3467" y="31"/>
                  </a:lnTo>
                  <a:lnTo>
                    <a:pt x="3467" y="31"/>
                  </a:lnTo>
                  <a:lnTo>
                    <a:pt x="3475" y="31"/>
                  </a:lnTo>
                  <a:lnTo>
                    <a:pt x="3475" y="31"/>
                  </a:lnTo>
                  <a:lnTo>
                    <a:pt x="3475" y="31"/>
                  </a:lnTo>
                  <a:lnTo>
                    <a:pt x="3475" y="31"/>
                  </a:lnTo>
                  <a:lnTo>
                    <a:pt x="3483" y="31"/>
                  </a:lnTo>
                  <a:lnTo>
                    <a:pt x="3483" y="31"/>
                  </a:lnTo>
                  <a:lnTo>
                    <a:pt x="3490" y="31"/>
                  </a:lnTo>
                  <a:lnTo>
                    <a:pt x="3490" y="31"/>
                  </a:lnTo>
                  <a:lnTo>
                    <a:pt x="3498" y="31"/>
                  </a:lnTo>
                  <a:lnTo>
                    <a:pt x="3498" y="31"/>
                  </a:lnTo>
                  <a:lnTo>
                    <a:pt x="3498" y="31"/>
                  </a:lnTo>
                  <a:lnTo>
                    <a:pt x="3498" y="31"/>
                  </a:lnTo>
                  <a:lnTo>
                    <a:pt x="3506" y="31"/>
                  </a:lnTo>
                  <a:lnTo>
                    <a:pt x="3506" y="31"/>
                  </a:lnTo>
                  <a:lnTo>
                    <a:pt x="3513" y="31"/>
                  </a:lnTo>
                  <a:lnTo>
                    <a:pt x="3513" y="31"/>
                  </a:lnTo>
                  <a:lnTo>
                    <a:pt x="3521" y="31"/>
                  </a:lnTo>
                  <a:lnTo>
                    <a:pt x="3521" y="31"/>
                  </a:lnTo>
                  <a:lnTo>
                    <a:pt x="3521" y="31"/>
                  </a:lnTo>
                  <a:lnTo>
                    <a:pt x="3521" y="31"/>
                  </a:lnTo>
                  <a:lnTo>
                    <a:pt x="3529" y="31"/>
                  </a:lnTo>
                  <a:lnTo>
                    <a:pt x="3529" y="31"/>
                  </a:lnTo>
                  <a:lnTo>
                    <a:pt x="3536" y="31"/>
                  </a:lnTo>
                  <a:lnTo>
                    <a:pt x="3536" y="31"/>
                  </a:lnTo>
                  <a:lnTo>
                    <a:pt x="3544" y="31"/>
                  </a:lnTo>
                  <a:lnTo>
                    <a:pt x="3544" y="31"/>
                  </a:lnTo>
                  <a:lnTo>
                    <a:pt x="3552" y="31"/>
                  </a:lnTo>
                  <a:lnTo>
                    <a:pt x="3552" y="31"/>
                  </a:lnTo>
                  <a:lnTo>
                    <a:pt x="3552" y="31"/>
                  </a:lnTo>
                  <a:lnTo>
                    <a:pt x="3552" y="31"/>
                  </a:lnTo>
                  <a:lnTo>
                    <a:pt x="3559" y="31"/>
                  </a:lnTo>
                  <a:lnTo>
                    <a:pt x="3559" y="31"/>
                  </a:lnTo>
                  <a:lnTo>
                    <a:pt x="3567" y="31"/>
                  </a:lnTo>
                  <a:lnTo>
                    <a:pt x="3567" y="31"/>
                  </a:lnTo>
                  <a:lnTo>
                    <a:pt x="3575" y="31"/>
                  </a:lnTo>
                  <a:lnTo>
                    <a:pt x="3575" y="31"/>
                  </a:lnTo>
                  <a:lnTo>
                    <a:pt x="3575" y="31"/>
                  </a:lnTo>
                  <a:lnTo>
                    <a:pt x="3575" y="31"/>
                  </a:lnTo>
                  <a:lnTo>
                    <a:pt x="3582" y="31"/>
                  </a:lnTo>
                  <a:lnTo>
                    <a:pt x="3582" y="31"/>
                  </a:lnTo>
                  <a:lnTo>
                    <a:pt x="3590" y="31"/>
                  </a:lnTo>
                  <a:lnTo>
                    <a:pt x="3590" y="31"/>
                  </a:lnTo>
                  <a:lnTo>
                    <a:pt x="3598" y="31"/>
                  </a:lnTo>
                  <a:lnTo>
                    <a:pt x="3598" y="31"/>
                  </a:lnTo>
                  <a:lnTo>
                    <a:pt x="3598" y="31"/>
                  </a:lnTo>
                  <a:lnTo>
                    <a:pt x="3598" y="31"/>
                  </a:lnTo>
                  <a:lnTo>
                    <a:pt x="3606" y="31"/>
                  </a:lnTo>
                  <a:lnTo>
                    <a:pt x="3606" y="31"/>
                  </a:lnTo>
                  <a:lnTo>
                    <a:pt x="3613" y="31"/>
                  </a:lnTo>
                  <a:lnTo>
                    <a:pt x="3613" y="31"/>
                  </a:lnTo>
                  <a:lnTo>
                    <a:pt x="3621" y="31"/>
                  </a:lnTo>
                  <a:lnTo>
                    <a:pt x="3621" y="31"/>
                  </a:lnTo>
                  <a:lnTo>
                    <a:pt x="3621" y="31"/>
                  </a:lnTo>
                  <a:lnTo>
                    <a:pt x="3621" y="31"/>
                  </a:lnTo>
                  <a:lnTo>
                    <a:pt x="3629" y="31"/>
                  </a:lnTo>
                  <a:lnTo>
                    <a:pt x="3629" y="31"/>
                  </a:lnTo>
                  <a:lnTo>
                    <a:pt x="3636" y="31"/>
                  </a:lnTo>
                  <a:lnTo>
                    <a:pt x="3636" y="31"/>
                  </a:lnTo>
                  <a:lnTo>
                    <a:pt x="3644" y="31"/>
                  </a:lnTo>
                  <a:lnTo>
                    <a:pt x="3644" y="31"/>
                  </a:lnTo>
                  <a:lnTo>
                    <a:pt x="3652" y="31"/>
                  </a:lnTo>
                  <a:lnTo>
                    <a:pt x="3652" y="31"/>
                  </a:lnTo>
                  <a:lnTo>
                    <a:pt x="3652" y="31"/>
                  </a:lnTo>
                  <a:lnTo>
                    <a:pt x="3652" y="31"/>
                  </a:lnTo>
                  <a:lnTo>
                    <a:pt x="3659" y="31"/>
                  </a:lnTo>
                  <a:lnTo>
                    <a:pt x="3659" y="31"/>
                  </a:lnTo>
                  <a:lnTo>
                    <a:pt x="3667" y="31"/>
                  </a:lnTo>
                  <a:lnTo>
                    <a:pt x="3667" y="31"/>
                  </a:lnTo>
                  <a:lnTo>
                    <a:pt x="3675" y="31"/>
                  </a:lnTo>
                  <a:lnTo>
                    <a:pt x="3675" y="31"/>
                  </a:lnTo>
                  <a:lnTo>
                    <a:pt x="3675" y="31"/>
                  </a:lnTo>
                  <a:lnTo>
                    <a:pt x="3675" y="31"/>
                  </a:lnTo>
                  <a:lnTo>
                    <a:pt x="3682" y="31"/>
                  </a:lnTo>
                  <a:lnTo>
                    <a:pt x="3682" y="31"/>
                  </a:lnTo>
                  <a:lnTo>
                    <a:pt x="3690" y="31"/>
                  </a:lnTo>
                  <a:lnTo>
                    <a:pt x="3690" y="31"/>
                  </a:lnTo>
                  <a:lnTo>
                    <a:pt x="3698" y="31"/>
                  </a:lnTo>
                  <a:lnTo>
                    <a:pt x="3698" y="31"/>
                  </a:lnTo>
                  <a:lnTo>
                    <a:pt x="3698" y="31"/>
                  </a:lnTo>
                  <a:lnTo>
                    <a:pt x="3698" y="31"/>
                  </a:lnTo>
                  <a:lnTo>
                    <a:pt x="3705" y="31"/>
                  </a:lnTo>
                  <a:lnTo>
                    <a:pt x="3705" y="31"/>
                  </a:lnTo>
                  <a:lnTo>
                    <a:pt x="3713" y="31"/>
                  </a:lnTo>
                  <a:lnTo>
                    <a:pt x="3713" y="31"/>
                  </a:lnTo>
                  <a:lnTo>
                    <a:pt x="3721" y="31"/>
                  </a:lnTo>
                  <a:lnTo>
                    <a:pt x="3721" y="31"/>
                  </a:lnTo>
                  <a:lnTo>
                    <a:pt x="3728" y="31"/>
                  </a:lnTo>
                  <a:lnTo>
                    <a:pt x="3728" y="31"/>
                  </a:lnTo>
                  <a:lnTo>
                    <a:pt x="3728" y="31"/>
                  </a:lnTo>
                  <a:lnTo>
                    <a:pt x="3728" y="31"/>
                  </a:lnTo>
                  <a:lnTo>
                    <a:pt x="3736" y="31"/>
                  </a:lnTo>
                  <a:lnTo>
                    <a:pt x="3736" y="31"/>
                  </a:lnTo>
                  <a:lnTo>
                    <a:pt x="3744" y="31"/>
                  </a:lnTo>
                  <a:lnTo>
                    <a:pt x="3744" y="31"/>
                  </a:lnTo>
                  <a:lnTo>
                    <a:pt x="3751" y="31"/>
                  </a:lnTo>
                  <a:lnTo>
                    <a:pt x="3751" y="31"/>
                  </a:lnTo>
                  <a:lnTo>
                    <a:pt x="3751" y="31"/>
                  </a:lnTo>
                  <a:lnTo>
                    <a:pt x="3751" y="31"/>
                  </a:lnTo>
                  <a:lnTo>
                    <a:pt x="3759" y="31"/>
                  </a:lnTo>
                  <a:lnTo>
                    <a:pt x="3759" y="31"/>
                  </a:lnTo>
                  <a:lnTo>
                    <a:pt x="3767" y="31"/>
                  </a:lnTo>
                  <a:lnTo>
                    <a:pt x="3767" y="31"/>
                  </a:lnTo>
                  <a:lnTo>
                    <a:pt x="3774" y="31"/>
                  </a:lnTo>
                  <a:lnTo>
                    <a:pt x="3774" y="31"/>
                  </a:lnTo>
                  <a:lnTo>
                    <a:pt x="3774" y="31"/>
                  </a:lnTo>
                  <a:lnTo>
                    <a:pt x="3774" y="31"/>
                  </a:lnTo>
                  <a:lnTo>
                    <a:pt x="3782" y="31"/>
                  </a:lnTo>
                  <a:lnTo>
                    <a:pt x="3782" y="23"/>
                  </a:lnTo>
                  <a:lnTo>
                    <a:pt x="3790" y="23"/>
                  </a:lnTo>
                  <a:lnTo>
                    <a:pt x="3790" y="23"/>
                  </a:lnTo>
                  <a:lnTo>
                    <a:pt x="3797" y="23"/>
                  </a:lnTo>
                  <a:lnTo>
                    <a:pt x="3797" y="23"/>
                  </a:lnTo>
                  <a:lnTo>
                    <a:pt x="3797" y="23"/>
                  </a:lnTo>
                  <a:lnTo>
                    <a:pt x="3797" y="23"/>
                  </a:lnTo>
                  <a:lnTo>
                    <a:pt x="3805" y="23"/>
                  </a:lnTo>
                  <a:lnTo>
                    <a:pt x="3805" y="23"/>
                  </a:lnTo>
                  <a:lnTo>
                    <a:pt x="3813" y="23"/>
                  </a:lnTo>
                  <a:lnTo>
                    <a:pt x="3813" y="23"/>
                  </a:lnTo>
                  <a:lnTo>
                    <a:pt x="3820" y="23"/>
                  </a:lnTo>
                  <a:lnTo>
                    <a:pt x="3820" y="23"/>
                  </a:lnTo>
                  <a:lnTo>
                    <a:pt x="3828" y="23"/>
                  </a:lnTo>
                  <a:lnTo>
                    <a:pt x="3828" y="23"/>
                  </a:lnTo>
                  <a:lnTo>
                    <a:pt x="3828" y="23"/>
                  </a:lnTo>
                  <a:lnTo>
                    <a:pt x="3828" y="23"/>
                  </a:lnTo>
                  <a:lnTo>
                    <a:pt x="3836" y="23"/>
                  </a:lnTo>
                  <a:lnTo>
                    <a:pt x="3836" y="23"/>
                  </a:lnTo>
                  <a:lnTo>
                    <a:pt x="3843" y="23"/>
                  </a:lnTo>
                  <a:lnTo>
                    <a:pt x="3843" y="23"/>
                  </a:lnTo>
                  <a:lnTo>
                    <a:pt x="3851" y="23"/>
                  </a:lnTo>
                  <a:lnTo>
                    <a:pt x="3851" y="23"/>
                  </a:lnTo>
                  <a:lnTo>
                    <a:pt x="3851" y="23"/>
                  </a:lnTo>
                  <a:lnTo>
                    <a:pt x="3851" y="23"/>
                  </a:lnTo>
                  <a:lnTo>
                    <a:pt x="3859" y="23"/>
                  </a:lnTo>
                  <a:lnTo>
                    <a:pt x="3859" y="23"/>
                  </a:lnTo>
                  <a:lnTo>
                    <a:pt x="3866" y="23"/>
                  </a:lnTo>
                  <a:lnTo>
                    <a:pt x="3866" y="23"/>
                  </a:lnTo>
                  <a:lnTo>
                    <a:pt x="3874" y="23"/>
                  </a:lnTo>
                  <a:lnTo>
                    <a:pt x="3874" y="23"/>
                  </a:lnTo>
                  <a:lnTo>
                    <a:pt x="3874" y="23"/>
                  </a:lnTo>
                  <a:lnTo>
                    <a:pt x="3874" y="15"/>
                  </a:lnTo>
                  <a:lnTo>
                    <a:pt x="3882" y="15"/>
                  </a:lnTo>
                  <a:lnTo>
                    <a:pt x="3882" y="15"/>
                  </a:lnTo>
                  <a:lnTo>
                    <a:pt x="3889" y="15"/>
                  </a:lnTo>
                  <a:lnTo>
                    <a:pt x="3889" y="15"/>
                  </a:lnTo>
                  <a:lnTo>
                    <a:pt x="3897" y="15"/>
                  </a:lnTo>
                  <a:lnTo>
                    <a:pt x="3897" y="15"/>
                  </a:lnTo>
                  <a:lnTo>
                    <a:pt x="3905" y="15"/>
                  </a:lnTo>
                  <a:lnTo>
                    <a:pt x="3905" y="15"/>
                  </a:lnTo>
                  <a:lnTo>
                    <a:pt x="3905" y="15"/>
                  </a:lnTo>
                  <a:lnTo>
                    <a:pt x="3905" y="15"/>
                  </a:lnTo>
                  <a:lnTo>
                    <a:pt x="3912" y="15"/>
                  </a:lnTo>
                  <a:lnTo>
                    <a:pt x="3912" y="15"/>
                  </a:lnTo>
                  <a:lnTo>
                    <a:pt x="3920" y="15"/>
                  </a:lnTo>
                  <a:lnTo>
                    <a:pt x="3920" y="15"/>
                  </a:lnTo>
                  <a:lnTo>
                    <a:pt x="3928" y="15"/>
                  </a:lnTo>
                  <a:lnTo>
                    <a:pt x="3928" y="15"/>
                  </a:lnTo>
                  <a:lnTo>
                    <a:pt x="3928" y="15"/>
                  </a:lnTo>
                  <a:lnTo>
                    <a:pt x="3928" y="15"/>
                  </a:lnTo>
                  <a:lnTo>
                    <a:pt x="3935" y="15"/>
                  </a:lnTo>
                  <a:lnTo>
                    <a:pt x="3935" y="15"/>
                  </a:lnTo>
                  <a:lnTo>
                    <a:pt x="3943" y="15"/>
                  </a:lnTo>
                  <a:lnTo>
                    <a:pt x="3943" y="15"/>
                  </a:lnTo>
                  <a:lnTo>
                    <a:pt x="3951" y="15"/>
                  </a:lnTo>
                  <a:lnTo>
                    <a:pt x="3951" y="15"/>
                  </a:lnTo>
                  <a:lnTo>
                    <a:pt x="3951" y="15"/>
                  </a:lnTo>
                  <a:lnTo>
                    <a:pt x="3951" y="15"/>
                  </a:lnTo>
                  <a:lnTo>
                    <a:pt x="3958" y="15"/>
                  </a:lnTo>
                  <a:lnTo>
                    <a:pt x="3958" y="15"/>
                  </a:lnTo>
                  <a:lnTo>
                    <a:pt x="3966" y="15"/>
                  </a:lnTo>
                  <a:lnTo>
                    <a:pt x="3966" y="15"/>
                  </a:lnTo>
                  <a:lnTo>
                    <a:pt x="3974" y="15"/>
                  </a:lnTo>
                  <a:lnTo>
                    <a:pt x="3974" y="15"/>
                  </a:lnTo>
                  <a:lnTo>
                    <a:pt x="3974" y="15"/>
                  </a:lnTo>
                  <a:lnTo>
                    <a:pt x="3974" y="15"/>
                  </a:lnTo>
                  <a:lnTo>
                    <a:pt x="3981" y="15"/>
                  </a:lnTo>
                  <a:lnTo>
                    <a:pt x="3981" y="15"/>
                  </a:lnTo>
                  <a:lnTo>
                    <a:pt x="3989" y="15"/>
                  </a:lnTo>
                  <a:lnTo>
                    <a:pt x="3989" y="15"/>
                  </a:lnTo>
                  <a:lnTo>
                    <a:pt x="3997" y="15"/>
                  </a:lnTo>
                  <a:lnTo>
                    <a:pt x="3997" y="15"/>
                  </a:lnTo>
                  <a:lnTo>
                    <a:pt x="4004" y="15"/>
                  </a:lnTo>
                  <a:lnTo>
                    <a:pt x="4004" y="15"/>
                  </a:lnTo>
                  <a:lnTo>
                    <a:pt x="4004" y="15"/>
                  </a:lnTo>
                  <a:lnTo>
                    <a:pt x="4004" y="15"/>
                  </a:lnTo>
                  <a:lnTo>
                    <a:pt x="4012" y="15"/>
                  </a:lnTo>
                  <a:lnTo>
                    <a:pt x="4012" y="15"/>
                  </a:lnTo>
                  <a:lnTo>
                    <a:pt x="4020" y="15"/>
                  </a:lnTo>
                  <a:lnTo>
                    <a:pt x="4020" y="15"/>
                  </a:lnTo>
                  <a:lnTo>
                    <a:pt x="4027" y="15"/>
                  </a:lnTo>
                  <a:lnTo>
                    <a:pt x="4027" y="15"/>
                  </a:lnTo>
                  <a:lnTo>
                    <a:pt x="4027" y="15"/>
                  </a:lnTo>
                  <a:lnTo>
                    <a:pt x="4027" y="15"/>
                  </a:lnTo>
                  <a:lnTo>
                    <a:pt x="4035" y="15"/>
                  </a:lnTo>
                  <a:lnTo>
                    <a:pt x="4035" y="15"/>
                  </a:lnTo>
                  <a:lnTo>
                    <a:pt x="4043" y="15"/>
                  </a:lnTo>
                  <a:lnTo>
                    <a:pt x="4043" y="15"/>
                  </a:lnTo>
                  <a:lnTo>
                    <a:pt x="4050" y="15"/>
                  </a:lnTo>
                  <a:lnTo>
                    <a:pt x="4050" y="15"/>
                  </a:lnTo>
                  <a:lnTo>
                    <a:pt x="4050" y="15"/>
                  </a:lnTo>
                  <a:lnTo>
                    <a:pt x="4050" y="15"/>
                  </a:lnTo>
                  <a:lnTo>
                    <a:pt x="4058" y="15"/>
                  </a:lnTo>
                  <a:lnTo>
                    <a:pt x="4058" y="15"/>
                  </a:lnTo>
                  <a:lnTo>
                    <a:pt x="4066" y="15"/>
                  </a:lnTo>
                  <a:lnTo>
                    <a:pt x="4066" y="15"/>
                  </a:lnTo>
                  <a:lnTo>
                    <a:pt x="4073" y="15"/>
                  </a:lnTo>
                  <a:lnTo>
                    <a:pt x="4073" y="15"/>
                  </a:lnTo>
                  <a:lnTo>
                    <a:pt x="4081" y="15"/>
                  </a:lnTo>
                  <a:lnTo>
                    <a:pt x="4081" y="15"/>
                  </a:lnTo>
                  <a:lnTo>
                    <a:pt x="4081" y="15"/>
                  </a:lnTo>
                  <a:lnTo>
                    <a:pt x="4081" y="15"/>
                  </a:lnTo>
                  <a:lnTo>
                    <a:pt x="4089" y="15"/>
                  </a:lnTo>
                  <a:lnTo>
                    <a:pt x="4089" y="15"/>
                  </a:lnTo>
                  <a:lnTo>
                    <a:pt x="4104" y="15"/>
                  </a:lnTo>
                  <a:lnTo>
                    <a:pt x="4104" y="15"/>
                  </a:lnTo>
                  <a:lnTo>
                    <a:pt x="4104" y="15"/>
                  </a:lnTo>
                  <a:lnTo>
                    <a:pt x="4104" y="15"/>
                  </a:lnTo>
                  <a:lnTo>
                    <a:pt x="4112" y="15"/>
                  </a:lnTo>
                  <a:lnTo>
                    <a:pt x="4112" y="15"/>
                  </a:lnTo>
                  <a:lnTo>
                    <a:pt x="4119" y="15"/>
                  </a:lnTo>
                  <a:lnTo>
                    <a:pt x="4119" y="15"/>
                  </a:lnTo>
                  <a:lnTo>
                    <a:pt x="4127" y="15"/>
                  </a:lnTo>
                  <a:lnTo>
                    <a:pt x="4127" y="15"/>
                  </a:lnTo>
                  <a:lnTo>
                    <a:pt x="4127" y="15"/>
                  </a:lnTo>
                  <a:lnTo>
                    <a:pt x="4127" y="15"/>
                  </a:lnTo>
                  <a:lnTo>
                    <a:pt x="4135" y="15"/>
                  </a:lnTo>
                  <a:lnTo>
                    <a:pt x="4135" y="15"/>
                  </a:lnTo>
                  <a:lnTo>
                    <a:pt x="4142" y="15"/>
                  </a:lnTo>
                  <a:lnTo>
                    <a:pt x="4142" y="15"/>
                  </a:lnTo>
                  <a:lnTo>
                    <a:pt x="4150" y="15"/>
                  </a:lnTo>
                  <a:lnTo>
                    <a:pt x="4150" y="15"/>
                  </a:lnTo>
                  <a:lnTo>
                    <a:pt x="4150" y="15"/>
                  </a:lnTo>
                  <a:lnTo>
                    <a:pt x="4150" y="15"/>
                  </a:lnTo>
                  <a:lnTo>
                    <a:pt x="4158" y="15"/>
                  </a:lnTo>
                  <a:lnTo>
                    <a:pt x="4158" y="15"/>
                  </a:lnTo>
                  <a:lnTo>
                    <a:pt x="4165" y="15"/>
                  </a:lnTo>
                  <a:lnTo>
                    <a:pt x="4165" y="15"/>
                  </a:lnTo>
                  <a:lnTo>
                    <a:pt x="4173" y="15"/>
                  </a:lnTo>
                  <a:lnTo>
                    <a:pt x="4173" y="15"/>
                  </a:lnTo>
                  <a:lnTo>
                    <a:pt x="4181" y="15"/>
                  </a:lnTo>
                  <a:lnTo>
                    <a:pt x="4181" y="15"/>
                  </a:lnTo>
                  <a:lnTo>
                    <a:pt x="4181" y="15"/>
                  </a:lnTo>
                  <a:lnTo>
                    <a:pt x="4181" y="15"/>
                  </a:lnTo>
                  <a:lnTo>
                    <a:pt x="4188" y="15"/>
                  </a:lnTo>
                  <a:lnTo>
                    <a:pt x="4188" y="15"/>
                  </a:lnTo>
                  <a:lnTo>
                    <a:pt x="4196" y="15"/>
                  </a:lnTo>
                  <a:lnTo>
                    <a:pt x="4196" y="15"/>
                  </a:lnTo>
                  <a:lnTo>
                    <a:pt x="4204" y="15"/>
                  </a:lnTo>
                  <a:lnTo>
                    <a:pt x="4204" y="15"/>
                  </a:lnTo>
                  <a:lnTo>
                    <a:pt x="4204" y="15"/>
                  </a:lnTo>
                  <a:lnTo>
                    <a:pt x="4204" y="15"/>
                  </a:lnTo>
                  <a:lnTo>
                    <a:pt x="4211" y="15"/>
                  </a:lnTo>
                  <a:lnTo>
                    <a:pt x="4211" y="8"/>
                  </a:lnTo>
                  <a:lnTo>
                    <a:pt x="4219" y="8"/>
                  </a:lnTo>
                  <a:lnTo>
                    <a:pt x="4219" y="8"/>
                  </a:lnTo>
                  <a:lnTo>
                    <a:pt x="4227" y="8"/>
                  </a:lnTo>
                  <a:lnTo>
                    <a:pt x="4227" y="8"/>
                  </a:lnTo>
                  <a:lnTo>
                    <a:pt x="4227" y="8"/>
                  </a:lnTo>
                  <a:lnTo>
                    <a:pt x="4227" y="8"/>
                  </a:lnTo>
                  <a:lnTo>
                    <a:pt x="4235" y="8"/>
                  </a:lnTo>
                  <a:lnTo>
                    <a:pt x="4235" y="8"/>
                  </a:lnTo>
                  <a:lnTo>
                    <a:pt x="4242" y="8"/>
                  </a:lnTo>
                  <a:lnTo>
                    <a:pt x="4242" y="8"/>
                  </a:lnTo>
                  <a:lnTo>
                    <a:pt x="4250" y="8"/>
                  </a:lnTo>
                  <a:lnTo>
                    <a:pt x="4250" y="8"/>
                  </a:lnTo>
                  <a:lnTo>
                    <a:pt x="4250" y="8"/>
                  </a:lnTo>
                  <a:lnTo>
                    <a:pt x="4250" y="8"/>
                  </a:lnTo>
                  <a:lnTo>
                    <a:pt x="4258" y="8"/>
                  </a:lnTo>
                  <a:lnTo>
                    <a:pt x="4258" y="8"/>
                  </a:lnTo>
                  <a:lnTo>
                    <a:pt x="4265" y="8"/>
                  </a:lnTo>
                  <a:lnTo>
                    <a:pt x="4265" y="8"/>
                  </a:lnTo>
                  <a:lnTo>
                    <a:pt x="4273" y="8"/>
                  </a:lnTo>
                  <a:lnTo>
                    <a:pt x="4273" y="8"/>
                  </a:lnTo>
                  <a:lnTo>
                    <a:pt x="4281" y="8"/>
                  </a:lnTo>
                  <a:lnTo>
                    <a:pt x="4281" y="8"/>
                  </a:lnTo>
                  <a:lnTo>
                    <a:pt x="4281" y="8"/>
                  </a:lnTo>
                  <a:lnTo>
                    <a:pt x="4281" y="8"/>
                  </a:lnTo>
                  <a:lnTo>
                    <a:pt x="4288" y="8"/>
                  </a:lnTo>
                  <a:lnTo>
                    <a:pt x="4288" y="8"/>
                  </a:lnTo>
                  <a:lnTo>
                    <a:pt x="4296" y="8"/>
                  </a:lnTo>
                  <a:lnTo>
                    <a:pt x="4296" y="8"/>
                  </a:lnTo>
                  <a:lnTo>
                    <a:pt x="4304" y="8"/>
                  </a:lnTo>
                  <a:lnTo>
                    <a:pt x="4304" y="8"/>
                  </a:lnTo>
                  <a:lnTo>
                    <a:pt x="4304" y="8"/>
                  </a:lnTo>
                  <a:lnTo>
                    <a:pt x="4304" y="8"/>
                  </a:lnTo>
                  <a:lnTo>
                    <a:pt x="4311" y="8"/>
                  </a:lnTo>
                  <a:lnTo>
                    <a:pt x="4311" y="8"/>
                  </a:lnTo>
                  <a:lnTo>
                    <a:pt x="4319" y="8"/>
                  </a:lnTo>
                  <a:lnTo>
                    <a:pt x="4319" y="8"/>
                  </a:lnTo>
                  <a:lnTo>
                    <a:pt x="4327" y="8"/>
                  </a:lnTo>
                  <a:lnTo>
                    <a:pt x="4327" y="8"/>
                  </a:lnTo>
                  <a:lnTo>
                    <a:pt x="4327" y="8"/>
                  </a:lnTo>
                  <a:lnTo>
                    <a:pt x="4327" y="8"/>
                  </a:lnTo>
                  <a:lnTo>
                    <a:pt x="4334" y="8"/>
                  </a:lnTo>
                  <a:lnTo>
                    <a:pt x="4334" y="8"/>
                  </a:lnTo>
                  <a:lnTo>
                    <a:pt x="4342" y="8"/>
                  </a:lnTo>
                  <a:lnTo>
                    <a:pt x="4342" y="8"/>
                  </a:lnTo>
                  <a:lnTo>
                    <a:pt x="4350" y="8"/>
                  </a:lnTo>
                  <a:lnTo>
                    <a:pt x="4350" y="8"/>
                  </a:lnTo>
                  <a:lnTo>
                    <a:pt x="4357" y="8"/>
                  </a:lnTo>
                  <a:lnTo>
                    <a:pt x="4357" y="8"/>
                  </a:lnTo>
                  <a:lnTo>
                    <a:pt x="4357" y="8"/>
                  </a:lnTo>
                  <a:lnTo>
                    <a:pt x="4357" y="8"/>
                  </a:lnTo>
                  <a:lnTo>
                    <a:pt x="4365" y="8"/>
                  </a:lnTo>
                  <a:lnTo>
                    <a:pt x="4365" y="8"/>
                  </a:lnTo>
                  <a:lnTo>
                    <a:pt x="4373" y="8"/>
                  </a:lnTo>
                  <a:lnTo>
                    <a:pt x="4373" y="8"/>
                  </a:lnTo>
                  <a:lnTo>
                    <a:pt x="4380" y="8"/>
                  </a:lnTo>
                  <a:lnTo>
                    <a:pt x="4380" y="8"/>
                  </a:lnTo>
                  <a:lnTo>
                    <a:pt x="4380" y="8"/>
                  </a:lnTo>
                  <a:lnTo>
                    <a:pt x="4380" y="8"/>
                  </a:lnTo>
                  <a:lnTo>
                    <a:pt x="4388" y="8"/>
                  </a:lnTo>
                  <a:lnTo>
                    <a:pt x="4388" y="8"/>
                  </a:lnTo>
                  <a:lnTo>
                    <a:pt x="4396" y="8"/>
                  </a:lnTo>
                  <a:lnTo>
                    <a:pt x="4396" y="8"/>
                  </a:lnTo>
                  <a:lnTo>
                    <a:pt x="4403" y="8"/>
                  </a:lnTo>
                  <a:lnTo>
                    <a:pt x="4403" y="8"/>
                  </a:lnTo>
                  <a:lnTo>
                    <a:pt x="4403" y="8"/>
                  </a:lnTo>
                  <a:lnTo>
                    <a:pt x="4403" y="0"/>
                  </a:lnTo>
                  <a:lnTo>
                    <a:pt x="4411" y="0"/>
                  </a:lnTo>
                  <a:lnTo>
                    <a:pt x="4411" y="0"/>
                  </a:lnTo>
                  <a:lnTo>
                    <a:pt x="4419" y="0"/>
                  </a:lnTo>
                  <a:lnTo>
                    <a:pt x="4419" y="0"/>
                  </a:lnTo>
                  <a:lnTo>
                    <a:pt x="4426" y="0"/>
                  </a:lnTo>
                  <a:lnTo>
                    <a:pt x="4426" y="0"/>
                  </a:lnTo>
                  <a:lnTo>
                    <a:pt x="4426" y="0"/>
                  </a:lnTo>
                  <a:lnTo>
                    <a:pt x="4426" y="0"/>
                  </a:lnTo>
                  <a:lnTo>
                    <a:pt x="4434" y="0"/>
                  </a:lnTo>
                  <a:lnTo>
                    <a:pt x="4434" y="0"/>
                  </a:lnTo>
                  <a:lnTo>
                    <a:pt x="4442" y="0"/>
                  </a:lnTo>
                  <a:lnTo>
                    <a:pt x="4442" y="0"/>
                  </a:lnTo>
                  <a:lnTo>
                    <a:pt x="4449" y="0"/>
                  </a:lnTo>
                  <a:lnTo>
                    <a:pt x="4449" y="0"/>
                  </a:lnTo>
                  <a:lnTo>
                    <a:pt x="4457" y="0"/>
                  </a:lnTo>
                  <a:lnTo>
                    <a:pt x="4457" y="0"/>
                  </a:lnTo>
                  <a:lnTo>
                    <a:pt x="4457" y="0"/>
                  </a:lnTo>
                  <a:lnTo>
                    <a:pt x="4457" y="0"/>
                  </a:lnTo>
                  <a:lnTo>
                    <a:pt x="4465" y="0"/>
                  </a:lnTo>
                  <a:lnTo>
                    <a:pt x="4465" y="0"/>
                  </a:lnTo>
                  <a:lnTo>
                    <a:pt x="4472" y="0"/>
                  </a:lnTo>
                  <a:lnTo>
                    <a:pt x="4472" y="0"/>
                  </a:lnTo>
                  <a:lnTo>
                    <a:pt x="4480" y="0"/>
                  </a:lnTo>
                  <a:lnTo>
                    <a:pt x="4480" y="0"/>
                  </a:lnTo>
                  <a:lnTo>
                    <a:pt x="4480" y="0"/>
                  </a:lnTo>
                  <a:lnTo>
                    <a:pt x="4480" y="0"/>
                  </a:lnTo>
                  <a:lnTo>
                    <a:pt x="4488" y="0"/>
                  </a:lnTo>
                  <a:lnTo>
                    <a:pt x="4488" y="0"/>
                  </a:lnTo>
                  <a:lnTo>
                    <a:pt x="4495" y="0"/>
                  </a:lnTo>
                  <a:lnTo>
                    <a:pt x="4495" y="0"/>
                  </a:lnTo>
                  <a:lnTo>
                    <a:pt x="4503" y="0"/>
                  </a:lnTo>
                  <a:lnTo>
                    <a:pt x="4503" y="0"/>
                  </a:lnTo>
                  <a:lnTo>
                    <a:pt x="4503" y="0"/>
                  </a:lnTo>
                  <a:lnTo>
                    <a:pt x="4503" y="0"/>
                  </a:lnTo>
                  <a:lnTo>
                    <a:pt x="4511" y="0"/>
                  </a:lnTo>
                  <a:lnTo>
                    <a:pt x="4511" y="0"/>
                  </a:lnTo>
                </a:path>
              </a:pathLst>
            </a:cu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auto">
            <a:xfrm>
              <a:off x="6020" y="3157"/>
              <a:ext cx="851" cy="38"/>
            </a:xfrm>
            <a:custGeom>
              <a:avLst/>
              <a:gdLst>
                <a:gd name="T0" fmla="*/ 15 w 851"/>
                <a:gd name="T1" fmla="*/ 38 h 38"/>
                <a:gd name="T2" fmla="*/ 30 w 851"/>
                <a:gd name="T3" fmla="*/ 38 h 38"/>
                <a:gd name="T4" fmla="*/ 46 w 851"/>
                <a:gd name="T5" fmla="*/ 38 h 38"/>
                <a:gd name="T6" fmla="*/ 61 w 851"/>
                <a:gd name="T7" fmla="*/ 38 h 38"/>
                <a:gd name="T8" fmla="*/ 69 w 851"/>
                <a:gd name="T9" fmla="*/ 38 h 38"/>
                <a:gd name="T10" fmla="*/ 92 w 851"/>
                <a:gd name="T11" fmla="*/ 38 h 38"/>
                <a:gd name="T12" fmla="*/ 99 w 851"/>
                <a:gd name="T13" fmla="*/ 38 h 38"/>
                <a:gd name="T14" fmla="*/ 122 w 851"/>
                <a:gd name="T15" fmla="*/ 38 h 38"/>
                <a:gd name="T16" fmla="*/ 130 w 851"/>
                <a:gd name="T17" fmla="*/ 38 h 38"/>
                <a:gd name="T18" fmla="*/ 145 w 851"/>
                <a:gd name="T19" fmla="*/ 38 h 38"/>
                <a:gd name="T20" fmla="*/ 161 w 851"/>
                <a:gd name="T21" fmla="*/ 38 h 38"/>
                <a:gd name="T22" fmla="*/ 176 w 851"/>
                <a:gd name="T23" fmla="*/ 38 h 38"/>
                <a:gd name="T24" fmla="*/ 191 w 851"/>
                <a:gd name="T25" fmla="*/ 38 h 38"/>
                <a:gd name="T26" fmla="*/ 207 w 851"/>
                <a:gd name="T27" fmla="*/ 38 h 38"/>
                <a:gd name="T28" fmla="*/ 222 w 851"/>
                <a:gd name="T29" fmla="*/ 38 h 38"/>
                <a:gd name="T30" fmla="*/ 237 w 851"/>
                <a:gd name="T31" fmla="*/ 38 h 38"/>
                <a:gd name="T32" fmla="*/ 253 w 851"/>
                <a:gd name="T33" fmla="*/ 38 h 38"/>
                <a:gd name="T34" fmla="*/ 268 w 851"/>
                <a:gd name="T35" fmla="*/ 38 h 38"/>
                <a:gd name="T36" fmla="*/ 283 w 851"/>
                <a:gd name="T37" fmla="*/ 38 h 38"/>
                <a:gd name="T38" fmla="*/ 299 w 851"/>
                <a:gd name="T39" fmla="*/ 38 h 38"/>
                <a:gd name="T40" fmla="*/ 314 w 851"/>
                <a:gd name="T41" fmla="*/ 38 h 38"/>
                <a:gd name="T42" fmla="*/ 329 w 851"/>
                <a:gd name="T43" fmla="*/ 38 h 38"/>
                <a:gd name="T44" fmla="*/ 345 w 851"/>
                <a:gd name="T45" fmla="*/ 38 h 38"/>
                <a:gd name="T46" fmla="*/ 360 w 851"/>
                <a:gd name="T47" fmla="*/ 38 h 38"/>
                <a:gd name="T48" fmla="*/ 376 w 851"/>
                <a:gd name="T49" fmla="*/ 30 h 38"/>
                <a:gd name="T50" fmla="*/ 391 w 851"/>
                <a:gd name="T51" fmla="*/ 30 h 38"/>
                <a:gd name="T52" fmla="*/ 399 w 851"/>
                <a:gd name="T53" fmla="*/ 30 h 38"/>
                <a:gd name="T54" fmla="*/ 422 w 851"/>
                <a:gd name="T55" fmla="*/ 30 h 38"/>
                <a:gd name="T56" fmla="*/ 429 w 851"/>
                <a:gd name="T57" fmla="*/ 30 h 38"/>
                <a:gd name="T58" fmla="*/ 445 w 851"/>
                <a:gd name="T59" fmla="*/ 30 h 38"/>
                <a:gd name="T60" fmla="*/ 460 w 851"/>
                <a:gd name="T61" fmla="*/ 30 h 38"/>
                <a:gd name="T62" fmla="*/ 475 w 851"/>
                <a:gd name="T63" fmla="*/ 30 h 38"/>
                <a:gd name="T64" fmla="*/ 491 w 851"/>
                <a:gd name="T65" fmla="*/ 30 h 38"/>
                <a:gd name="T66" fmla="*/ 506 w 851"/>
                <a:gd name="T67" fmla="*/ 30 h 38"/>
                <a:gd name="T68" fmla="*/ 521 w 851"/>
                <a:gd name="T69" fmla="*/ 30 h 38"/>
                <a:gd name="T70" fmla="*/ 537 w 851"/>
                <a:gd name="T71" fmla="*/ 30 h 38"/>
                <a:gd name="T72" fmla="*/ 544 w 851"/>
                <a:gd name="T73" fmla="*/ 30 h 38"/>
                <a:gd name="T74" fmla="*/ 567 w 851"/>
                <a:gd name="T75" fmla="*/ 30 h 38"/>
                <a:gd name="T76" fmla="*/ 575 w 851"/>
                <a:gd name="T77" fmla="*/ 30 h 38"/>
                <a:gd name="T78" fmla="*/ 598 w 851"/>
                <a:gd name="T79" fmla="*/ 30 h 38"/>
                <a:gd name="T80" fmla="*/ 606 w 851"/>
                <a:gd name="T81" fmla="*/ 30 h 38"/>
                <a:gd name="T82" fmla="*/ 621 w 851"/>
                <a:gd name="T83" fmla="*/ 30 h 38"/>
                <a:gd name="T84" fmla="*/ 636 w 851"/>
                <a:gd name="T85" fmla="*/ 30 h 38"/>
                <a:gd name="T86" fmla="*/ 652 w 851"/>
                <a:gd name="T87" fmla="*/ 30 h 38"/>
                <a:gd name="T88" fmla="*/ 667 w 851"/>
                <a:gd name="T89" fmla="*/ 30 h 38"/>
                <a:gd name="T90" fmla="*/ 682 w 851"/>
                <a:gd name="T91" fmla="*/ 30 h 38"/>
                <a:gd name="T92" fmla="*/ 698 w 851"/>
                <a:gd name="T93" fmla="*/ 23 h 38"/>
                <a:gd name="T94" fmla="*/ 713 w 851"/>
                <a:gd name="T95" fmla="*/ 23 h 38"/>
                <a:gd name="T96" fmla="*/ 721 w 851"/>
                <a:gd name="T97" fmla="*/ 23 h 38"/>
                <a:gd name="T98" fmla="*/ 744 w 851"/>
                <a:gd name="T99" fmla="*/ 23 h 38"/>
                <a:gd name="T100" fmla="*/ 751 w 851"/>
                <a:gd name="T101" fmla="*/ 23 h 38"/>
                <a:gd name="T102" fmla="*/ 774 w 851"/>
                <a:gd name="T103" fmla="*/ 15 h 38"/>
                <a:gd name="T104" fmla="*/ 782 w 851"/>
                <a:gd name="T105" fmla="*/ 7 h 38"/>
                <a:gd name="T106" fmla="*/ 797 w 851"/>
                <a:gd name="T107" fmla="*/ 0 h 38"/>
                <a:gd name="T108" fmla="*/ 813 w 851"/>
                <a:gd name="T109" fmla="*/ 0 h 38"/>
                <a:gd name="T110" fmla="*/ 828 w 851"/>
                <a:gd name="T111" fmla="*/ 0 h 38"/>
                <a:gd name="T112" fmla="*/ 843 w 851"/>
                <a:gd name="T11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51" h="38">
                  <a:moveTo>
                    <a:pt x="0" y="38"/>
                  </a:moveTo>
                  <a:lnTo>
                    <a:pt x="7" y="38"/>
                  </a:lnTo>
                  <a:lnTo>
                    <a:pt x="7" y="38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53" y="38"/>
                  </a:lnTo>
                  <a:lnTo>
                    <a:pt x="53" y="38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107" y="38"/>
                  </a:lnTo>
                  <a:lnTo>
                    <a:pt x="107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22" y="38"/>
                  </a:lnTo>
                  <a:lnTo>
                    <a:pt x="122" y="38"/>
                  </a:lnTo>
                  <a:lnTo>
                    <a:pt x="122" y="38"/>
                  </a:lnTo>
                  <a:lnTo>
                    <a:pt x="122" y="38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45" y="38"/>
                  </a:lnTo>
                  <a:lnTo>
                    <a:pt x="145" y="38"/>
                  </a:lnTo>
                  <a:lnTo>
                    <a:pt x="145" y="38"/>
                  </a:lnTo>
                  <a:lnTo>
                    <a:pt x="145" y="38"/>
                  </a:lnTo>
                  <a:lnTo>
                    <a:pt x="153" y="38"/>
                  </a:lnTo>
                  <a:lnTo>
                    <a:pt x="153" y="38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76" y="38"/>
                  </a:lnTo>
                  <a:lnTo>
                    <a:pt x="176" y="38"/>
                  </a:lnTo>
                  <a:lnTo>
                    <a:pt x="184" y="38"/>
                  </a:lnTo>
                  <a:lnTo>
                    <a:pt x="184" y="38"/>
                  </a:lnTo>
                  <a:lnTo>
                    <a:pt x="191" y="38"/>
                  </a:lnTo>
                  <a:lnTo>
                    <a:pt x="191" y="38"/>
                  </a:lnTo>
                  <a:lnTo>
                    <a:pt x="199" y="38"/>
                  </a:lnTo>
                  <a:lnTo>
                    <a:pt x="199" y="38"/>
                  </a:lnTo>
                  <a:lnTo>
                    <a:pt x="199" y="38"/>
                  </a:lnTo>
                  <a:lnTo>
                    <a:pt x="199" y="38"/>
                  </a:lnTo>
                  <a:lnTo>
                    <a:pt x="207" y="38"/>
                  </a:lnTo>
                  <a:lnTo>
                    <a:pt x="207" y="38"/>
                  </a:lnTo>
                  <a:lnTo>
                    <a:pt x="214" y="38"/>
                  </a:lnTo>
                  <a:lnTo>
                    <a:pt x="214" y="38"/>
                  </a:lnTo>
                  <a:lnTo>
                    <a:pt x="222" y="38"/>
                  </a:lnTo>
                  <a:lnTo>
                    <a:pt x="222" y="38"/>
                  </a:lnTo>
                  <a:lnTo>
                    <a:pt x="222" y="38"/>
                  </a:lnTo>
                  <a:lnTo>
                    <a:pt x="222" y="38"/>
                  </a:lnTo>
                  <a:lnTo>
                    <a:pt x="230" y="38"/>
                  </a:lnTo>
                  <a:lnTo>
                    <a:pt x="230" y="38"/>
                  </a:lnTo>
                  <a:lnTo>
                    <a:pt x="237" y="38"/>
                  </a:lnTo>
                  <a:lnTo>
                    <a:pt x="237" y="38"/>
                  </a:lnTo>
                  <a:lnTo>
                    <a:pt x="245" y="38"/>
                  </a:lnTo>
                  <a:lnTo>
                    <a:pt x="245" y="38"/>
                  </a:lnTo>
                  <a:lnTo>
                    <a:pt x="253" y="38"/>
                  </a:lnTo>
                  <a:lnTo>
                    <a:pt x="253" y="38"/>
                  </a:lnTo>
                  <a:lnTo>
                    <a:pt x="260" y="38"/>
                  </a:lnTo>
                  <a:lnTo>
                    <a:pt x="260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76" y="38"/>
                  </a:lnTo>
                  <a:lnTo>
                    <a:pt x="276" y="38"/>
                  </a:lnTo>
                  <a:lnTo>
                    <a:pt x="283" y="38"/>
                  </a:lnTo>
                  <a:lnTo>
                    <a:pt x="283" y="38"/>
                  </a:lnTo>
                  <a:lnTo>
                    <a:pt x="291" y="38"/>
                  </a:lnTo>
                  <a:lnTo>
                    <a:pt x="291" y="38"/>
                  </a:lnTo>
                  <a:lnTo>
                    <a:pt x="299" y="38"/>
                  </a:lnTo>
                  <a:lnTo>
                    <a:pt x="299" y="38"/>
                  </a:lnTo>
                  <a:lnTo>
                    <a:pt x="299" y="38"/>
                  </a:lnTo>
                  <a:lnTo>
                    <a:pt x="299" y="38"/>
                  </a:lnTo>
                  <a:lnTo>
                    <a:pt x="306" y="38"/>
                  </a:lnTo>
                  <a:lnTo>
                    <a:pt x="306" y="38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22" y="38"/>
                  </a:lnTo>
                  <a:lnTo>
                    <a:pt x="322" y="38"/>
                  </a:lnTo>
                  <a:lnTo>
                    <a:pt x="322" y="38"/>
                  </a:lnTo>
                  <a:lnTo>
                    <a:pt x="322" y="38"/>
                  </a:lnTo>
                  <a:lnTo>
                    <a:pt x="329" y="38"/>
                  </a:lnTo>
                  <a:lnTo>
                    <a:pt x="329" y="38"/>
                  </a:lnTo>
                  <a:lnTo>
                    <a:pt x="337" y="38"/>
                  </a:lnTo>
                  <a:lnTo>
                    <a:pt x="337" y="38"/>
                  </a:lnTo>
                  <a:lnTo>
                    <a:pt x="345" y="38"/>
                  </a:lnTo>
                  <a:lnTo>
                    <a:pt x="345" y="38"/>
                  </a:lnTo>
                  <a:lnTo>
                    <a:pt x="345" y="38"/>
                  </a:lnTo>
                  <a:lnTo>
                    <a:pt x="345" y="38"/>
                  </a:lnTo>
                  <a:lnTo>
                    <a:pt x="353" y="38"/>
                  </a:lnTo>
                  <a:lnTo>
                    <a:pt x="353" y="38"/>
                  </a:lnTo>
                  <a:lnTo>
                    <a:pt x="360" y="38"/>
                  </a:lnTo>
                  <a:lnTo>
                    <a:pt x="360" y="38"/>
                  </a:lnTo>
                  <a:lnTo>
                    <a:pt x="368" y="38"/>
                  </a:lnTo>
                  <a:lnTo>
                    <a:pt x="368" y="38"/>
                  </a:lnTo>
                  <a:lnTo>
                    <a:pt x="376" y="38"/>
                  </a:lnTo>
                  <a:lnTo>
                    <a:pt x="376" y="30"/>
                  </a:lnTo>
                  <a:lnTo>
                    <a:pt x="376" y="30"/>
                  </a:lnTo>
                  <a:lnTo>
                    <a:pt x="376" y="30"/>
                  </a:lnTo>
                  <a:lnTo>
                    <a:pt x="383" y="30"/>
                  </a:lnTo>
                  <a:lnTo>
                    <a:pt x="383" y="30"/>
                  </a:lnTo>
                  <a:lnTo>
                    <a:pt x="391" y="30"/>
                  </a:lnTo>
                  <a:lnTo>
                    <a:pt x="391" y="30"/>
                  </a:lnTo>
                  <a:lnTo>
                    <a:pt x="399" y="30"/>
                  </a:lnTo>
                  <a:lnTo>
                    <a:pt x="399" y="30"/>
                  </a:lnTo>
                  <a:lnTo>
                    <a:pt x="399" y="30"/>
                  </a:lnTo>
                  <a:lnTo>
                    <a:pt x="399" y="30"/>
                  </a:lnTo>
                  <a:lnTo>
                    <a:pt x="406" y="30"/>
                  </a:lnTo>
                  <a:lnTo>
                    <a:pt x="406" y="30"/>
                  </a:lnTo>
                  <a:lnTo>
                    <a:pt x="414" y="30"/>
                  </a:lnTo>
                  <a:lnTo>
                    <a:pt x="414" y="30"/>
                  </a:lnTo>
                  <a:lnTo>
                    <a:pt x="422" y="30"/>
                  </a:lnTo>
                  <a:lnTo>
                    <a:pt x="422" y="30"/>
                  </a:lnTo>
                  <a:lnTo>
                    <a:pt x="422" y="30"/>
                  </a:lnTo>
                  <a:lnTo>
                    <a:pt x="422" y="30"/>
                  </a:lnTo>
                  <a:lnTo>
                    <a:pt x="429" y="30"/>
                  </a:lnTo>
                  <a:lnTo>
                    <a:pt x="429" y="30"/>
                  </a:lnTo>
                  <a:lnTo>
                    <a:pt x="437" y="30"/>
                  </a:lnTo>
                  <a:lnTo>
                    <a:pt x="437" y="30"/>
                  </a:lnTo>
                  <a:lnTo>
                    <a:pt x="445" y="30"/>
                  </a:lnTo>
                  <a:lnTo>
                    <a:pt x="445" y="30"/>
                  </a:lnTo>
                  <a:lnTo>
                    <a:pt x="445" y="30"/>
                  </a:lnTo>
                  <a:lnTo>
                    <a:pt x="445" y="30"/>
                  </a:lnTo>
                  <a:lnTo>
                    <a:pt x="452" y="30"/>
                  </a:lnTo>
                  <a:lnTo>
                    <a:pt x="452" y="30"/>
                  </a:lnTo>
                  <a:lnTo>
                    <a:pt x="460" y="30"/>
                  </a:lnTo>
                  <a:lnTo>
                    <a:pt x="460" y="30"/>
                  </a:lnTo>
                  <a:lnTo>
                    <a:pt x="468" y="30"/>
                  </a:lnTo>
                  <a:lnTo>
                    <a:pt x="468" y="30"/>
                  </a:lnTo>
                  <a:lnTo>
                    <a:pt x="475" y="30"/>
                  </a:lnTo>
                  <a:lnTo>
                    <a:pt x="475" y="30"/>
                  </a:lnTo>
                  <a:lnTo>
                    <a:pt x="475" y="30"/>
                  </a:lnTo>
                  <a:lnTo>
                    <a:pt x="475" y="30"/>
                  </a:lnTo>
                  <a:lnTo>
                    <a:pt x="483" y="30"/>
                  </a:lnTo>
                  <a:lnTo>
                    <a:pt x="483" y="30"/>
                  </a:lnTo>
                  <a:lnTo>
                    <a:pt x="491" y="30"/>
                  </a:lnTo>
                  <a:lnTo>
                    <a:pt x="491" y="30"/>
                  </a:lnTo>
                  <a:lnTo>
                    <a:pt x="498" y="30"/>
                  </a:lnTo>
                  <a:lnTo>
                    <a:pt x="498" y="30"/>
                  </a:lnTo>
                  <a:lnTo>
                    <a:pt x="498" y="30"/>
                  </a:lnTo>
                  <a:lnTo>
                    <a:pt x="498" y="30"/>
                  </a:lnTo>
                  <a:lnTo>
                    <a:pt x="506" y="30"/>
                  </a:lnTo>
                  <a:lnTo>
                    <a:pt x="506" y="30"/>
                  </a:lnTo>
                  <a:lnTo>
                    <a:pt x="514" y="30"/>
                  </a:lnTo>
                  <a:lnTo>
                    <a:pt x="514" y="30"/>
                  </a:lnTo>
                  <a:lnTo>
                    <a:pt x="521" y="30"/>
                  </a:lnTo>
                  <a:lnTo>
                    <a:pt x="521" y="30"/>
                  </a:lnTo>
                  <a:lnTo>
                    <a:pt x="521" y="30"/>
                  </a:lnTo>
                  <a:lnTo>
                    <a:pt x="521" y="30"/>
                  </a:lnTo>
                  <a:lnTo>
                    <a:pt x="529" y="30"/>
                  </a:lnTo>
                  <a:lnTo>
                    <a:pt x="529" y="30"/>
                  </a:lnTo>
                  <a:lnTo>
                    <a:pt x="537" y="30"/>
                  </a:lnTo>
                  <a:lnTo>
                    <a:pt x="537" y="30"/>
                  </a:lnTo>
                  <a:lnTo>
                    <a:pt x="544" y="30"/>
                  </a:lnTo>
                  <a:lnTo>
                    <a:pt x="544" y="30"/>
                  </a:lnTo>
                  <a:lnTo>
                    <a:pt x="544" y="30"/>
                  </a:lnTo>
                  <a:lnTo>
                    <a:pt x="544" y="30"/>
                  </a:lnTo>
                  <a:lnTo>
                    <a:pt x="552" y="30"/>
                  </a:lnTo>
                  <a:lnTo>
                    <a:pt x="552" y="30"/>
                  </a:lnTo>
                  <a:lnTo>
                    <a:pt x="560" y="30"/>
                  </a:lnTo>
                  <a:lnTo>
                    <a:pt x="560" y="30"/>
                  </a:lnTo>
                  <a:lnTo>
                    <a:pt x="567" y="30"/>
                  </a:lnTo>
                  <a:lnTo>
                    <a:pt x="567" y="30"/>
                  </a:lnTo>
                  <a:lnTo>
                    <a:pt x="575" y="30"/>
                  </a:lnTo>
                  <a:lnTo>
                    <a:pt x="575" y="30"/>
                  </a:lnTo>
                  <a:lnTo>
                    <a:pt x="575" y="30"/>
                  </a:lnTo>
                  <a:lnTo>
                    <a:pt x="575" y="30"/>
                  </a:lnTo>
                  <a:lnTo>
                    <a:pt x="583" y="30"/>
                  </a:lnTo>
                  <a:lnTo>
                    <a:pt x="583" y="30"/>
                  </a:lnTo>
                  <a:lnTo>
                    <a:pt x="590" y="30"/>
                  </a:lnTo>
                  <a:lnTo>
                    <a:pt x="590" y="30"/>
                  </a:lnTo>
                  <a:lnTo>
                    <a:pt x="598" y="30"/>
                  </a:lnTo>
                  <a:lnTo>
                    <a:pt x="598" y="30"/>
                  </a:lnTo>
                  <a:lnTo>
                    <a:pt x="598" y="30"/>
                  </a:lnTo>
                  <a:lnTo>
                    <a:pt x="598" y="30"/>
                  </a:lnTo>
                  <a:lnTo>
                    <a:pt x="606" y="30"/>
                  </a:lnTo>
                  <a:lnTo>
                    <a:pt x="606" y="30"/>
                  </a:lnTo>
                  <a:lnTo>
                    <a:pt x="613" y="30"/>
                  </a:lnTo>
                  <a:lnTo>
                    <a:pt x="613" y="30"/>
                  </a:lnTo>
                  <a:lnTo>
                    <a:pt x="621" y="30"/>
                  </a:lnTo>
                  <a:lnTo>
                    <a:pt x="621" y="30"/>
                  </a:lnTo>
                  <a:lnTo>
                    <a:pt x="621" y="30"/>
                  </a:lnTo>
                  <a:lnTo>
                    <a:pt x="621" y="30"/>
                  </a:lnTo>
                  <a:lnTo>
                    <a:pt x="629" y="30"/>
                  </a:lnTo>
                  <a:lnTo>
                    <a:pt x="629" y="30"/>
                  </a:lnTo>
                  <a:lnTo>
                    <a:pt x="636" y="30"/>
                  </a:lnTo>
                  <a:lnTo>
                    <a:pt x="636" y="30"/>
                  </a:lnTo>
                  <a:lnTo>
                    <a:pt x="644" y="30"/>
                  </a:lnTo>
                  <a:lnTo>
                    <a:pt x="644" y="30"/>
                  </a:lnTo>
                  <a:lnTo>
                    <a:pt x="652" y="30"/>
                  </a:lnTo>
                  <a:lnTo>
                    <a:pt x="652" y="30"/>
                  </a:lnTo>
                  <a:lnTo>
                    <a:pt x="652" y="30"/>
                  </a:lnTo>
                  <a:lnTo>
                    <a:pt x="652" y="30"/>
                  </a:lnTo>
                  <a:lnTo>
                    <a:pt x="659" y="30"/>
                  </a:lnTo>
                  <a:lnTo>
                    <a:pt x="659" y="30"/>
                  </a:lnTo>
                  <a:lnTo>
                    <a:pt x="667" y="30"/>
                  </a:lnTo>
                  <a:lnTo>
                    <a:pt x="667" y="30"/>
                  </a:lnTo>
                  <a:lnTo>
                    <a:pt x="675" y="30"/>
                  </a:lnTo>
                  <a:lnTo>
                    <a:pt x="675" y="30"/>
                  </a:lnTo>
                  <a:lnTo>
                    <a:pt x="675" y="30"/>
                  </a:lnTo>
                  <a:lnTo>
                    <a:pt x="675" y="30"/>
                  </a:lnTo>
                  <a:lnTo>
                    <a:pt x="682" y="30"/>
                  </a:lnTo>
                  <a:lnTo>
                    <a:pt x="682" y="30"/>
                  </a:lnTo>
                  <a:lnTo>
                    <a:pt x="690" y="30"/>
                  </a:lnTo>
                  <a:lnTo>
                    <a:pt x="690" y="23"/>
                  </a:lnTo>
                  <a:lnTo>
                    <a:pt x="698" y="23"/>
                  </a:lnTo>
                  <a:lnTo>
                    <a:pt x="698" y="23"/>
                  </a:lnTo>
                  <a:lnTo>
                    <a:pt x="698" y="23"/>
                  </a:lnTo>
                  <a:lnTo>
                    <a:pt x="698" y="23"/>
                  </a:lnTo>
                  <a:lnTo>
                    <a:pt x="705" y="23"/>
                  </a:lnTo>
                  <a:lnTo>
                    <a:pt x="705" y="23"/>
                  </a:lnTo>
                  <a:lnTo>
                    <a:pt x="713" y="23"/>
                  </a:lnTo>
                  <a:lnTo>
                    <a:pt x="713" y="23"/>
                  </a:lnTo>
                  <a:lnTo>
                    <a:pt x="721" y="23"/>
                  </a:lnTo>
                  <a:lnTo>
                    <a:pt x="721" y="23"/>
                  </a:lnTo>
                  <a:lnTo>
                    <a:pt x="721" y="23"/>
                  </a:lnTo>
                  <a:lnTo>
                    <a:pt x="721" y="23"/>
                  </a:lnTo>
                  <a:lnTo>
                    <a:pt x="728" y="23"/>
                  </a:lnTo>
                  <a:lnTo>
                    <a:pt x="728" y="23"/>
                  </a:lnTo>
                  <a:lnTo>
                    <a:pt x="736" y="23"/>
                  </a:lnTo>
                  <a:lnTo>
                    <a:pt x="736" y="23"/>
                  </a:lnTo>
                  <a:lnTo>
                    <a:pt x="744" y="23"/>
                  </a:lnTo>
                  <a:lnTo>
                    <a:pt x="744" y="23"/>
                  </a:lnTo>
                  <a:lnTo>
                    <a:pt x="751" y="23"/>
                  </a:lnTo>
                  <a:lnTo>
                    <a:pt x="751" y="23"/>
                  </a:lnTo>
                  <a:lnTo>
                    <a:pt x="751" y="23"/>
                  </a:lnTo>
                  <a:lnTo>
                    <a:pt x="751" y="23"/>
                  </a:lnTo>
                  <a:lnTo>
                    <a:pt x="759" y="23"/>
                  </a:lnTo>
                  <a:lnTo>
                    <a:pt x="759" y="15"/>
                  </a:lnTo>
                  <a:lnTo>
                    <a:pt x="767" y="15"/>
                  </a:lnTo>
                  <a:lnTo>
                    <a:pt x="767" y="15"/>
                  </a:lnTo>
                  <a:lnTo>
                    <a:pt x="774" y="15"/>
                  </a:lnTo>
                  <a:lnTo>
                    <a:pt x="774" y="15"/>
                  </a:lnTo>
                  <a:lnTo>
                    <a:pt x="774" y="15"/>
                  </a:lnTo>
                  <a:lnTo>
                    <a:pt x="774" y="15"/>
                  </a:lnTo>
                  <a:lnTo>
                    <a:pt x="782" y="15"/>
                  </a:lnTo>
                  <a:lnTo>
                    <a:pt x="782" y="7"/>
                  </a:lnTo>
                  <a:lnTo>
                    <a:pt x="790" y="7"/>
                  </a:lnTo>
                  <a:lnTo>
                    <a:pt x="790" y="0"/>
                  </a:lnTo>
                  <a:lnTo>
                    <a:pt x="797" y="0"/>
                  </a:lnTo>
                  <a:lnTo>
                    <a:pt x="797" y="0"/>
                  </a:lnTo>
                  <a:lnTo>
                    <a:pt x="797" y="0"/>
                  </a:lnTo>
                  <a:lnTo>
                    <a:pt x="797" y="0"/>
                  </a:lnTo>
                  <a:lnTo>
                    <a:pt x="805" y="0"/>
                  </a:lnTo>
                  <a:lnTo>
                    <a:pt x="805" y="0"/>
                  </a:lnTo>
                  <a:lnTo>
                    <a:pt x="813" y="0"/>
                  </a:lnTo>
                  <a:lnTo>
                    <a:pt x="813" y="0"/>
                  </a:lnTo>
                  <a:lnTo>
                    <a:pt x="820" y="0"/>
                  </a:lnTo>
                  <a:lnTo>
                    <a:pt x="820" y="0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836" y="0"/>
                  </a:lnTo>
                  <a:lnTo>
                    <a:pt x="836" y="0"/>
                  </a:lnTo>
                  <a:lnTo>
                    <a:pt x="843" y="0"/>
                  </a:lnTo>
                  <a:lnTo>
                    <a:pt x="843" y="0"/>
                  </a:lnTo>
                  <a:lnTo>
                    <a:pt x="851" y="0"/>
                  </a:lnTo>
                  <a:lnTo>
                    <a:pt x="851" y="0"/>
                  </a:lnTo>
                  <a:lnTo>
                    <a:pt x="851" y="0"/>
                  </a:lnTo>
                  <a:lnTo>
                    <a:pt x="851" y="0"/>
                  </a:lnTo>
                </a:path>
              </a:pathLst>
            </a:cu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88" name="Rectangle 87"/>
            <p:cNvSpPr>
              <a:spLocks noChangeArrowheads="1"/>
            </p:cNvSpPr>
            <p:nvPr/>
          </p:nvSpPr>
          <p:spPr bwMode="auto">
            <a:xfrm>
              <a:off x="5744" y="2712"/>
              <a:ext cx="8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1" i="0" u="none" strike="noStrike" cap="none" normalizeH="0" baseline="0" smtClean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b="0" i="0" u="none" strike="noStrike" cap="none" normalizeH="0" baseline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89" name="Freeform 88"/>
            <p:cNvSpPr>
              <a:spLocks/>
            </p:cNvSpPr>
            <p:nvPr/>
          </p:nvSpPr>
          <p:spPr bwMode="auto">
            <a:xfrm>
              <a:off x="1509" y="3210"/>
              <a:ext cx="4511" cy="100"/>
            </a:xfrm>
            <a:custGeom>
              <a:avLst/>
              <a:gdLst>
                <a:gd name="T0" fmla="*/ 376 w 4511"/>
                <a:gd name="T1" fmla="*/ 92 h 100"/>
                <a:gd name="T2" fmla="*/ 599 w 4511"/>
                <a:gd name="T3" fmla="*/ 92 h 100"/>
                <a:gd name="T4" fmla="*/ 744 w 4511"/>
                <a:gd name="T5" fmla="*/ 92 h 100"/>
                <a:gd name="T6" fmla="*/ 905 w 4511"/>
                <a:gd name="T7" fmla="*/ 85 h 100"/>
                <a:gd name="T8" fmla="*/ 1082 w 4511"/>
                <a:gd name="T9" fmla="*/ 85 h 100"/>
                <a:gd name="T10" fmla="*/ 1335 w 4511"/>
                <a:gd name="T11" fmla="*/ 85 h 100"/>
                <a:gd name="T12" fmla="*/ 1458 w 4511"/>
                <a:gd name="T13" fmla="*/ 77 h 100"/>
                <a:gd name="T14" fmla="*/ 1649 w 4511"/>
                <a:gd name="T15" fmla="*/ 77 h 100"/>
                <a:gd name="T16" fmla="*/ 1795 w 4511"/>
                <a:gd name="T17" fmla="*/ 69 h 100"/>
                <a:gd name="T18" fmla="*/ 1910 w 4511"/>
                <a:gd name="T19" fmla="*/ 69 h 100"/>
                <a:gd name="T20" fmla="*/ 2010 w 4511"/>
                <a:gd name="T21" fmla="*/ 62 h 100"/>
                <a:gd name="T22" fmla="*/ 2094 w 4511"/>
                <a:gd name="T23" fmla="*/ 62 h 100"/>
                <a:gd name="T24" fmla="*/ 2156 w 4511"/>
                <a:gd name="T25" fmla="*/ 62 h 100"/>
                <a:gd name="T26" fmla="*/ 2202 w 4511"/>
                <a:gd name="T27" fmla="*/ 62 h 100"/>
                <a:gd name="T28" fmla="*/ 2248 w 4511"/>
                <a:gd name="T29" fmla="*/ 62 h 100"/>
                <a:gd name="T30" fmla="*/ 2301 w 4511"/>
                <a:gd name="T31" fmla="*/ 54 h 100"/>
                <a:gd name="T32" fmla="*/ 2355 w 4511"/>
                <a:gd name="T33" fmla="*/ 54 h 100"/>
                <a:gd name="T34" fmla="*/ 2417 w 4511"/>
                <a:gd name="T35" fmla="*/ 54 h 100"/>
                <a:gd name="T36" fmla="*/ 2463 w 4511"/>
                <a:gd name="T37" fmla="*/ 54 h 100"/>
                <a:gd name="T38" fmla="*/ 2509 w 4511"/>
                <a:gd name="T39" fmla="*/ 54 h 100"/>
                <a:gd name="T40" fmla="*/ 2555 w 4511"/>
                <a:gd name="T41" fmla="*/ 54 h 100"/>
                <a:gd name="T42" fmla="*/ 2601 w 4511"/>
                <a:gd name="T43" fmla="*/ 54 h 100"/>
                <a:gd name="T44" fmla="*/ 2647 w 4511"/>
                <a:gd name="T45" fmla="*/ 54 h 100"/>
                <a:gd name="T46" fmla="*/ 2693 w 4511"/>
                <a:gd name="T47" fmla="*/ 54 h 100"/>
                <a:gd name="T48" fmla="*/ 2746 w 4511"/>
                <a:gd name="T49" fmla="*/ 54 h 100"/>
                <a:gd name="T50" fmla="*/ 2792 w 4511"/>
                <a:gd name="T51" fmla="*/ 54 h 100"/>
                <a:gd name="T52" fmla="*/ 2838 w 4511"/>
                <a:gd name="T53" fmla="*/ 46 h 100"/>
                <a:gd name="T54" fmla="*/ 2884 w 4511"/>
                <a:gd name="T55" fmla="*/ 46 h 100"/>
                <a:gd name="T56" fmla="*/ 2930 w 4511"/>
                <a:gd name="T57" fmla="*/ 46 h 100"/>
                <a:gd name="T58" fmla="*/ 2976 w 4511"/>
                <a:gd name="T59" fmla="*/ 46 h 100"/>
                <a:gd name="T60" fmla="*/ 3023 w 4511"/>
                <a:gd name="T61" fmla="*/ 46 h 100"/>
                <a:gd name="T62" fmla="*/ 3069 w 4511"/>
                <a:gd name="T63" fmla="*/ 46 h 100"/>
                <a:gd name="T64" fmla="*/ 3122 w 4511"/>
                <a:gd name="T65" fmla="*/ 46 h 100"/>
                <a:gd name="T66" fmla="*/ 3168 w 4511"/>
                <a:gd name="T67" fmla="*/ 46 h 100"/>
                <a:gd name="T68" fmla="*/ 3214 w 4511"/>
                <a:gd name="T69" fmla="*/ 39 h 100"/>
                <a:gd name="T70" fmla="*/ 3260 w 4511"/>
                <a:gd name="T71" fmla="*/ 39 h 100"/>
                <a:gd name="T72" fmla="*/ 3306 w 4511"/>
                <a:gd name="T73" fmla="*/ 39 h 100"/>
                <a:gd name="T74" fmla="*/ 3352 w 4511"/>
                <a:gd name="T75" fmla="*/ 39 h 100"/>
                <a:gd name="T76" fmla="*/ 3398 w 4511"/>
                <a:gd name="T77" fmla="*/ 39 h 100"/>
                <a:gd name="T78" fmla="*/ 3444 w 4511"/>
                <a:gd name="T79" fmla="*/ 39 h 100"/>
                <a:gd name="T80" fmla="*/ 3498 w 4511"/>
                <a:gd name="T81" fmla="*/ 39 h 100"/>
                <a:gd name="T82" fmla="*/ 3544 w 4511"/>
                <a:gd name="T83" fmla="*/ 39 h 100"/>
                <a:gd name="T84" fmla="*/ 3590 w 4511"/>
                <a:gd name="T85" fmla="*/ 39 h 100"/>
                <a:gd name="T86" fmla="*/ 3636 w 4511"/>
                <a:gd name="T87" fmla="*/ 31 h 100"/>
                <a:gd name="T88" fmla="*/ 3682 w 4511"/>
                <a:gd name="T89" fmla="*/ 23 h 100"/>
                <a:gd name="T90" fmla="*/ 3728 w 4511"/>
                <a:gd name="T91" fmla="*/ 23 h 100"/>
                <a:gd name="T92" fmla="*/ 3774 w 4511"/>
                <a:gd name="T93" fmla="*/ 23 h 100"/>
                <a:gd name="T94" fmla="*/ 3828 w 4511"/>
                <a:gd name="T95" fmla="*/ 23 h 100"/>
                <a:gd name="T96" fmla="*/ 3874 w 4511"/>
                <a:gd name="T97" fmla="*/ 16 h 100"/>
                <a:gd name="T98" fmla="*/ 3920 w 4511"/>
                <a:gd name="T99" fmla="*/ 16 h 100"/>
                <a:gd name="T100" fmla="*/ 3966 w 4511"/>
                <a:gd name="T101" fmla="*/ 16 h 100"/>
                <a:gd name="T102" fmla="*/ 4012 w 4511"/>
                <a:gd name="T103" fmla="*/ 16 h 100"/>
                <a:gd name="T104" fmla="*/ 4058 w 4511"/>
                <a:gd name="T105" fmla="*/ 16 h 100"/>
                <a:gd name="T106" fmla="*/ 4112 w 4511"/>
                <a:gd name="T107" fmla="*/ 16 h 100"/>
                <a:gd name="T108" fmla="*/ 4158 w 4511"/>
                <a:gd name="T109" fmla="*/ 16 h 100"/>
                <a:gd name="T110" fmla="*/ 4204 w 4511"/>
                <a:gd name="T111" fmla="*/ 16 h 100"/>
                <a:gd name="T112" fmla="*/ 4250 w 4511"/>
                <a:gd name="T113" fmla="*/ 8 h 100"/>
                <a:gd name="T114" fmla="*/ 4304 w 4511"/>
                <a:gd name="T115" fmla="*/ 8 h 100"/>
                <a:gd name="T116" fmla="*/ 4350 w 4511"/>
                <a:gd name="T117" fmla="*/ 0 h 100"/>
                <a:gd name="T118" fmla="*/ 4396 w 4511"/>
                <a:gd name="T119" fmla="*/ 0 h 100"/>
                <a:gd name="T120" fmla="*/ 4442 w 4511"/>
                <a:gd name="T121" fmla="*/ 0 h 100"/>
                <a:gd name="T122" fmla="*/ 4488 w 4511"/>
                <a:gd name="T12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11" h="100">
                  <a:moveTo>
                    <a:pt x="0" y="100"/>
                  </a:moveTo>
                  <a:lnTo>
                    <a:pt x="108" y="100"/>
                  </a:lnTo>
                  <a:lnTo>
                    <a:pt x="108" y="100"/>
                  </a:lnTo>
                  <a:lnTo>
                    <a:pt x="177" y="100"/>
                  </a:lnTo>
                  <a:lnTo>
                    <a:pt x="177" y="92"/>
                  </a:lnTo>
                  <a:lnTo>
                    <a:pt x="223" y="92"/>
                  </a:lnTo>
                  <a:lnTo>
                    <a:pt x="223" y="92"/>
                  </a:lnTo>
                  <a:lnTo>
                    <a:pt x="230" y="92"/>
                  </a:lnTo>
                  <a:lnTo>
                    <a:pt x="230" y="92"/>
                  </a:lnTo>
                  <a:lnTo>
                    <a:pt x="253" y="92"/>
                  </a:lnTo>
                  <a:lnTo>
                    <a:pt x="253" y="92"/>
                  </a:lnTo>
                  <a:lnTo>
                    <a:pt x="330" y="92"/>
                  </a:lnTo>
                  <a:lnTo>
                    <a:pt x="330" y="92"/>
                  </a:lnTo>
                  <a:lnTo>
                    <a:pt x="353" y="92"/>
                  </a:lnTo>
                  <a:lnTo>
                    <a:pt x="353" y="92"/>
                  </a:lnTo>
                  <a:lnTo>
                    <a:pt x="376" y="92"/>
                  </a:lnTo>
                  <a:lnTo>
                    <a:pt x="376" y="92"/>
                  </a:lnTo>
                  <a:lnTo>
                    <a:pt x="399" y="92"/>
                  </a:lnTo>
                  <a:lnTo>
                    <a:pt x="399" y="92"/>
                  </a:lnTo>
                  <a:lnTo>
                    <a:pt x="422" y="92"/>
                  </a:lnTo>
                  <a:lnTo>
                    <a:pt x="422" y="92"/>
                  </a:lnTo>
                  <a:lnTo>
                    <a:pt x="445" y="92"/>
                  </a:lnTo>
                  <a:lnTo>
                    <a:pt x="445" y="92"/>
                  </a:lnTo>
                  <a:lnTo>
                    <a:pt x="483" y="92"/>
                  </a:lnTo>
                  <a:lnTo>
                    <a:pt x="483" y="92"/>
                  </a:lnTo>
                  <a:lnTo>
                    <a:pt x="507" y="92"/>
                  </a:lnTo>
                  <a:lnTo>
                    <a:pt x="507" y="92"/>
                  </a:lnTo>
                  <a:lnTo>
                    <a:pt x="576" y="92"/>
                  </a:lnTo>
                  <a:lnTo>
                    <a:pt x="576" y="92"/>
                  </a:lnTo>
                  <a:lnTo>
                    <a:pt x="583" y="92"/>
                  </a:lnTo>
                  <a:lnTo>
                    <a:pt x="583" y="92"/>
                  </a:lnTo>
                  <a:lnTo>
                    <a:pt x="599" y="92"/>
                  </a:lnTo>
                  <a:lnTo>
                    <a:pt x="599" y="92"/>
                  </a:lnTo>
                  <a:lnTo>
                    <a:pt x="629" y="92"/>
                  </a:lnTo>
                  <a:lnTo>
                    <a:pt x="629" y="92"/>
                  </a:lnTo>
                  <a:lnTo>
                    <a:pt x="637" y="92"/>
                  </a:lnTo>
                  <a:lnTo>
                    <a:pt x="637" y="92"/>
                  </a:lnTo>
                  <a:lnTo>
                    <a:pt x="645" y="92"/>
                  </a:lnTo>
                  <a:lnTo>
                    <a:pt x="645" y="92"/>
                  </a:lnTo>
                  <a:lnTo>
                    <a:pt x="652" y="92"/>
                  </a:lnTo>
                  <a:lnTo>
                    <a:pt x="652" y="92"/>
                  </a:lnTo>
                  <a:lnTo>
                    <a:pt x="675" y="92"/>
                  </a:lnTo>
                  <a:lnTo>
                    <a:pt x="675" y="92"/>
                  </a:lnTo>
                  <a:lnTo>
                    <a:pt x="714" y="92"/>
                  </a:lnTo>
                  <a:lnTo>
                    <a:pt x="714" y="92"/>
                  </a:lnTo>
                  <a:lnTo>
                    <a:pt x="721" y="92"/>
                  </a:lnTo>
                  <a:lnTo>
                    <a:pt x="721" y="92"/>
                  </a:lnTo>
                  <a:lnTo>
                    <a:pt x="744" y="92"/>
                  </a:lnTo>
                  <a:lnTo>
                    <a:pt x="744" y="85"/>
                  </a:lnTo>
                  <a:lnTo>
                    <a:pt x="752" y="85"/>
                  </a:lnTo>
                  <a:lnTo>
                    <a:pt x="752" y="85"/>
                  </a:lnTo>
                  <a:lnTo>
                    <a:pt x="775" y="85"/>
                  </a:lnTo>
                  <a:lnTo>
                    <a:pt x="775" y="85"/>
                  </a:lnTo>
                  <a:lnTo>
                    <a:pt x="783" y="85"/>
                  </a:lnTo>
                  <a:lnTo>
                    <a:pt x="783" y="85"/>
                  </a:lnTo>
                  <a:lnTo>
                    <a:pt x="783" y="85"/>
                  </a:lnTo>
                  <a:lnTo>
                    <a:pt x="783" y="85"/>
                  </a:lnTo>
                  <a:lnTo>
                    <a:pt x="813" y="85"/>
                  </a:lnTo>
                  <a:lnTo>
                    <a:pt x="813" y="85"/>
                  </a:lnTo>
                  <a:lnTo>
                    <a:pt x="859" y="85"/>
                  </a:lnTo>
                  <a:lnTo>
                    <a:pt x="859" y="85"/>
                  </a:lnTo>
                  <a:lnTo>
                    <a:pt x="890" y="85"/>
                  </a:lnTo>
                  <a:lnTo>
                    <a:pt x="890" y="85"/>
                  </a:lnTo>
                  <a:lnTo>
                    <a:pt x="905" y="85"/>
                  </a:lnTo>
                  <a:lnTo>
                    <a:pt x="905" y="85"/>
                  </a:lnTo>
                  <a:lnTo>
                    <a:pt x="928" y="85"/>
                  </a:lnTo>
                  <a:lnTo>
                    <a:pt x="928" y="85"/>
                  </a:lnTo>
                  <a:lnTo>
                    <a:pt x="1005" y="85"/>
                  </a:lnTo>
                  <a:lnTo>
                    <a:pt x="1005" y="85"/>
                  </a:lnTo>
                  <a:lnTo>
                    <a:pt x="1020" y="85"/>
                  </a:lnTo>
                  <a:lnTo>
                    <a:pt x="1020" y="85"/>
                  </a:lnTo>
                  <a:lnTo>
                    <a:pt x="1028" y="85"/>
                  </a:lnTo>
                  <a:lnTo>
                    <a:pt x="1028" y="85"/>
                  </a:lnTo>
                  <a:lnTo>
                    <a:pt x="1028" y="85"/>
                  </a:lnTo>
                  <a:lnTo>
                    <a:pt x="1028" y="85"/>
                  </a:lnTo>
                  <a:lnTo>
                    <a:pt x="1043" y="85"/>
                  </a:lnTo>
                  <a:lnTo>
                    <a:pt x="1043" y="85"/>
                  </a:lnTo>
                  <a:lnTo>
                    <a:pt x="1074" y="85"/>
                  </a:lnTo>
                  <a:lnTo>
                    <a:pt x="1074" y="85"/>
                  </a:lnTo>
                  <a:lnTo>
                    <a:pt x="1082" y="85"/>
                  </a:lnTo>
                  <a:lnTo>
                    <a:pt x="1082" y="85"/>
                  </a:lnTo>
                  <a:lnTo>
                    <a:pt x="1105" y="85"/>
                  </a:lnTo>
                  <a:lnTo>
                    <a:pt x="1105" y="85"/>
                  </a:lnTo>
                  <a:lnTo>
                    <a:pt x="1159" y="85"/>
                  </a:lnTo>
                  <a:lnTo>
                    <a:pt x="1159" y="85"/>
                  </a:lnTo>
                  <a:lnTo>
                    <a:pt x="1166" y="85"/>
                  </a:lnTo>
                  <a:lnTo>
                    <a:pt x="1166" y="85"/>
                  </a:lnTo>
                  <a:lnTo>
                    <a:pt x="1197" y="85"/>
                  </a:lnTo>
                  <a:lnTo>
                    <a:pt x="1197" y="85"/>
                  </a:lnTo>
                  <a:lnTo>
                    <a:pt x="1235" y="85"/>
                  </a:lnTo>
                  <a:lnTo>
                    <a:pt x="1235" y="85"/>
                  </a:lnTo>
                  <a:lnTo>
                    <a:pt x="1289" y="85"/>
                  </a:lnTo>
                  <a:lnTo>
                    <a:pt x="1289" y="85"/>
                  </a:lnTo>
                  <a:lnTo>
                    <a:pt x="1304" y="85"/>
                  </a:lnTo>
                  <a:lnTo>
                    <a:pt x="1304" y="85"/>
                  </a:lnTo>
                  <a:lnTo>
                    <a:pt x="1335" y="85"/>
                  </a:lnTo>
                  <a:lnTo>
                    <a:pt x="1335" y="85"/>
                  </a:lnTo>
                  <a:lnTo>
                    <a:pt x="1358" y="85"/>
                  </a:lnTo>
                  <a:lnTo>
                    <a:pt x="1358" y="85"/>
                  </a:lnTo>
                  <a:lnTo>
                    <a:pt x="1358" y="85"/>
                  </a:lnTo>
                  <a:lnTo>
                    <a:pt x="1358" y="85"/>
                  </a:lnTo>
                  <a:lnTo>
                    <a:pt x="1404" y="85"/>
                  </a:lnTo>
                  <a:lnTo>
                    <a:pt x="1404" y="85"/>
                  </a:lnTo>
                  <a:lnTo>
                    <a:pt x="1412" y="85"/>
                  </a:lnTo>
                  <a:lnTo>
                    <a:pt x="1412" y="85"/>
                  </a:lnTo>
                  <a:lnTo>
                    <a:pt x="1419" y="85"/>
                  </a:lnTo>
                  <a:lnTo>
                    <a:pt x="1419" y="77"/>
                  </a:lnTo>
                  <a:lnTo>
                    <a:pt x="1442" y="77"/>
                  </a:lnTo>
                  <a:lnTo>
                    <a:pt x="1442" y="77"/>
                  </a:lnTo>
                  <a:lnTo>
                    <a:pt x="1458" y="77"/>
                  </a:lnTo>
                  <a:lnTo>
                    <a:pt x="1458" y="77"/>
                  </a:lnTo>
                  <a:lnTo>
                    <a:pt x="1458" y="77"/>
                  </a:lnTo>
                  <a:lnTo>
                    <a:pt x="1458" y="77"/>
                  </a:lnTo>
                  <a:lnTo>
                    <a:pt x="1511" y="77"/>
                  </a:lnTo>
                  <a:lnTo>
                    <a:pt x="1511" y="77"/>
                  </a:lnTo>
                  <a:lnTo>
                    <a:pt x="1519" y="77"/>
                  </a:lnTo>
                  <a:lnTo>
                    <a:pt x="1519" y="77"/>
                  </a:lnTo>
                  <a:lnTo>
                    <a:pt x="1542" y="77"/>
                  </a:lnTo>
                  <a:lnTo>
                    <a:pt x="1542" y="77"/>
                  </a:lnTo>
                  <a:lnTo>
                    <a:pt x="1550" y="77"/>
                  </a:lnTo>
                  <a:lnTo>
                    <a:pt x="1550" y="77"/>
                  </a:lnTo>
                  <a:lnTo>
                    <a:pt x="1603" y="77"/>
                  </a:lnTo>
                  <a:lnTo>
                    <a:pt x="1603" y="77"/>
                  </a:lnTo>
                  <a:lnTo>
                    <a:pt x="1611" y="77"/>
                  </a:lnTo>
                  <a:lnTo>
                    <a:pt x="1611" y="77"/>
                  </a:lnTo>
                  <a:lnTo>
                    <a:pt x="1611" y="77"/>
                  </a:lnTo>
                  <a:lnTo>
                    <a:pt x="1611" y="77"/>
                  </a:lnTo>
                  <a:lnTo>
                    <a:pt x="1649" y="77"/>
                  </a:lnTo>
                  <a:lnTo>
                    <a:pt x="1649" y="77"/>
                  </a:lnTo>
                  <a:lnTo>
                    <a:pt x="1657" y="77"/>
                  </a:lnTo>
                  <a:lnTo>
                    <a:pt x="1657" y="77"/>
                  </a:lnTo>
                  <a:lnTo>
                    <a:pt x="1688" y="77"/>
                  </a:lnTo>
                  <a:lnTo>
                    <a:pt x="1688" y="77"/>
                  </a:lnTo>
                  <a:lnTo>
                    <a:pt x="1695" y="77"/>
                  </a:lnTo>
                  <a:lnTo>
                    <a:pt x="1695" y="77"/>
                  </a:lnTo>
                  <a:lnTo>
                    <a:pt x="1711" y="77"/>
                  </a:lnTo>
                  <a:lnTo>
                    <a:pt x="1711" y="77"/>
                  </a:lnTo>
                  <a:lnTo>
                    <a:pt x="1726" y="77"/>
                  </a:lnTo>
                  <a:lnTo>
                    <a:pt x="1726" y="69"/>
                  </a:lnTo>
                  <a:lnTo>
                    <a:pt x="1765" y="69"/>
                  </a:lnTo>
                  <a:lnTo>
                    <a:pt x="1765" y="69"/>
                  </a:lnTo>
                  <a:lnTo>
                    <a:pt x="1788" y="69"/>
                  </a:lnTo>
                  <a:lnTo>
                    <a:pt x="1788" y="69"/>
                  </a:lnTo>
                  <a:lnTo>
                    <a:pt x="1795" y="69"/>
                  </a:lnTo>
                  <a:lnTo>
                    <a:pt x="1795" y="69"/>
                  </a:lnTo>
                  <a:lnTo>
                    <a:pt x="1811" y="69"/>
                  </a:lnTo>
                  <a:lnTo>
                    <a:pt x="1811" y="69"/>
                  </a:lnTo>
                  <a:lnTo>
                    <a:pt x="1811" y="69"/>
                  </a:lnTo>
                  <a:lnTo>
                    <a:pt x="1811" y="69"/>
                  </a:lnTo>
                  <a:lnTo>
                    <a:pt x="1818" y="69"/>
                  </a:lnTo>
                  <a:lnTo>
                    <a:pt x="1818" y="69"/>
                  </a:lnTo>
                  <a:lnTo>
                    <a:pt x="1826" y="69"/>
                  </a:lnTo>
                  <a:lnTo>
                    <a:pt x="1826" y="69"/>
                  </a:lnTo>
                  <a:lnTo>
                    <a:pt x="1834" y="69"/>
                  </a:lnTo>
                  <a:lnTo>
                    <a:pt x="1834" y="69"/>
                  </a:lnTo>
                  <a:lnTo>
                    <a:pt x="1864" y="69"/>
                  </a:lnTo>
                  <a:lnTo>
                    <a:pt x="1864" y="69"/>
                  </a:lnTo>
                  <a:lnTo>
                    <a:pt x="1903" y="69"/>
                  </a:lnTo>
                  <a:lnTo>
                    <a:pt x="1903" y="69"/>
                  </a:lnTo>
                  <a:lnTo>
                    <a:pt x="1910" y="69"/>
                  </a:lnTo>
                  <a:lnTo>
                    <a:pt x="1910" y="69"/>
                  </a:lnTo>
                  <a:lnTo>
                    <a:pt x="1933" y="69"/>
                  </a:lnTo>
                  <a:lnTo>
                    <a:pt x="1933" y="62"/>
                  </a:lnTo>
                  <a:lnTo>
                    <a:pt x="1941" y="62"/>
                  </a:lnTo>
                  <a:lnTo>
                    <a:pt x="1941" y="62"/>
                  </a:lnTo>
                  <a:lnTo>
                    <a:pt x="1949" y="62"/>
                  </a:lnTo>
                  <a:lnTo>
                    <a:pt x="1949" y="62"/>
                  </a:lnTo>
                  <a:lnTo>
                    <a:pt x="1964" y="62"/>
                  </a:lnTo>
                  <a:lnTo>
                    <a:pt x="1964" y="62"/>
                  </a:lnTo>
                  <a:lnTo>
                    <a:pt x="1979" y="62"/>
                  </a:lnTo>
                  <a:lnTo>
                    <a:pt x="1979" y="62"/>
                  </a:lnTo>
                  <a:lnTo>
                    <a:pt x="1987" y="62"/>
                  </a:lnTo>
                  <a:lnTo>
                    <a:pt x="1987" y="62"/>
                  </a:lnTo>
                  <a:lnTo>
                    <a:pt x="1995" y="62"/>
                  </a:lnTo>
                  <a:lnTo>
                    <a:pt x="1995" y="62"/>
                  </a:lnTo>
                  <a:lnTo>
                    <a:pt x="2010" y="62"/>
                  </a:lnTo>
                  <a:lnTo>
                    <a:pt x="2010" y="62"/>
                  </a:lnTo>
                  <a:lnTo>
                    <a:pt x="2018" y="62"/>
                  </a:lnTo>
                  <a:lnTo>
                    <a:pt x="2018" y="62"/>
                  </a:lnTo>
                  <a:lnTo>
                    <a:pt x="2025" y="62"/>
                  </a:lnTo>
                  <a:lnTo>
                    <a:pt x="2025" y="62"/>
                  </a:lnTo>
                  <a:lnTo>
                    <a:pt x="2033" y="62"/>
                  </a:lnTo>
                  <a:lnTo>
                    <a:pt x="2033" y="62"/>
                  </a:lnTo>
                  <a:lnTo>
                    <a:pt x="2041" y="62"/>
                  </a:lnTo>
                  <a:lnTo>
                    <a:pt x="2041" y="62"/>
                  </a:lnTo>
                  <a:lnTo>
                    <a:pt x="2041" y="62"/>
                  </a:lnTo>
                  <a:lnTo>
                    <a:pt x="2041" y="62"/>
                  </a:lnTo>
                  <a:lnTo>
                    <a:pt x="2064" y="62"/>
                  </a:lnTo>
                  <a:lnTo>
                    <a:pt x="2064" y="62"/>
                  </a:lnTo>
                  <a:lnTo>
                    <a:pt x="2087" y="62"/>
                  </a:lnTo>
                  <a:lnTo>
                    <a:pt x="2087" y="62"/>
                  </a:lnTo>
                  <a:lnTo>
                    <a:pt x="2094" y="62"/>
                  </a:lnTo>
                  <a:lnTo>
                    <a:pt x="2094" y="62"/>
                  </a:lnTo>
                  <a:lnTo>
                    <a:pt x="2102" y="62"/>
                  </a:lnTo>
                  <a:lnTo>
                    <a:pt x="2102" y="62"/>
                  </a:lnTo>
                  <a:lnTo>
                    <a:pt x="2117" y="62"/>
                  </a:lnTo>
                  <a:lnTo>
                    <a:pt x="2117" y="62"/>
                  </a:lnTo>
                  <a:lnTo>
                    <a:pt x="2117" y="62"/>
                  </a:lnTo>
                  <a:lnTo>
                    <a:pt x="2117" y="62"/>
                  </a:lnTo>
                  <a:lnTo>
                    <a:pt x="2125" y="62"/>
                  </a:lnTo>
                  <a:lnTo>
                    <a:pt x="2125" y="62"/>
                  </a:lnTo>
                  <a:lnTo>
                    <a:pt x="2140" y="62"/>
                  </a:lnTo>
                  <a:lnTo>
                    <a:pt x="2140" y="62"/>
                  </a:lnTo>
                  <a:lnTo>
                    <a:pt x="2140" y="62"/>
                  </a:lnTo>
                  <a:lnTo>
                    <a:pt x="2140" y="62"/>
                  </a:lnTo>
                  <a:lnTo>
                    <a:pt x="2148" y="62"/>
                  </a:lnTo>
                  <a:lnTo>
                    <a:pt x="2148" y="62"/>
                  </a:lnTo>
                  <a:lnTo>
                    <a:pt x="2156" y="62"/>
                  </a:lnTo>
                  <a:lnTo>
                    <a:pt x="2156" y="62"/>
                  </a:lnTo>
                  <a:lnTo>
                    <a:pt x="2163" y="62"/>
                  </a:lnTo>
                  <a:lnTo>
                    <a:pt x="2163" y="62"/>
                  </a:lnTo>
                  <a:lnTo>
                    <a:pt x="2163" y="62"/>
                  </a:lnTo>
                  <a:lnTo>
                    <a:pt x="2163" y="62"/>
                  </a:lnTo>
                  <a:lnTo>
                    <a:pt x="2171" y="62"/>
                  </a:lnTo>
                  <a:lnTo>
                    <a:pt x="2171" y="62"/>
                  </a:lnTo>
                  <a:lnTo>
                    <a:pt x="2179" y="62"/>
                  </a:lnTo>
                  <a:lnTo>
                    <a:pt x="2179" y="62"/>
                  </a:lnTo>
                  <a:lnTo>
                    <a:pt x="2186" y="62"/>
                  </a:lnTo>
                  <a:lnTo>
                    <a:pt x="2186" y="62"/>
                  </a:lnTo>
                  <a:lnTo>
                    <a:pt x="2186" y="62"/>
                  </a:lnTo>
                  <a:lnTo>
                    <a:pt x="2186" y="62"/>
                  </a:lnTo>
                  <a:lnTo>
                    <a:pt x="2194" y="62"/>
                  </a:lnTo>
                  <a:lnTo>
                    <a:pt x="2194" y="62"/>
                  </a:lnTo>
                  <a:lnTo>
                    <a:pt x="2202" y="62"/>
                  </a:lnTo>
                  <a:lnTo>
                    <a:pt x="2202" y="62"/>
                  </a:lnTo>
                  <a:lnTo>
                    <a:pt x="2209" y="62"/>
                  </a:lnTo>
                  <a:lnTo>
                    <a:pt x="2209" y="62"/>
                  </a:lnTo>
                  <a:lnTo>
                    <a:pt x="2217" y="62"/>
                  </a:lnTo>
                  <a:lnTo>
                    <a:pt x="2217" y="62"/>
                  </a:lnTo>
                  <a:lnTo>
                    <a:pt x="2217" y="62"/>
                  </a:lnTo>
                  <a:lnTo>
                    <a:pt x="2217" y="62"/>
                  </a:lnTo>
                  <a:lnTo>
                    <a:pt x="2225" y="62"/>
                  </a:lnTo>
                  <a:lnTo>
                    <a:pt x="2225" y="62"/>
                  </a:lnTo>
                  <a:lnTo>
                    <a:pt x="2232" y="62"/>
                  </a:lnTo>
                  <a:lnTo>
                    <a:pt x="2232" y="62"/>
                  </a:lnTo>
                  <a:lnTo>
                    <a:pt x="2240" y="62"/>
                  </a:lnTo>
                  <a:lnTo>
                    <a:pt x="2240" y="62"/>
                  </a:lnTo>
                  <a:lnTo>
                    <a:pt x="2240" y="62"/>
                  </a:lnTo>
                  <a:lnTo>
                    <a:pt x="2240" y="62"/>
                  </a:lnTo>
                  <a:lnTo>
                    <a:pt x="2248" y="62"/>
                  </a:lnTo>
                  <a:lnTo>
                    <a:pt x="2248" y="54"/>
                  </a:lnTo>
                  <a:lnTo>
                    <a:pt x="2263" y="54"/>
                  </a:lnTo>
                  <a:lnTo>
                    <a:pt x="2263" y="54"/>
                  </a:lnTo>
                  <a:lnTo>
                    <a:pt x="2263" y="54"/>
                  </a:lnTo>
                  <a:lnTo>
                    <a:pt x="2263" y="54"/>
                  </a:lnTo>
                  <a:lnTo>
                    <a:pt x="2271" y="54"/>
                  </a:lnTo>
                  <a:lnTo>
                    <a:pt x="2271" y="54"/>
                  </a:lnTo>
                  <a:lnTo>
                    <a:pt x="2278" y="54"/>
                  </a:lnTo>
                  <a:lnTo>
                    <a:pt x="2278" y="54"/>
                  </a:lnTo>
                  <a:lnTo>
                    <a:pt x="2286" y="54"/>
                  </a:lnTo>
                  <a:lnTo>
                    <a:pt x="2286" y="54"/>
                  </a:lnTo>
                  <a:lnTo>
                    <a:pt x="2294" y="54"/>
                  </a:lnTo>
                  <a:lnTo>
                    <a:pt x="2294" y="54"/>
                  </a:lnTo>
                  <a:lnTo>
                    <a:pt x="2294" y="54"/>
                  </a:lnTo>
                  <a:lnTo>
                    <a:pt x="2294" y="54"/>
                  </a:lnTo>
                  <a:lnTo>
                    <a:pt x="2301" y="54"/>
                  </a:lnTo>
                  <a:lnTo>
                    <a:pt x="2301" y="54"/>
                  </a:lnTo>
                  <a:lnTo>
                    <a:pt x="2309" y="54"/>
                  </a:lnTo>
                  <a:lnTo>
                    <a:pt x="2309" y="54"/>
                  </a:lnTo>
                  <a:lnTo>
                    <a:pt x="2317" y="54"/>
                  </a:lnTo>
                  <a:lnTo>
                    <a:pt x="2317" y="54"/>
                  </a:lnTo>
                  <a:lnTo>
                    <a:pt x="2317" y="54"/>
                  </a:lnTo>
                  <a:lnTo>
                    <a:pt x="2317" y="54"/>
                  </a:lnTo>
                  <a:lnTo>
                    <a:pt x="2332" y="54"/>
                  </a:lnTo>
                  <a:lnTo>
                    <a:pt x="2332" y="54"/>
                  </a:lnTo>
                  <a:lnTo>
                    <a:pt x="2340" y="54"/>
                  </a:lnTo>
                  <a:lnTo>
                    <a:pt x="2340" y="54"/>
                  </a:lnTo>
                  <a:lnTo>
                    <a:pt x="2340" y="54"/>
                  </a:lnTo>
                  <a:lnTo>
                    <a:pt x="2340" y="54"/>
                  </a:lnTo>
                  <a:lnTo>
                    <a:pt x="2347" y="54"/>
                  </a:lnTo>
                  <a:lnTo>
                    <a:pt x="2347" y="54"/>
                  </a:lnTo>
                  <a:lnTo>
                    <a:pt x="2355" y="54"/>
                  </a:lnTo>
                  <a:lnTo>
                    <a:pt x="2355" y="54"/>
                  </a:lnTo>
                  <a:lnTo>
                    <a:pt x="2363" y="54"/>
                  </a:lnTo>
                  <a:lnTo>
                    <a:pt x="2363" y="54"/>
                  </a:lnTo>
                  <a:lnTo>
                    <a:pt x="2378" y="54"/>
                  </a:lnTo>
                  <a:lnTo>
                    <a:pt x="2378" y="54"/>
                  </a:lnTo>
                  <a:lnTo>
                    <a:pt x="2386" y="54"/>
                  </a:lnTo>
                  <a:lnTo>
                    <a:pt x="2386" y="54"/>
                  </a:lnTo>
                  <a:lnTo>
                    <a:pt x="2394" y="54"/>
                  </a:lnTo>
                  <a:lnTo>
                    <a:pt x="2394" y="54"/>
                  </a:lnTo>
                  <a:lnTo>
                    <a:pt x="2394" y="54"/>
                  </a:lnTo>
                  <a:lnTo>
                    <a:pt x="2394" y="54"/>
                  </a:lnTo>
                  <a:lnTo>
                    <a:pt x="2401" y="54"/>
                  </a:lnTo>
                  <a:lnTo>
                    <a:pt x="2401" y="54"/>
                  </a:lnTo>
                  <a:lnTo>
                    <a:pt x="2409" y="54"/>
                  </a:lnTo>
                  <a:lnTo>
                    <a:pt x="2409" y="54"/>
                  </a:lnTo>
                  <a:lnTo>
                    <a:pt x="2417" y="54"/>
                  </a:lnTo>
                  <a:lnTo>
                    <a:pt x="2417" y="54"/>
                  </a:lnTo>
                  <a:lnTo>
                    <a:pt x="2417" y="54"/>
                  </a:lnTo>
                  <a:lnTo>
                    <a:pt x="2417" y="54"/>
                  </a:lnTo>
                  <a:lnTo>
                    <a:pt x="2424" y="54"/>
                  </a:lnTo>
                  <a:lnTo>
                    <a:pt x="2424" y="54"/>
                  </a:lnTo>
                  <a:lnTo>
                    <a:pt x="2432" y="54"/>
                  </a:lnTo>
                  <a:lnTo>
                    <a:pt x="2432" y="54"/>
                  </a:lnTo>
                  <a:lnTo>
                    <a:pt x="2440" y="54"/>
                  </a:lnTo>
                  <a:lnTo>
                    <a:pt x="2440" y="54"/>
                  </a:lnTo>
                  <a:lnTo>
                    <a:pt x="2440" y="54"/>
                  </a:lnTo>
                  <a:lnTo>
                    <a:pt x="2440" y="54"/>
                  </a:lnTo>
                  <a:lnTo>
                    <a:pt x="2447" y="54"/>
                  </a:lnTo>
                  <a:lnTo>
                    <a:pt x="2447" y="54"/>
                  </a:lnTo>
                  <a:lnTo>
                    <a:pt x="2455" y="54"/>
                  </a:lnTo>
                  <a:lnTo>
                    <a:pt x="2455" y="54"/>
                  </a:lnTo>
                  <a:lnTo>
                    <a:pt x="2463" y="54"/>
                  </a:lnTo>
                  <a:lnTo>
                    <a:pt x="2463" y="54"/>
                  </a:lnTo>
                  <a:lnTo>
                    <a:pt x="2470" y="54"/>
                  </a:lnTo>
                  <a:lnTo>
                    <a:pt x="2470" y="54"/>
                  </a:lnTo>
                  <a:lnTo>
                    <a:pt x="2470" y="54"/>
                  </a:lnTo>
                  <a:lnTo>
                    <a:pt x="2470" y="54"/>
                  </a:lnTo>
                  <a:lnTo>
                    <a:pt x="2478" y="54"/>
                  </a:lnTo>
                  <a:lnTo>
                    <a:pt x="2478" y="54"/>
                  </a:lnTo>
                  <a:lnTo>
                    <a:pt x="2486" y="54"/>
                  </a:lnTo>
                  <a:lnTo>
                    <a:pt x="2486" y="54"/>
                  </a:lnTo>
                  <a:lnTo>
                    <a:pt x="2493" y="54"/>
                  </a:lnTo>
                  <a:lnTo>
                    <a:pt x="2493" y="54"/>
                  </a:lnTo>
                  <a:lnTo>
                    <a:pt x="2493" y="54"/>
                  </a:lnTo>
                  <a:lnTo>
                    <a:pt x="2493" y="54"/>
                  </a:lnTo>
                  <a:lnTo>
                    <a:pt x="2501" y="54"/>
                  </a:lnTo>
                  <a:lnTo>
                    <a:pt x="2501" y="54"/>
                  </a:lnTo>
                  <a:lnTo>
                    <a:pt x="2509" y="54"/>
                  </a:lnTo>
                  <a:lnTo>
                    <a:pt x="2509" y="54"/>
                  </a:lnTo>
                  <a:lnTo>
                    <a:pt x="2516" y="54"/>
                  </a:lnTo>
                  <a:lnTo>
                    <a:pt x="2516" y="54"/>
                  </a:lnTo>
                  <a:lnTo>
                    <a:pt x="2516" y="54"/>
                  </a:lnTo>
                  <a:lnTo>
                    <a:pt x="2516" y="54"/>
                  </a:lnTo>
                  <a:lnTo>
                    <a:pt x="2524" y="54"/>
                  </a:lnTo>
                  <a:lnTo>
                    <a:pt x="2524" y="54"/>
                  </a:lnTo>
                  <a:lnTo>
                    <a:pt x="2532" y="54"/>
                  </a:lnTo>
                  <a:lnTo>
                    <a:pt x="2532" y="54"/>
                  </a:lnTo>
                  <a:lnTo>
                    <a:pt x="2539" y="54"/>
                  </a:lnTo>
                  <a:lnTo>
                    <a:pt x="2539" y="54"/>
                  </a:lnTo>
                  <a:lnTo>
                    <a:pt x="2539" y="54"/>
                  </a:lnTo>
                  <a:lnTo>
                    <a:pt x="2539" y="54"/>
                  </a:lnTo>
                  <a:lnTo>
                    <a:pt x="2547" y="54"/>
                  </a:lnTo>
                  <a:lnTo>
                    <a:pt x="2547" y="54"/>
                  </a:lnTo>
                  <a:lnTo>
                    <a:pt x="2555" y="54"/>
                  </a:lnTo>
                  <a:lnTo>
                    <a:pt x="2555" y="54"/>
                  </a:lnTo>
                  <a:lnTo>
                    <a:pt x="2562" y="54"/>
                  </a:lnTo>
                  <a:lnTo>
                    <a:pt x="2562" y="54"/>
                  </a:lnTo>
                  <a:lnTo>
                    <a:pt x="2570" y="54"/>
                  </a:lnTo>
                  <a:lnTo>
                    <a:pt x="2570" y="54"/>
                  </a:lnTo>
                  <a:lnTo>
                    <a:pt x="2570" y="54"/>
                  </a:lnTo>
                  <a:lnTo>
                    <a:pt x="2570" y="54"/>
                  </a:lnTo>
                  <a:lnTo>
                    <a:pt x="2578" y="54"/>
                  </a:lnTo>
                  <a:lnTo>
                    <a:pt x="2578" y="54"/>
                  </a:lnTo>
                  <a:lnTo>
                    <a:pt x="2585" y="54"/>
                  </a:lnTo>
                  <a:lnTo>
                    <a:pt x="2585" y="54"/>
                  </a:lnTo>
                  <a:lnTo>
                    <a:pt x="2593" y="54"/>
                  </a:lnTo>
                  <a:lnTo>
                    <a:pt x="2593" y="54"/>
                  </a:lnTo>
                  <a:lnTo>
                    <a:pt x="2593" y="54"/>
                  </a:lnTo>
                  <a:lnTo>
                    <a:pt x="2593" y="54"/>
                  </a:lnTo>
                  <a:lnTo>
                    <a:pt x="2601" y="54"/>
                  </a:lnTo>
                  <a:lnTo>
                    <a:pt x="2601" y="54"/>
                  </a:lnTo>
                  <a:lnTo>
                    <a:pt x="2608" y="54"/>
                  </a:lnTo>
                  <a:lnTo>
                    <a:pt x="2608" y="54"/>
                  </a:lnTo>
                  <a:lnTo>
                    <a:pt x="2616" y="54"/>
                  </a:lnTo>
                  <a:lnTo>
                    <a:pt x="2616" y="54"/>
                  </a:lnTo>
                  <a:lnTo>
                    <a:pt x="2616" y="54"/>
                  </a:lnTo>
                  <a:lnTo>
                    <a:pt x="2616" y="54"/>
                  </a:lnTo>
                  <a:lnTo>
                    <a:pt x="2624" y="54"/>
                  </a:lnTo>
                  <a:lnTo>
                    <a:pt x="2624" y="54"/>
                  </a:lnTo>
                  <a:lnTo>
                    <a:pt x="2631" y="54"/>
                  </a:lnTo>
                  <a:lnTo>
                    <a:pt x="2631" y="54"/>
                  </a:lnTo>
                  <a:lnTo>
                    <a:pt x="2639" y="54"/>
                  </a:lnTo>
                  <a:lnTo>
                    <a:pt x="2639" y="54"/>
                  </a:lnTo>
                  <a:lnTo>
                    <a:pt x="2639" y="54"/>
                  </a:lnTo>
                  <a:lnTo>
                    <a:pt x="2639" y="54"/>
                  </a:lnTo>
                  <a:lnTo>
                    <a:pt x="2647" y="54"/>
                  </a:lnTo>
                  <a:lnTo>
                    <a:pt x="2647" y="54"/>
                  </a:lnTo>
                  <a:lnTo>
                    <a:pt x="2654" y="54"/>
                  </a:lnTo>
                  <a:lnTo>
                    <a:pt x="2654" y="54"/>
                  </a:lnTo>
                  <a:lnTo>
                    <a:pt x="2662" y="54"/>
                  </a:lnTo>
                  <a:lnTo>
                    <a:pt x="2662" y="54"/>
                  </a:lnTo>
                  <a:lnTo>
                    <a:pt x="2670" y="54"/>
                  </a:lnTo>
                  <a:lnTo>
                    <a:pt x="2670" y="54"/>
                  </a:lnTo>
                  <a:lnTo>
                    <a:pt x="2670" y="54"/>
                  </a:lnTo>
                  <a:lnTo>
                    <a:pt x="2670" y="54"/>
                  </a:lnTo>
                  <a:lnTo>
                    <a:pt x="2677" y="54"/>
                  </a:lnTo>
                  <a:lnTo>
                    <a:pt x="2677" y="54"/>
                  </a:lnTo>
                  <a:lnTo>
                    <a:pt x="2685" y="54"/>
                  </a:lnTo>
                  <a:lnTo>
                    <a:pt x="2685" y="54"/>
                  </a:lnTo>
                  <a:lnTo>
                    <a:pt x="2693" y="54"/>
                  </a:lnTo>
                  <a:lnTo>
                    <a:pt x="2693" y="54"/>
                  </a:lnTo>
                  <a:lnTo>
                    <a:pt x="2693" y="54"/>
                  </a:lnTo>
                  <a:lnTo>
                    <a:pt x="2693" y="54"/>
                  </a:lnTo>
                  <a:lnTo>
                    <a:pt x="2700" y="54"/>
                  </a:lnTo>
                  <a:lnTo>
                    <a:pt x="2700" y="54"/>
                  </a:lnTo>
                  <a:lnTo>
                    <a:pt x="2708" y="54"/>
                  </a:lnTo>
                  <a:lnTo>
                    <a:pt x="2708" y="54"/>
                  </a:lnTo>
                  <a:lnTo>
                    <a:pt x="2716" y="54"/>
                  </a:lnTo>
                  <a:lnTo>
                    <a:pt x="2716" y="54"/>
                  </a:lnTo>
                  <a:lnTo>
                    <a:pt x="2716" y="54"/>
                  </a:lnTo>
                  <a:lnTo>
                    <a:pt x="2716" y="54"/>
                  </a:lnTo>
                  <a:lnTo>
                    <a:pt x="2723" y="54"/>
                  </a:lnTo>
                  <a:lnTo>
                    <a:pt x="2723" y="54"/>
                  </a:lnTo>
                  <a:lnTo>
                    <a:pt x="2731" y="54"/>
                  </a:lnTo>
                  <a:lnTo>
                    <a:pt x="2731" y="54"/>
                  </a:lnTo>
                  <a:lnTo>
                    <a:pt x="2739" y="54"/>
                  </a:lnTo>
                  <a:lnTo>
                    <a:pt x="2739" y="54"/>
                  </a:lnTo>
                  <a:lnTo>
                    <a:pt x="2746" y="54"/>
                  </a:lnTo>
                  <a:lnTo>
                    <a:pt x="2746" y="54"/>
                  </a:lnTo>
                  <a:lnTo>
                    <a:pt x="2746" y="54"/>
                  </a:lnTo>
                  <a:lnTo>
                    <a:pt x="2746" y="54"/>
                  </a:lnTo>
                  <a:lnTo>
                    <a:pt x="2754" y="54"/>
                  </a:lnTo>
                  <a:lnTo>
                    <a:pt x="2754" y="54"/>
                  </a:lnTo>
                  <a:lnTo>
                    <a:pt x="2762" y="54"/>
                  </a:lnTo>
                  <a:lnTo>
                    <a:pt x="2762" y="54"/>
                  </a:lnTo>
                  <a:lnTo>
                    <a:pt x="2769" y="54"/>
                  </a:lnTo>
                  <a:lnTo>
                    <a:pt x="2769" y="54"/>
                  </a:lnTo>
                  <a:lnTo>
                    <a:pt x="2769" y="54"/>
                  </a:lnTo>
                  <a:lnTo>
                    <a:pt x="2769" y="54"/>
                  </a:lnTo>
                  <a:lnTo>
                    <a:pt x="2777" y="54"/>
                  </a:lnTo>
                  <a:lnTo>
                    <a:pt x="2777" y="54"/>
                  </a:lnTo>
                  <a:lnTo>
                    <a:pt x="2785" y="54"/>
                  </a:lnTo>
                  <a:lnTo>
                    <a:pt x="2785" y="54"/>
                  </a:lnTo>
                  <a:lnTo>
                    <a:pt x="2792" y="54"/>
                  </a:lnTo>
                  <a:lnTo>
                    <a:pt x="2792" y="54"/>
                  </a:lnTo>
                  <a:lnTo>
                    <a:pt x="2792" y="54"/>
                  </a:lnTo>
                  <a:lnTo>
                    <a:pt x="2792" y="54"/>
                  </a:lnTo>
                  <a:lnTo>
                    <a:pt x="2800" y="54"/>
                  </a:lnTo>
                  <a:lnTo>
                    <a:pt x="2800" y="54"/>
                  </a:lnTo>
                  <a:lnTo>
                    <a:pt x="2808" y="54"/>
                  </a:lnTo>
                  <a:lnTo>
                    <a:pt x="2808" y="54"/>
                  </a:lnTo>
                  <a:lnTo>
                    <a:pt x="2815" y="54"/>
                  </a:lnTo>
                  <a:lnTo>
                    <a:pt x="2815" y="54"/>
                  </a:lnTo>
                  <a:lnTo>
                    <a:pt x="2815" y="54"/>
                  </a:lnTo>
                  <a:lnTo>
                    <a:pt x="2815" y="54"/>
                  </a:lnTo>
                  <a:lnTo>
                    <a:pt x="2823" y="54"/>
                  </a:lnTo>
                  <a:lnTo>
                    <a:pt x="2823" y="46"/>
                  </a:lnTo>
                  <a:lnTo>
                    <a:pt x="2831" y="46"/>
                  </a:lnTo>
                  <a:lnTo>
                    <a:pt x="2831" y="46"/>
                  </a:lnTo>
                  <a:lnTo>
                    <a:pt x="2838" y="46"/>
                  </a:lnTo>
                  <a:lnTo>
                    <a:pt x="2838" y="46"/>
                  </a:lnTo>
                  <a:lnTo>
                    <a:pt x="2846" y="46"/>
                  </a:lnTo>
                  <a:lnTo>
                    <a:pt x="2846" y="46"/>
                  </a:lnTo>
                  <a:lnTo>
                    <a:pt x="2846" y="46"/>
                  </a:lnTo>
                  <a:lnTo>
                    <a:pt x="2846" y="46"/>
                  </a:lnTo>
                  <a:lnTo>
                    <a:pt x="2854" y="46"/>
                  </a:lnTo>
                  <a:lnTo>
                    <a:pt x="2854" y="46"/>
                  </a:lnTo>
                  <a:lnTo>
                    <a:pt x="2861" y="46"/>
                  </a:lnTo>
                  <a:lnTo>
                    <a:pt x="2861" y="46"/>
                  </a:lnTo>
                  <a:lnTo>
                    <a:pt x="2869" y="46"/>
                  </a:lnTo>
                  <a:lnTo>
                    <a:pt x="2869" y="46"/>
                  </a:lnTo>
                  <a:lnTo>
                    <a:pt x="2869" y="46"/>
                  </a:lnTo>
                  <a:lnTo>
                    <a:pt x="2869" y="46"/>
                  </a:lnTo>
                  <a:lnTo>
                    <a:pt x="2877" y="46"/>
                  </a:lnTo>
                  <a:lnTo>
                    <a:pt x="2877" y="46"/>
                  </a:lnTo>
                  <a:lnTo>
                    <a:pt x="2884" y="46"/>
                  </a:lnTo>
                  <a:lnTo>
                    <a:pt x="2884" y="46"/>
                  </a:lnTo>
                  <a:lnTo>
                    <a:pt x="2892" y="46"/>
                  </a:lnTo>
                  <a:lnTo>
                    <a:pt x="2892" y="46"/>
                  </a:lnTo>
                  <a:lnTo>
                    <a:pt x="2892" y="46"/>
                  </a:lnTo>
                  <a:lnTo>
                    <a:pt x="2892" y="46"/>
                  </a:lnTo>
                  <a:lnTo>
                    <a:pt x="2900" y="46"/>
                  </a:lnTo>
                  <a:lnTo>
                    <a:pt x="2900" y="46"/>
                  </a:lnTo>
                  <a:lnTo>
                    <a:pt x="2907" y="46"/>
                  </a:lnTo>
                  <a:lnTo>
                    <a:pt x="2907" y="46"/>
                  </a:lnTo>
                  <a:lnTo>
                    <a:pt x="2915" y="46"/>
                  </a:lnTo>
                  <a:lnTo>
                    <a:pt x="2915" y="46"/>
                  </a:lnTo>
                  <a:lnTo>
                    <a:pt x="2923" y="46"/>
                  </a:lnTo>
                  <a:lnTo>
                    <a:pt x="2923" y="46"/>
                  </a:lnTo>
                  <a:lnTo>
                    <a:pt x="2923" y="46"/>
                  </a:lnTo>
                  <a:lnTo>
                    <a:pt x="2923" y="46"/>
                  </a:lnTo>
                  <a:lnTo>
                    <a:pt x="2930" y="46"/>
                  </a:lnTo>
                  <a:lnTo>
                    <a:pt x="2930" y="46"/>
                  </a:lnTo>
                  <a:lnTo>
                    <a:pt x="2938" y="46"/>
                  </a:lnTo>
                  <a:lnTo>
                    <a:pt x="2938" y="46"/>
                  </a:lnTo>
                  <a:lnTo>
                    <a:pt x="2946" y="46"/>
                  </a:lnTo>
                  <a:lnTo>
                    <a:pt x="2946" y="46"/>
                  </a:lnTo>
                  <a:lnTo>
                    <a:pt x="2946" y="46"/>
                  </a:lnTo>
                  <a:lnTo>
                    <a:pt x="2946" y="46"/>
                  </a:lnTo>
                  <a:lnTo>
                    <a:pt x="2953" y="46"/>
                  </a:lnTo>
                  <a:lnTo>
                    <a:pt x="2953" y="46"/>
                  </a:lnTo>
                  <a:lnTo>
                    <a:pt x="2961" y="46"/>
                  </a:lnTo>
                  <a:lnTo>
                    <a:pt x="2961" y="46"/>
                  </a:lnTo>
                  <a:lnTo>
                    <a:pt x="2969" y="46"/>
                  </a:lnTo>
                  <a:lnTo>
                    <a:pt x="2969" y="46"/>
                  </a:lnTo>
                  <a:lnTo>
                    <a:pt x="2969" y="46"/>
                  </a:lnTo>
                  <a:lnTo>
                    <a:pt x="2969" y="46"/>
                  </a:lnTo>
                  <a:lnTo>
                    <a:pt x="2976" y="46"/>
                  </a:lnTo>
                  <a:lnTo>
                    <a:pt x="2976" y="46"/>
                  </a:lnTo>
                  <a:lnTo>
                    <a:pt x="2984" y="46"/>
                  </a:lnTo>
                  <a:lnTo>
                    <a:pt x="2984" y="46"/>
                  </a:lnTo>
                  <a:lnTo>
                    <a:pt x="2992" y="46"/>
                  </a:lnTo>
                  <a:lnTo>
                    <a:pt x="2992" y="46"/>
                  </a:lnTo>
                  <a:lnTo>
                    <a:pt x="2992" y="46"/>
                  </a:lnTo>
                  <a:lnTo>
                    <a:pt x="2992" y="46"/>
                  </a:lnTo>
                  <a:lnTo>
                    <a:pt x="3000" y="46"/>
                  </a:lnTo>
                  <a:lnTo>
                    <a:pt x="3000" y="46"/>
                  </a:lnTo>
                  <a:lnTo>
                    <a:pt x="3007" y="46"/>
                  </a:lnTo>
                  <a:lnTo>
                    <a:pt x="3007" y="46"/>
                  </a:lnTo>
                  <a:lnTo>
                    <a:pt x="3015" y="46"/>
                  </a:lnTo>
                  <a:lnTo>
                    <a:pt x="3015" y="46"/>
                  </a:lnTo>
                  <a:lnTo>
                    <a:pt x="3023" y="46"/>
                  </a:lnTo>
                  <a:lnTo>
                    <a:pt x="3023" y="46"/>
                  </a:lnTo>
                  <a:lnTo>
                    <a:pt x="3023" y="46"/>
                  </a:lnTo>
                  <a:lnTo>
                    <a:pt x="3023" y="46"/>
                  </a:lnTo>
                  <a:lnTo>
                    <a:pt x="3030" y="46"/>
                  </a:lnTo>
                  <a:lnTo>
                    <a:pt x="3030" y="46"/>
                  </a:lnTo>
                  <a:lnTo>
                    <a:pt x="3038" y="46"/>
                  </a:lnTo>
                  <a:lnTo>
                    <a:pt x="3038" y="46"/>
                  </a:lnTo>
                  <a:lnTo>
                    <a:pt x="3046" y="46"/>
                  </a:lnTo>
                  <a:lnTo>
                    <a:pt x="3046" y="46"/>
                  </a:lnTo>
                  <a:lnTo>
                    <a:pt x="3046" y="46"/>
                  </a:lnTo>
                  <a:lnTo>
                    <a:pt x="3046" y="46"/>
                  </a:lnTo>
                  <a:lnTo>
                    <a:pt x="3053" y="46"/>
                  </a:lnTo>
                  <a:lnTo>
                    <a:pt x="3053" y="46"/>
                  </a:lnTo>
                  <a:lnTo>
                    <a:pt x="3061" y="46"/>
                  </a:lnTo>
                  <a:lnTo>
                    <a:pt x="3061" y="46"/>
                  </a:lnTo>
                  <a:lnTo>
                    <a:pt x="3069" y="46"/>
                  </a:lnTo>
                  <a:lnTo>
                    <a:pt x="3069" y="46"/>
                  </a:lnTo>
                  <a:lnTo>
                    <a:pt x="3069" y="46"/>
                  </a:lnTo>
                  <a:lnTo>
                    <a:pt x="3069" y="46"/>
                  </a:lnTo>
                  <a:lnTo>
                    <a:pt x="3076" y="46"/>
                  </a:lnTo>
                  <a:lnTo>
                    <a:pt x="3076" y="46"/>
                  </a:lnTo>
                  <a:lnTo>
                    <a:pt x="3084" y="46"/>
                  </a:lnTo>
                  <a:lnTo>
                    <a:pt x="3084" y="46"/>
                  </a:lnTo>
                  <a:lnTo>
                    <a:pt x="3092" y="46"/>
                  </a:lnTo>
                  <a:lnTo>
                    <a:pt x="3092" y="46"/>
                  </a:lnTo>
                  <a:lnTo>
                    <a:pt x="3099" y="46"/>
                  </a:lnTo>
                  <a:lnTo>
                    <a:pt x="3099" y="46"/>
                  </a:lnTo>
                  <a:lnTo>
                    <a:pt x="3099" y="46"/>
                  </a:lnTo>
                  <a:lnTo>
                    <a:pt x="3099" y="46"/>
                  </a:lnTo>
                  <a:lnTo>
                    <a:pt x="3107" y="46"/>
                  </a:lnTo>
                  <a:lnTo>
                    <a:pt x="3107" y="46"/>
                  </a:lnTo>
                  <a:lnTo>
                    <a:pt x="3115" y="46"/>
                  </a:lnTo>
                  <a:lnTo>
                    <a:pt x="3115" y="46"/>
                  </a:lnTo>
                  <a:lnTo>
                    <a:pt x="3122" y="46"/>
                  </a:lnTo>
                  <a:lnTo>
                    <a:pt x="3122" y="46"/>
                  </a:lnTo>
                  <a:lnTo>
                    <a:pt x="3122" y="46"/>
                  </a:lnTo>
                  <a:lnTo>
                    <a:pt x="3122" y="46"/>
                  </a:lnTo>
                  <a:lnTo>
                    <a:pt x="3130" y="46"/>
                  </a:lnTo>
                  <a:lnTo>
                    <a:pt x="3130" y="46"/>
                  </a:lnTo>
                  <a:lnTo>
                    <a:pt x="3138" y="46"/>
                  </a:lnTo>
                  <a:lnTo>
                    <a:pt x="3138" y="46"/>
                  </a:lnTo>
                  <a:lnTo>
                    <a:pt x="3145" y="46"/>
                  </a:lnTo>
                  <a:lnTo>
                    <a:pt x="3145" y="46"/>
                  </a:lnTo>
                  <a:lnTo>
                    <a:pt x="3145" y="46"/>
                  </a:lnTo>
                  <a:lnTo>
                    <a:pt x="3145" y="46"/>
                  </a:lnTo>
                  <a:lnTo>
                    <a:pt x="3153" y="46"/>
                  </a:lnTo>
                  <a:lnTo>
                    <a:pt x="3153" y="46"/>
                  </a:lnTo>
                  <a:lnTo>
                    <a:pt x="3161" y="46"/>
                  </a:lnTo>
                  <a:lnTo>
                    <a:pt x="3161" y="46"/>
                  </a:lnTo>
                  <a:lnTo>
                    <a:pt x="3168" y="46"/>
                  </a:lnTo>
                  <a:lnTo>
                    <a:pt x="3168" y="46"/>
                  </a:lnTo>
                  <a:lnTo>
                    <a:pt x="3168" y="46"/>
                  </a:lnTo>
                  <a:lnTo>
                    <a:pt x="3168" y="46"/>
                  </a:lnTo>
                  <a:lnTo>
                    <a:pt x="3176" y="46"/>
                  </a:lnTo>
                  <a:lnTo>
                    <a:pt x="3176" y="46"/>
                  </a:lnTo>
                  <a:lnTo>
                    <a:pt x="3184" y="46"/>
                  </a:lnTo>
                  <a:lnTo>
                    <a:pt x="3184" y="39"/>
                  </a:lnTo>
                  <a:lnTo>
                    <a:pt x="3191" y="39"/>
                  </a:lnTo>
                  <a:lnTo>
                    <a:pt x="3191" y="39"/>
                  </a:lnTo>
                  <a:lnTo>
                    <a:pt x="3199" y="39"/>
                  </a:lnTo>
                  <a:lnTo>
                    <a:pt x="3199" y="39"/>
                  </a:lnTo>
                  <a:lnTo>
                    <a:pt x="3199" y="39"/>
                  </a:lnTo>
                  <a:lnTo>
                    <a:pt x="3199" y="39"/>
                  </a:lnTo>
                  <a:lnTo>
                    <a:pt x="3207" y="39"/>
                  </a:lnTo>
                  <a:lnTo>
                    <a:pt x="3207" y="39"/>
                  </a:lnTo>
                  <a:lnTo>
                    <a:pt x="3214" y="39"/>
                  </a:lnTo>
                  <a:lnTo>
                    <a:pt x="3214" y="39"/>
                  </a:lnTo>
                  <a:lnTo>
                    <a:pt x="3222" y="39"/>
                  </a:lnTo>
                  <a:lnTo>
                    <a:pt x="3222" y="39"/>
                  </a:lnTo>
                  <a:lnTo>
                    <a:pt x="3222" y="39"/>
                  </a:lnTo>
                  <a:lnTo>
                    <a:pt x="3222" y="39"/>
                  </a:lnTo>
                  <a:lnTo>
                    <a:pt x="3230" y="39"/>
                  </a:lnTo>
                  <a:lnTo>
                    <a:pt x="3230" y="39"/>
                  </a:lnTo>
                  <a:lnTo>
                    <a:pt x="3237" y="39"/>
                  </a:lnTo>
                  <a:lnTo>
                    <a:pt x="3237" y="39"/>
                  </a:lnTo>
                  <a:lnTo>
                    <a:pt x="3245" y="39"/>
                  </a:lnTo>
                  <a:lnTo>
                    <a:pt x="3245" y="39"/>
                  </a:lnTo>
                  <a:lnTo>
                    <a:pt x="3245" y="39"/>
                  </a:lnTo>
                  <a:lnTo>
                    <a:pt x="3245" y="39"/>
                  </a:lnTo>
                  <a:lnTo>
                    <a:pt x="3253" y="39"/>
                  </a:lnTo>
                  <a:lnTo>
                    <a:pt x="3253" y="39"/>
                  </a:lnTo>
                  <a:lnTo>
                    <a:pt x="3260" y="39"/>
                  </a:lnTo>
                  <a:lnTo>
                    <a:pt x="3260" y="39"/>
                  </a:lnTo>
                  <a:lnTo>
                    <a:pt x="3268" y="39"/>
                  </a:lnTo>
                  <a:lnTo>
                    <a:pt x="3268" y="39"/>
                  </a:lnTo>
                  <a:lnTo>
                    <a:pt x="3276" y="39"/>
                  </a:lnTo>
                  <a:lnTo>
                    <a:pt x="3276" y="39"/>
                  </a:lnTo>
                  <a:lnTo>
                    <a:pt x="3276" y="39"/>
                  </a:lnTo>
                  <a:lnTo>
                    <a:pt x="3276" y="39"/>
                  </a:lnTo>
                  <a:lnTo>
                    <a:pt x="3283" y="39"/>
                  </a:lnTo>
                  <a:lnTo>
                    <a:pt x="3283" y="39"/>
                  </a:lnTo>
                  <a:lnTo>
                    <a:pt x="3291" y="39"/>
                  </a:lnTo>
                  <a:lnTo>
                    <a:pt x="3291" y="39"/>
                  </a:lnTo>
                  <a:lnTo>
                    <a:pt x="3299" y="39"/>
                  </a:lnTo>
                  <a:lnTo>
                    <a:pt x="3299" y="39"/>
                  </a:lnTo>
                  <a:lnTo>
                    <a:pt x="3299" y="39"/>
                  </a:lnTo>
                  <a:lnTo>
                    <a:pt x="3299" y="39"/>
                  </a:lnTo>
                  <a:lnTo>
                    <a:pt x="3306" y="39"/>
                  </a:lnTo>
                  <a:lnTo>
                    <a:pt x="3306" y="39"/>
                  </a:lnTo>
                  <a:lnTo>
                    <a:pt x="3314" y="39"/>
                  </a:lnTo>
                  <a:lnTo>
                    <a:pt x="3314" y="39"/>
                  </a:lnTo>
                  <a:lnTo>
                    <a:pt x="3322" y="39"/>
                  </a:lnTo>
                  <a:lnTo>
                    <a:pt x="3322" y="39"/>
                  </a:lnTo>
                  <a:lnTo>
                    <a:pt x="3322" y="39"/>
                  </a:lnTo>
                  <a:lnTo>
                    <a:pt x="3322" y="39"/>
                  </a:lnTo>
                  <a:lnTo>
                    <a:pt x="3329" y="39"/>
                  </a:lnTo>
                  <a:lnTo>
                    <a:pt x="3329" y="39"/>
                  </a:lnTo>
                  <a:lnTo>
                    <a:pt x="3337" y="39"/>
                  </a:lnTo>
                  <a:lnTo>
                    <a:pt x="3337" y="39"/>
                  </a:lnTo>
                  <a:lnTo>
                    <a:pt x="3345" y="39"/>
                  </a:lnTo>
                  <a:lnTo>
                    <a:pt x="3345" y="39"/>
                  </a:lnTo>
                  <a:lnTo>
                    <a:pt x="3345" y="39"/>
                  </a:lnTo>
                  <a:lnTo>
                    <a:pt x="3345" y="39"/>
                  </a:lnTo>
                  <a:lnTo>
                    <a:pt x="3352" y="39"/>
                  </a:lnTo>
                  <a:lnTo>
                    <a:pt x="3352" y="39"/>
                  </a:lnTo>
                  <a:lnTo>
                    <a:pt x="3360" y="39"/>
                  </a:lnTo>
                  <a:lnTo>
                    <a:pt x="3360" y="39"/>
                  </a:lnTo>
                  <a:lnTo>
                    <a:pt x="3368" y="39"/>
                  </a:lnTo>
                  <a:lnTo>
                    <a:pt x="3368" y="39"/>
                  </a:lnTo>
                  <a:lnTo>
                    <a:pt x="3375" y="39"/>
                  </a:lnTo>
                  <a:lnTo>
                    <a:pt x="3375" y="39"/>
                  </a:lnTo>
                  <a:lnTo>
                    <a:pt x="3375" y="39"/>
                  </a:lnTo>
                  <a:lnTo>
                    <a:pt x="3375" y="39"/>
                  </a:lnTo>
                  <a:lnTo>
                    <a:pt x="3383" y="39"/>
                  </a:lnTo>
                  <a:lnTo>
                    <a:pt x="3383" y="39"/>
                  </a:lnTo>
                  <a:lnTo>
                    <a:pt x="3391" y="39"/>
                  </a:lnTo>
                  <a:lnTo>
                    <a:pt x="3391" y="39"/>
                  </a:lnTo>
                  <a:lnTo>
                    <a:pt x="3398" y="39"/>
                  </a:lnTo>
                  <a:lnTo>
                    <a:pt x="3398" y="39"/>
                  </a:lnTo>
                  <a:lnTo>
                    <a:pt x="3398" y="39"/>
                  </a:lnTo>
                  <a:lnTo>
                    <a:pt x="3398" y="39"/>
                  </a:lnTo>
                  <a:lnTo>
                    <a:pt x="3406" y="39"/>
                  </a:lnTo>
                  <a:lnTo>
                    <a:pt x="3406" y="39"/>
                  </a:lnTo>
                  <a:lnTo>
                    <a:pt x="3414" y="39"/>
                  </a:lnTo>
                  <a:lnTo>
                    <a:pt x="3414" y="39"/>
                  </a:lnTo>
                  <a:lnTo>
                    <a:pt x="3421" y="39"/>
                  </a:lnTo>
                  <a:lnTo>
                    <a:pt x="3421" y="39"/>
                  </a:lnTo>
                  <a:lnTo>
                    <a:pt x="3421" y="39"/>
                  </a:lnTo>
                  <a:lnTo>
                    <a:pt x="3421" y="39"/>
                  </a:lnTo>
                  <a:lnTo>
                    <a:pt x="3429" y="39"/>
                  </a:lnTo>
                  <a:lnTo>
                    <a:pt x="3429" y="39"/>
                  </a:lnTo>
                  <a:lnTo>
                    <a:pt x="3437" y="39"/>
                  </a:lnTo>
                  <a:lnTo>
                    <a:pt x="3437" y="39"/>
                  </a:lnTo>
                  <a:lnTo>
                    <a:pt x="3444" y="39"/>
                  </a:lnTo>
                  <a:lnTo>
                    <a:pt x="3444" y="39"/>
                  </a:lnTo>
                  <a:lnTo>
                    <a:pt x="3444" y="39"/>
                  </a:lnTo>
                  <a:lnTo>
                    <a:pt x="3444" y="39"/>
                  </a:lnTo>
                  <a:lnTo>
                    <a:pt x="3452" y="39"/>
                  </a:lnTo>
                  <a:lnTo>
                    <a:pt x="3452" y="39"/>
                  </a:lnTo>
                  <a:lnTo>
                    <a:pt x="3460" y="39"/>
                  </a:lnTo>
                  <a:lnTo>
                    <a:pt x="3460" y="39"/>
                  </a:lnTo>
                  <a:lnTo>
                    <a:pt x="3467" y="39"/>
                  </a:lnTo>
                  <a:lnTo>
                    <a:pt x="3467" y="39"/>
                  </a:lnTo>
                  <a:lnTo>
                    <a:pt x="3475" y="39"/>
                  </a:lnTo>
                  <a:lnTo>
                    <a:pt x="3475" y="39"/>
                  </a:lnTo>
                  <a:lnTo>
                    <a:pt x="3475" y="39"/>
                  </a:lnTo>
                  <a:lnTo>
                    <a:pt x="3475" y="39"/>
                  </a:lnTo>
                  <a:lnTo>
                    <a:pt x="3483" y="39"/>
                  </a:lnTo>
                  <a:lnTo>
                    <a:pt x="3483" y="39"/>
                  </a:lnTo>
                  <a:lnTo>
                    <a:pt x="3490" y="39"/>
                  </a:lnTo>
                  <a:lnTo>
                    <a:pt x="3490" y="39"/>
                  </a:lnTo>
                  <a:lnTo>
                    <a:pt x="3498" y="39"/>
                  </a:lnTo>
                  <a:lnTo>
                    <a:pt x="3498" y="39"/>
                  </a:lnTo>
                  <a:lnTo>
                    <a:pt x="3498" y="39"/>
                  </a:lnTo>
                  <a:lnTo>
                    <a:pt x="3498" y="39"/>
                  </a:lnTo>
                  <a:lnTo>
                    <a:pt x="3506" y="39"/>
                  </a:lnTo>
                  <a:lnTo>
                    <a:pt x="3506" y="39"/>
                  </a:lnTo>
                  <a:lnTo>
                    <a:pt x="3513" y="39"/>
                  </a:lnTo>
                  <a:lnTo>
                    <a:pt x="3513" y="39"/>
                  </a:lnTo>
                  <a:lnTo>
                    <a:pt x="3521" y="39"/>
                  </a:lnTo>
                  <a:lnTo>
                    <a:pt x="3521" y="39"/>
                  </a:lnTo>
                  <a:lnTo>
                    <a:pt x="3521" y="39"/>
                  </a:lnTo>
                  <a:lnTo>
                    <a:pt x="3521" y="39"/>
                  </a:lnTo>
                  <a:lnTo>
                    <a:pt x="3529" y="39"/>
                  </a:lnTo>
                  <a:lnTo>
                    <a:pt x="3529" y="39"/>
                  </a:lnTo>
                  <a:lnTo>
                    <a:pt x="3536" y="39"/>
                  </a:lnTo>
                  <a:lnTo>
                    <a:pt x="3536" y="39"/>
                  </a:lnTo>
                  <a:lnTo>
                    <a:pt x="3544" y="39"/>
                  </a:lnTo>
                  <a:lnTo>
                    <a:pt x="3544" y="39"/>
                  </a:lnTo>
                  <a:lnTo>
                    <a:pt x="3552" y="39"/>
                  </a:lnTo>
                  <a:lnTo>
                    <a:pt x="3552" y="39"/>
                  </a:lnTo>
                  <a:lnTo>
                    <a:pt x="3552" y="39"/>
                  </a:lnTo>
                  <a:lnTo>
                    <a:pt x="3552" y="39"/>
                  </a:lnTo>
                  <a:lnTo>
                    <a:pt x="3559" y="39"/>
                  </a:lnTo>
                  <a:lnTo>
                    <a:pt x="3559" y="39"/>
                  </a:lnTo>
                  <a:lnTo>
                    <a:pt x="3567" y="39"/>
                  </a:lnTo>
                  <a:lnTo>
                    <a:pt x="3567" y="39"/>
                  </a:lnTo>
                  <a:lnTo>
                    <a:pt x="3575" y="39"/>
                  </a:lnTo>
                  <a:lnTo>
                    <a:pt x="3575" y="39"/>
                  </a:lnTo>
                  <a:lnTo>
                    <a:pt x="3575" y="39"/>
                  </a:lnTo>
                  <a:lnTo>
                    <a:pt x="3575" y="39"/>
                  </a:lnTo>
                  <a:lnTo>
                    <a:pt x="3582" y="39"/>
                  </a:lnTo>
                  <a:lnTo>
                    <a:pt x="3582" y="39"/>
                  </a:lnTo>
                  <a:lnTo>
                    <a:pt x="3590" y="39"/>
                  </a:lnTo>
                  <a:lnTo>
                    <a:pt x="3590" y="39"/>
                  </a:lnTo>
                  <a:lnTo>
                    <a:pt x="3598" y="39"/>
                  </a:lnTo>
                  <a:lnTo>
                    <a:pt x="3598" y="31"/>
                  </a:lnTo>
                  <a:lnTo>
                    <a:pt x="3598" y="31"/>
                  </a:lnTo>
                  <a:lnTo>
                    <a:pt x="3598" y="31"/>
                  </a:lnTo>
                  <a:lnTo>
                    <a:pt x="3606" y="31"/>
                  </a:lnTo>
                  <a:lnTo>
                    <a:pt x="3606" y="31"/>
                  </a:lnTo>
                  <a:lnTo>
                    <a:pt x="3613" y="31"/>
                  </a:lnTo>
                  <a:lnTo>
                    <a:pt x="3613" y="31"/>
                  </a:lnTo>
                  <a:lnTo>
                    <a:pt x="3621" y="31"/>
                  </a:lnTo>
                  <a:lnTo>
                    <a:pt x="3621" y="31"/>
                  </a:lnTo>
                  <a:lnTo>
                    <a:pt x="3621" y="31"/>
                  </a:lnTo>
                  <a:lnTo>
                    <a:pt x="3621" y="31"/>
                  </a:lnTo>
                  <a:lnTo>
                    <a:pt x="3629" y="31"/>
                  </a:lnTo>
                  <a:lnTo>
                    <a:pt x="3629" y="31"/>
                  </a:lnTo>
                  <a:lnTo>
                    <a:pt x="3636" y="31"/>
                  </a:lnTo>
                  <a:lnTo>
                    <a:pt x="3636" y="31"/>
                  </a:lnTo>
                  <a:lnTo>
                    <a:pt x="3644" y="31"/>
                  </a:lnTo>
                  <a:lnTo>
                    <a:pt x="3644" y="31"/>
                  </a:lnTo>
                  <a:lnTo>
                    <a:pt x="3652" y="31"/>
                  </a:lnTo>
                  <a:lnTo>
                    <a:pt x="3652" y="23"/>
                  </a:lnTo>
                  <a:lnTo>
                    <a:pt x="3652" y="23"/>
                  </a:lnTo>
                  <a:lnTo>
                    <a:pt x="3652" y="23"/>
                  </a:lnTo>
                  <a:lnTo>
                    <a:pt x="3659" y="23"/>
                  </a:lnTo>
                  <a:lnTo>
                    <a:pt x="3659" y="23"/>
                  </a:lnTo>
                  <a:lnTo>
                    <a:pt x="3667" y="23"/>
                  </a:lnTo>
                  <a:lnTo>
                    <a:pt x="3667" y="23"/>
                  </a:lnTo>
                  <a:lnTo>
                    <a:pt x="3675" y="23"/>
                  </a:lnTo>
                  <a:lnTo>
                    <a:pt x="3675" y="23"/>
                  </a:lnTo>
                  <a:lnTo>
                    <a:pt x="3675" y="23"/>
                  </a:lnTo>
                  <a:lnTo>
                    <a:pt x="3675" y="23"/>
                  </a:lnTo>
                  <a:lnTo>
                    <a:pt x="3682" y="23"/>
                  </a:lnTo>
                  <a:lnTo>
                    <a:pt x="3682" y="23"/>
                  </a:lnTo>
                  <a:lnTo>
                    <a:pt x="3690" y="23"/>
                  </a:lnTo>
                  <a:lnTo>
                    <a:pt x="3690" y="23"/>
                  </a:lnTo>
                  <a:lnTo>
                    <a:pt x="3698" y="23"/>
                  </a:lnTo>
                  <a:lnTo>
                    <a:pt x="3698" y="23"/>
                  </a:lnTo>
                  <a:lnTo>
                    <a:pt x="3698" y="23"/>
                  </a:lnTo>
                  <a:lnTo>
                    <a:pt x="3698" y="23"/>
                  </a:lnTo>
                  <a:lnTo>
                    <a:pt x="3705" y="23"/>
                  </a:lnTo>
                  <a:lnTo>
                    <a:pt x="3705" y="23"/>
                  </a:lnTo>
                  <a:lnTo>
                    <a:pt x="3713" y="23"/>
                  </a:lnTo>
                  <a:lnTo>
                    <a:pt x="3713" y="23"/>
                  </a:lnTo>
                  <a:lnTo>
                    <a:pt x="3721" y="23"/>
                  </a:lnTo>
                  <a:lnTo>
                    <a:pt x="3721" y="23"/>
                  </a:lnTo>
                  <a:lnTo>
                    <a:pt x="3728" y="23"/>
                  </a:lnTo>
                  <a:lnTo>
                    <a:pt x="3728" y="23"/>
                  </a:lnTo>
                  <a:lnTo>
                    <a:pt x="3728" y="23"/>
                  </a:lnTo>
                  <a:lnTo>
                    <a:pt x="3728" y="23"/>
                  </a:lnTo>
                  <a:lnTo>
                    <a:pt x="3736" y="23"/>
                  </a:lnTo>
                  <a:lnTo>
                    <a:pt x="3736" y="23"/>
                  </a:lnTo>
                  <a:lnTo>
                    <a:pt x="3744" y="23"/>
                  </a:lnTo>
                  <a:lnTo>
                    <a:pt x="3744" y="23"/>
                  </a:lnTo>
                  <a:lnTo>
                    <a:pt x="3751" y="23"/>
                  </a:lnTo>
                  <a:lnTo>
                    <a:pt x="3751" y="23"/>
                  </a:lnTo>
                  <a:lnTo>
                    <a:pt x="3751" y="23"/>
                  </a:lnTo>
                  <a:lnTo>
                    <a:pt x="3751" y="23"/>
                  </a:lnTo>
                  <a:lnTo>
                    <a:pt x="3759" y="23"/>
                  </a:lnTo>
                  <a:lnTo>
                    <a:pt x="3759" y="23"/>
                  </a:lnTo>
                  <a:lnTo>
                    <a:pt x="3767" y="23"/>
                  </a:lnTo>
                  <a:lnTo>
                    <a:pt x="3767" y="23"/>
                  </a:lnTo>
                  <a:lnTo>
                    <a:pt x="3774" y="23"/>
                  </a:lnTo>
                  <a:lnTo>
                    <a:pt x="3774" y="23"/>
                  </a:lnTo>
                  <a:lnTo>
                    <a:pt x="3774" y="23"/>
                  </a:lnTo>
                  <a:lnTo>
                    <a:pt x="3774" y="23"/>
                  </a:lnTo>
                  <a:lnTo>
                    <a:pt x="3782" y="23"/>
                  </a:lnTo>
                  <a:lnTo>
                    <a:pt x="3782" y="23"/>
                  </a:lnTo>
                  <a:lnTo>
                    <a:pt x="3790" y="23"/>
                  </a:lnTo>
                  <a:lnTo>
                    <a:pt x="3790" y="23"/>
                  </a:lnTo>
                  <a:lnTo>
                    <a:pt x="3797" y="23"/>
                  </a:lnTo>
                  <a:lnTo>
                    <a:pt x="3797" y="23"/>
                  </a:lnTo>
                  <a:lnTo>
                    <a:pt x="3797" y="23"/>
                  </a:lnTo>
                  <a:lnTo>
                    <a:pt x="3797" y="23"/>
                  </a:lnTo>
                  <a:lnTo>
                    <a:pt x="3805" y="23"/>
                  </a:lnTo>
                  <a:lnTo>
                    <a:pt x="3805" y="23"/>
                  </a:lnTo>
                  <a:lnTo>
                    <a:pt x="3813" y="23"/>
                  </a:lnTo>
                  <a:lnTo>
                    <a:pt x="3813" y="23"/>
                  </a:lnTo>
                  <a:lnTo>
                    <a:pt x="3820" y="23"/>
                  </a:lnTo>
                  <a:lnTo>
                    <a:pt x="3820" y="23"/>
                  </a:lnTo>
                  <a:lnTo>
                    <a:pt x="3828" y="23"/>
                  </a:lnTo>
                  <a:lnTo>
                    <a:pt x="3828" y="23"/>
                  </a:lnTo>
                  <a:lnTo>
                    <a:pt x="3828" y="23"/>
                  </a:lnTo>
                  <a:lnTo>
                    <a:pt x="3828" y="23"/>
                  </a:lnTo>
                  <a:lnTo>
                    <a:pt x="3836" y="23"/>
                  </a:lnTo>
                  <a:lnTo>
                    <a:pt x="3836" y="23"/>
                  </a:lnTo>
                  <a:lnTo>
                    <a:pt x="3843" y="23"/>
                  </a:lnTo>
                  <a:lnTo>
                    <a:pt x="3843" y="16"/>
                  </a:lnTo>
                  <a:lnTo>
                    <a:pt x="3851" y="16"/>
                  </a:lnTo>
                  <a:lnTo>
                    <a:pt x="3851" y="16"/>
                  </a:lnTo>
                  <a:lnTo>
                    <a:pt x="3851" y="16"/>
                  </a:lnTo>
                  <a:lnTo>
                    <a:pt x="3851" y="16"/>
                  </a:lnTo>
                  <a:lnTo>
                    <a:pt x="3859" y="16"/>
                  </a:lnTo>
                  <a:lnTo>
                    <a:pt x="3859" y="16"/>
                  </a:lnTo>
                  <a:lnTo>
                    <a:pt x="3866" y="16"/>
                  </a:lnTo>
                  <a:lnTo>
                    <a:pt x="3866" y="16"/>
                  </a:lnTo>
                  <a:lnTo>
                    <a:pt x="3874" y="16"/>
                  </a:lnTo>
                  <a:lnTo>
                    <a:pt x="3874" y="16"/>
                  </a:lnTo>
                  <a:lnTo>
                    <a:pt x="3874" y="16"/>
                  </a:lnTo>
                  <a:lnTo>
                    <a:pt x="3874" y="16"/>
                  </a:lnTo>
                  <a:lnTo>
                    <a:pt x="3882" y="16"/>
                  </a:lnTo>
                  <a:lnTo>
                    <a:pt x="3882" y="16"/>
                  </a:lnTo>
                  <a:lnTo>
                    <a:pt x="3889" y="16"/>
                  </a:lnTo>
                  <a:lnTo>
                    <a:pt x="3889" y="16"/>
                  </a:lnTo>
                  <a:lnTo>
                    <a:pt x="3897" y="16"/>
                  </a:lnTo>
                  <a:lnTo>
                    <a:pt x="3897" y="16"/>
                  </a:lnTo>
                  <a:lnTo>
                    <a:pt x="3905" y="16"/>
                  </a:lnTo>
                  <a:lnTo>
                    <a:pt x="3905" y="16"/>
                  </a:lnTo>
                  <a:lnTo>
                    <a:pt x="3905" y="16"/>
                  </a:lnTo>
                  <a:lnTo>
                    <a:pt x="3905" y="16"/>
                  </a:lnTo>
                  <a:lnTo>
                    <a:pt x="3912" y="16"/>
                  </a:lnTo>
                  <a:lnTo>
                    <a:pt x="3912" y="16"/>
                  </a:lnTo>
                  <a:lnTo>
                    <a:pt x="3920" y="16"/>
                  </a:lnTo>
                  <a:lnTo>
                    <a:pt x="3920" y="16"/>
                  </a:lnTo>
                  <a:lnTo>
                    <a:pt x="3928" y="16"/>
                  </a:lnTo>
                  <a:lnTo>
                    <a:pt x="3928" y="16"/>
                  </a:lnTo>
                  <a:lnTo>
                    <a:pt x="3928" y="16"/>
                  </a:lnTo>
                  <a:lnTo>
                    <a:pt x="3928" y="16"/>
                  </a:lnTo>
                  <a:lnTo>
                    <a:pt x="3935" y="16"/>
                  </a:lnTo>
                  <a:lnTo>
                    <a:pt x="3935" y="16"/>
                  </a:lnTo>
                  <a:lnTo>
                    <a:pt x="3943" y="16"/>
                  </a:lnTo>
                  <a:lnTo>
                    <a:pt x="3943" y="16"/>
                  </a:lnTo>
                  <a:lnTo>
                    <a:pt x="3951" y="16"/>
                  </a:lnTo>
                  <a:lnTo>
                    <a:pt x="3951" y="16"/>
                  </a:lnTo>
                  <a:lnTo>
                    <a:pt x="3951" y="16"/>
                  </a:lnTo>
                  <a:lnTo>
                    <a:pt x="3951" y="16"/>
                  </a:lnTo>
                  <a:lnTo>
                    <a:pt x="3958" y="16"/>
                  </a:lnTo>
                  <a:lnTo>
                    <a:pt x="3958" y="16"/>
                  </a:lnTo>
                  <a:lnTo>
                    <a:pt x="3966" y="16"/>
                  </a:lnTo>
                  <a:lnTo>
                    <a:pt x="3966" y="16"/>
                  </a:lnTo>
                  <a:lnTo>
                    <a:pt x="3974" y="16"/>
                  </a:lnTo>
                  <a:lnTo>
                    <a:pt x="3974" y="16"/>
                  </a:lnTo>
                  <a:lnTo>
                    <a:pt x="3974" y="16"/>
                  </a:lnTo>
                  <a:lnTo>
                    <a:pt x="3974" y="16"/>
                  </a:lnTo>
                  <a:lnTo>
                    <a:pt x="3981" y="16"/>
                  </a:lnTo>
                  <a:lnTo>
                    <a:pt x="3981" y="16"/>
                  </a:lnTo>
                  <a:lnTo>
                    <a:pt x="3989" y="16"/>
                  </a:lnTo>
                  <a:lnTo>
                    <a:pt x="3989" y="16"/>
                  </a:lnTo>
                  <a:lnTo>
                    <a:pt x="3997" y="16"/>
                  </a:lnTo>
                  <a:lnTo>
                    <a:pt x="3997" y="16"/>
                  </a:lnTo>
                  <a:lnTo>
                    <a:pt x="4004" y="16"/>
                  </a:lnTo>
                  <a:lnTo>
                    <a:pt x="4004" y="16"/>
                  </a:lnTo>
                  <a:lnTo>
                    <a:pt x="4004" y="16"/>
                  </a:lnTo>
                  <a:lnTo>
                    <a:pt x="4004" y="16"/>
                  </a:lnTo>
                  <a:lnTo>
                    <a:pt x="4012" y="16"/>
                  </a:lnTo>
                  <a:lnTo>
                    <a:pt x="4012" y="16"/>
                  </a:lnTo>
                  <a:lnTo>
                    <a:pt x="4020" y="16"/>
                  </a:lnTo>
                  <a:lnTo>
                    <a:pt x="4020" y="16"/>
                  </a:lnTo>
                  <a:lnTo>
                    <a:pt x="4027" y="16"/>
                  </a:lnTo>
                  <a:lnTo>
                    <a:pt x="4027" y="16"/>
                  </a:lnTo>
                  <a:lnTo>
                    <a:pt x="4027" y="16"/>
                  </a:lnTo>
                  <a:lnTo>
                    <a:pt x="4027" y="16"/>
                  </a:lnTo>
                  <a:lnTo>
                    <a:pt x="4035" y="16"/>
                  </a:lnTo>
                  <a:lnTo>
                    <a:pt x="4035" y="16"/>
                  </a:lnTo>
                  <a:lnTo>
                    <a:pt x="4043" y="16"/>
                  </a:lnTo>
                  <a:lnTo>
                    <a:pt x="4043" y="16"/>
                  </a:lnTo>
                  <a:lnTo>
                    <a:pt x="4050" y="16"/>
                  </a:lnTo>
                  <a:lnTo>
                    <a:pt x="4050" y="16"/>
                  </a:lnTo>
                  <a:lnTo>
                    <a:pt x="4050" y="16"/>
                  </a:lnTo>
                  <a:lnTo>
                    <a:pt x="4050" y="16"/>
                  </a:lnTo>
                  <a:lnTo>
                    <a:pt x="4058" y="16"/>
                  </a:lnTo>
                  <a:lnTo>
                    <a:pt x="4058" y="16"/>
                  </a:lnTo>
                  <a:lnTo>
                    <a:pt x="4066" y="16"/>
                  </a:lnTo>
                  <a:lnTo>
                    <a:pt x="4066" y="16"/>
                  </a:lnTo>
                  <a:lnTo>
                    <a:pt x="4073" y="16"/>
                  </a:lnTo>
                  <a:lnTo>
                    <a:pt x="4073" y="16"/>
                  </a:lnTo>
                  <a:lnTo>
                    <a:pt x="4081" y="16"/>
                  </a:lnTo>
                  <a:lnTo>
                    <a:pt x="4081" y="16"/>
                  </a:lnTo>
                  <a:lnTo>
                    <a:pt x="4081" y="16"/>
                  </a:lnTo>
                  <a:lnTo>
                    <a:pt x="4081" y="16"/>
                  </a:lnTo>
                  <a:lnTo>
                    <a:pt x="4089" y="16"/>
                  </a:lnTo>
                  <a:lnTo>
                    <a:pt x="4089" y="16"/>
                  </a:lnTo>
                  <a:lnTo>
                    <a:pt x="4104" y="16"/>
                  </a:lnTo>
                  <a:lnTo>
                    <a:pt x="4104" y="16"/>
                  </a:lnTo>
                  <a:lnTo>
                    <a:pt x="4104" y="16"/>
                  </a:lnTo>
                  <a:lnTo>
                    <a:pt x="4104" y="16"/>
                  </a:lnTo>
                  <a:lnTo>
                    <a:pt x="4112" y="16"/>
                  </a:lnTo>
                  <a:lnTo>
                    <a:pt x="4112" y="16"/>
                  </a:lnTo>
                  <a:lnTo>
                    <a:pt x="4119" y="16"/>
                  </a:lnTo>
                  <a:lnTo>
                    <a:pt x="4119" y="16"/>
                  </a:lnTo>
                  <a:lnTo>
                    <a:pt x="4127" y="16"/>
                  </a:lnTo>
                  <a:lnTo>
                    <a:pt x="4127" y="16"/>
                  </a:lnTo>
                  <a:lnTo>
                    <a:pt x="4127" y="16"/>
                  </a:lnTo>
                  <a:lnTo>
                    <a:pt x="4127" y="16"/>
                  </a:lnTo>
                  <a:lnTo>
                    <a:pt x="4135" y="16"/>
                  </a:lnTo>
                  <a:lnTo>
                    <a:pt x="4135" y="16"/>
                  </a:lnTo>
                  <a:lnTo>
                    <a:pt x="4142" y="16"/>
                  </a:lnTo>
                  <a:lnTo>
                    <a:pt x="4142" y="16"/>
                  </a:lnTo>
                  <a:lnTo>
                    <a:pt x="4150" y="16"/>
                  </a:lnTo>
                  <a:lnTo>
                    <a:pt x="4150" y="16"/>
                  </a:lnTo>
                  <a:lnTo>
                    <a:pt x="4150" y="16"/>
                  </a:lnTo>
                  <a:lnTo>
                    <a:pt x="4150" y="16"/>
                  </a:lnTo>
                  <a:lnTo>
                    <a:pt x="4158" y="16"/>
                  </a:lnTo>
                  <a:lnTo>
                    <a:pt x="4158" y="16"/>
                  </a:lnTo>
                  <a:lnTo>
                    <a:pt x="4165" y="16"/>
                  </a:lnTo>
                  <a:lnTo>
                    <a:pt x="4165" y="16"/>
                  </a:lnTo>
                  <a:lnTo>
                    <a:pt x="4173" y="16"/>
                  </a:lnTo>
                  <a:lnTo>
                    <a:pt x="4173" y="16"/>
                  </a:lnTo>
                  <a:lnTo>
                    <a:pt x="4181" y="16"/>
                  </a:lnTo>
                  <a:lnTo>
                    <a:pt x="4181" y="16"/>
                  </a:lnTo>
                  <a:lnTo>
                    <a:pt x="4181" y="16"/>
                  </a:lnTo>
                  <a:lnTo>
                    <a:pt x="4181" y="16"/>
                  </a:lnTo>
                  <a:lnTo>
                    <a:pt x="4188" y="16"/>
                  </a:lnTo>
                  <a:lnTo>
                    <a:pt x="4188" y="16"/>
                  </a:lnTo>
                  <a:lnTo>
                    <a:pt x="4196" y="16"/>
                  </a:lnTo>
                  <a:lnTo>
                    <a:pt x="4196" y="16"/>
                  </a:lnTo>
                  <a:lnTo>
                    <a:pt x="4204" y="16"/>
                  </a:lnTo>
                  <a:lnTo>
                    <a:pt x="4204" y="16"/>
                  </a:lnTo>
                  <a:lnTo>
                    <a:pt x="4204" y="16"/>
                  </a:lnTo>
                  <a:lnTo>
                    <a:pt x="4204" y="16"/>
                  </a:lnTo>
                  <a:lnTo>
                    <a:pt x="4211" y="16"/>
                  </a:lnTo>
                  <a:lnTo>
                    <a:pt x="4211" y="16"/>
                  </a:lnTo>
                  <a:lnTo>
                    <a:pt x="4219" y="16"/>
                  </a:lnTo>
                  <a:lnTo>
                    <a:pt x="4219" y="16"/>
                  </a:lnTo>
                  <a:lnTo>
                    <a:pt x="4227" y="16"/>
                  </a:lnTo>
                  <a:lnTo>
                    <a:pt x="4227" y="16"/>
                  </a:lnTo>
                  <a:lnTo>
                    <a:pt x="4227" y="16"/>
                  </a:lnTo>
                  <a:lnTo>
                    <a:pt x="4227" y="8"/>
                  </a:lnTo>
                  <a:lnTo>
                    <a:pt x="4235" y="8"/>
                  </a:lnTo>
                  <a:lnTo>
                    <a:pt x="4235" y="8"/>
                  </a:lnTo>
                  <a:lnTo>
                    <a:pt x="4242" y="8"/>
                  </a:lnTo>
                  <a:lnTo>
                    <a:pt x="4242" y="8"/>
                  </a:lnTo>
                  <a:lnTo>
                    <a:pt x="4250" y="8"/>
                  </a:lnTo>
                  <a:lnTo>
                    <a:pt x="4250" y="8"/>
                  </a:lnTo>
                  <a:lnTo>
                    <a:pt x="4250" y="8"/>
                  </a:lnTo>
                  <a:lnTo>
                    <a:pt x="4250" y="8"/>
                  </a:lnTo>
                  <a:lnTo>
                    <a:pt x="4258" y="8"/>
                  </a:lnTo>
                  <a:lnTo>
                    <a:pt x="4258" y="8"/>
                  </a:lnTo>
                  <a:lnTo>
                    <a:pt x="4265" y="8"/>
                  </a:lnTo>
                  <a:lnTo>
                    <a:pt x="4265" y="8"/>
                  </a:lnTo>
                  <a:lnTo>
                    <a:pt x="4273" y="8"/>
                  </a:lnTo>
                  <a:lnTo>
                    <a:pt x="4273" y="8"/>
                  </a:lnTo>
                  <a:lnTo>
                    <a:pt x="4281" y="8"/>
                  </a:lnTo>
                  <a:lnTo>
                    <a:pt x="4281" y="8"/>
                  </a:lnTo>
                  <a:lnTo>
                    <a:pt x="4281" y="8"/>
                  </a:lnTo>
                  <a:lnTo>
                    <a:pt x="4281" y="8"/>
                  </a:lnTo>
                  <a:lnTo>
                    <a:pt x="4288" y="8"/>
                  </a:lnTo>
                  <a:lnTo>
                    <a:pt x="4288" y="8"/>
                  </a:lnTo>
                  <a:lnTo>
                    <a:pt x="4296" y="8"/>
                  </a:lnTo>
                  <a:lnTo>
                    <a:pt x="4296" y="8"/>
                  </a:lnTo>
                  <a:lnTo>
                    <a:pt x="4304" y="8"/>
                  </a:lnTo>
                  <a:lnTo>
                    <a:pt x="4304" y="8"/>
                  </a:lnTo>
                  <a:lnTo>
                    <a:pt x="4304" y="8"/>
                  </a:lnTo>
                  <a:lnTo>
                    <a:pt x="4304" y="8"/>
                  </a:lnTo>
                  <a:lnTo>
                    <a:pt x="4311" y="8"/>
                  </a:lnTo>
                  <a:lnTo>
                    <a:pt x="4311" y="8"/>
                  </a:lnTo>
                  <a:lnTo>
                    <a:pt x="4319" y="8"/>
                  </a:lnTo>
                  <a:lnTo>
                    <a:pt x="4319" y="0"/>
                  </a:lnTo>
                  <a:lnTo>
                    <a:pt x="4327" y="0"/>
                  </a:lnTo>
                  <a:lnTo>
                    <a:pt x="4327" y="0"/>
                  </a:lnTo>
                  <a:lnTo>
                    <a:pt x="4327" y="0"/>
                  </a:lnTo>
                  <a:lnTo>
                    <a:pt x="4327" y="0"/>
                  </a:lnTo>
                  <a:lnTo>
                    <a:pt x="4334" y="0"/>
                  </a:lnTo>
                  <a:lnTo>
                    <a:pt x="4334" y="0"/>
                  </a:lnTo>
                  <a:lnTo>
                    <a:pt x="4342" y="0"/>
                  </a:lnTo>
                  <a:lnTo>
                    <a:pt x="4342" y="0"/>
                  </a:lnTo>
                  <a:lnTo>
                    <a:pt x="4350" y="0"/>
                  </a:lnTo>
                  <a:lnTo>
                    <a:pt x="4350" y="0"/>
                  </a:lnTo>
                  <a:lnTo>
                    <a:pt x="4357" y="0"/>
                  </a:lnTo>
                  <a:lnTo>
                    <a:pt x="4357" y="0"/>
                  </a:lnTo>
                  <a:lnTo>
                    <a:pt x="4357" y="0"/>
                  </a:lnTo>
                  <a:lnTo>
                    <a:pt x="4357" y="0"/>
                  </a:lnTo>
                  <a:lnTo>
                    <a:pt x="4365" y="0"/>
                  </a:lnTo>
                  <a:lnTo>
                    <a:pt x="4365" y="0"/>
                  </a:lnTo>
                  <a:lnTo>
                    <a:pt x="4373" y="0"/>
                  </a:lnTo>
                  <a:lnTo>
                    <a:pt x="4373" y="0"/>
                  </a:lnTo>
                  <a:lnTo>
                    <a:pt x="4380" y="0"/>
                  </a:lnTo>
                  <a:lnTo>
                    <a:pt x="4380" y="0"/>
                  </a:lnTo>
                  <a:lnTo>
                    <a:pt x="4380" y="0"/>
                  </a:lnTo>
                  <a:lnTo>
                    <a:pt x="4380" y="0"/>
                  </a:lnTo>
                  <a:lnTo>
                    <a:pt x="4388" y="0"/>
                  </a:lnTo>
                  <a:lnTo>
                    <a:pt x="4388" y="0"/>
                  </a:lnTo>
                  <a:lnTo>
                    <a:pt x="4396" y="0"/>
                  </a:lnTo>
                  <a:lnTo>
                    <a:pt x="4396" y="0"/>
                  </a:lnTo>
                  <a:lnTo>
                    <a:pt x="4403" y="0"/>
                  </a:lnTo>
                  <a:lnTo>
                    <a:pt x="4403" y="0"/>
                  </a:lnTo>
                  <a:lnTo>
                    <a:pt x="4403" y="0"/>
                  </a:lnTo>
                  <a:lnTo>
                    <a:pt x="4403" y="0"/>
                  </a:lnTo>
                  <a:lnTo>
                    <a:pt x="4411" y="0"/>
                  </a:lnTo>
                  <a:lnTo>
                    <a:pt x="4411" y="0"/>
                  </a:lnTo>
                  <a:lnTo>
                    <a:pt x="4419" y="0"/>
                  </a:lnTo>
                  <a:lnTo>
                    <a:pt x="4419" y="0"/>
                  </a:lnTo>
                  <a:lnTo>
                    <a:pt x="4426" y="0"/>
                  </a:lnTo>
                  <a:lnTo>
                    <a:pt x="4426" y="0"/>
                  </a:lnTo>
                  <a:lnTo>
                    <a:pt x="4426" y="0"/>
                  </a:lnTo>
                  <a:lnTo>
                    <a:pt x="4426" y="0"/>
                  </a:lnTo>
                  <a:lnTo>
                    <a:pt x="4434" y="0"/>
                  </a:lnTo>
                  <a:lnTo>
                    <a:pt x="4434" y="0"/>
                  </a:lnTo>
                  <a:lnTo>
                    <a:pt x="4442" y="0"/>
                  </a:lnTo>
                  <a:lnTo>
                    <a:pt x="4442" y="0"/>
                  </a:lnTo>
                  <a:lnTo>
                    <a:pt x="4449" y="0"/>
                  </a:lnTo>
                  <a:lnTo>
                    <a:pt x="4449" y="0"/>
                  </a:lnTo>
                  <a:lnTo>
                    <a:pt x="4457" y="0"/>
                  </a:lnTo>
                  <a:lnTo>
                    <a:pt x="4457" y="0"/>
                  </a:lnTo>
                  <a:lnTo>
                    <a:pt x="4457" y="0"/>
                  </a:lnTo>
                  <a:lnTo>
                    <a:pt x="4457" y="0"/>
                  </a:lnTo>
                  <a:lnTo>
                    <a:pt x="4465" y="0"/>
                  </a:lnTo>
                  <a:lnTo>
                    <a:pt x="4465" y="0"/>
                  </a:lnTo>
                  <a:lnTo>
                    <a:pt x="4472" y="0"/>
                  </a:lnTo>
                  <a:lnTo>
                    <a:pt x="4472" y="0"/>
                  </a:lnTo>
                  <a:lnTo>
                    <a:pt x="4480" y="0"/>
                  </a:lnTo>
                  <a:lnTo>
                    <a:pt x="4480" y="0"/>
                  </a:lnTo>
                  <a:lnTo>
                    <a:pt x="4480" y="0"/>
                  </a:lnTo>
                  <a:lnTo>
                    <a:pt x="4480" y="0"/>
                  </a:lnTo>
                  <a:lnTo>
                    <a:pt x="4488" y="0"/>
                  </a:lnTo>
                  <a:lnTo>
                    <a:pt x="4488" y="0"/>
                  </a:lnTo>
                  <a:lnTo>
                    <a:pt x="4495" y="0"/>
                  </a:lnTo>
                  <a:lnTo>
                    <a:pt x="4495" y="0"/>
                  </a:lnTo>
                  <a:lnTo>
                    <a:pt x="4503" y="0"/>
                  </a:lnTo>
                  <a:lnTo>
                    <a:pt x="4503" y="0"/>
                  </a:lnTo>
                  <a:lnTo>
                    <a:pt x="4503" y="0"/>
                  </a:lnTo>
                  <a:lnTo>
                    <a:pt x="4503" y="0"/>
                  </a:lnTo>
                  <a:lnTo>
                    <a:pt x="4511" y="0"/>
                  </a:lnTo>
                  <a:lnTo>
                    <a:pt x="4511" y="0"/>
                  </a:lnTo>
                </a:path>
              </a:pathLst>
            </a:cu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90" name="Freeform 89"/>
            <p:cNvSpPr>
              <a:spLocks/>
            </p:cNvSpPr>
            <p:nvPr/>
          </p:nvSpPr>
          <p:spPr bwMode="auto">
            <a:xfrm>
              <a:off x="6020" y="3180"/>
              <a:ext cx="851" cy="30"/>
            </a:xfrm>
            <a:custGeom>
              <a:avLst/>
              <a:gdLst>
                <a:gd name="T0" fmla="*/ 15 w 851"/>
                <a:gd name="T1" fmla="*/ 30 h 30"/>
                <a:gd name="T2" fmla="*/ 30 w 851"/>
                <a:gd name="T3" fmla="*/ 30 h 30"/>
                <a:gd name="T4" fmla="*/ 46 w 851"/>
                <a:gd name="T5" fmla="*/ 30 h 30"/>
                <a:gd name="T6" fmla="*/ 61 w 851"/>
                <a:gd name="T7" fmla="*/ 30 h 30"/>
                <a:gd name="T8" fmla="*/ 69 w 851"/>
                <a:gd name="T9" fmla="*/ 30 h 30"/>
                <a:gd name="T10" fmla="*/ 92 w 851"/>
                <a:gd name="T11" fmla="*/ 30 h 30"/>
                <a:gd name="T12" fmla="*/ 99 w 851"/>
                <a:gd name="T13" fmla="*/ 30 h 30"/>
                <a:gd name="T14" fmla="*/ 122 w 851"/>
                <a:gd name="T15" fmla="*/ 23 h 30"/>
                <a:gd name="T16" fmla="*/ 130 w 851"/>
                <a:gd name="T17" fmla="*/ 23 h 30"/>
                <a:gd name="T18" fmla="*/ 145 w 851"/>
                <a:gd name="T19" fmla="*/ 23 h 30"/>
                <a:gd name="T20" fmla="*/ 161 w 851"/>
                <a:gd name="T21" fmla="*/ 23 h 30"/>
                <a:gd name="T22" fmla="*/ 176 w 851"/>
                <a:gd name="T23" fmla="*/ 23 h 30"/>
                <a:gd name="T24" fmla="*/ 191 w 851"/>
                <a:gd name="T25" fmla="*/ 15 h 30"/>
                <a:gd name="T26" fmla="*/ 207 w 851"/>
                <a:gd name="T27" fmla="*/ 15 h 30"/>
                <a:gd name="T28" fmla="*/ 222 w 851"/>
                <a:gd name="T29" fmla="*/ 15 h 30"/>
                <a:gd name="T30" fmla="*/ 237 w 851"/>
                <a:gd name="T31" fmla="*/ 15 h 30"/>
                <a:gd name="T32" fmla="*/ 253 w 851"/>
                <a:gd name="T33" fmla="*/ 15 h 30"/>
                <a:gd name="T34" fmla="*/ 268 w 851"/>
                <a:gd name="T35" fmla="*/ 15 h 30"/>
                <a:gd name="T36" fmla="*/ 283 w 851"/>
                <a:gd name="T37" fmla="*/ 15 h 30"/>
                <a:gd name="T38" fmla="*/ 299 w 851"/>
                <a:gd name="T39" fmla="*/ 15 h 30"/>
                <a:gd name="T40" fmla="*/ 314 w 851"/>
                <a:gd name="T41" fmla="*/ 15 h 30"/>
                <a:gd name="T42" fmla="*/ 329 w 851"/>
                <a:gd name="T43" fmla="*/ 15 h 30"/>
                <a:gd name="T44" fmla="*/ 345 w 851"/>
                <a:gd name="T45" fmla="*/ 15 h 30"/>
                <a:gd name="T46" fmla="*/ 360 w 851"/>
                <a:gd name="T47" fmla="*/ 15 h 30"/>
                <a:gd name="T48" fmla="*/ 376 w 851"/>
                <a:gd name="T49" fmla="*/ 15 h 30"/>
                <a:gd name="T50" fmla="*/ 391 w 851"/>
                <a:gd name="T51" fmla="*/ 15 h 30"/>
                <a:gd name="T52" fmla="*/ 399 w 851"/>
                <a:gd name="T53" fmla="*/ 15 h 30"/>
                <a:gd name="T54" fmla="*/ 422 w 851"/>
                <a:gd name="T55" fmla="*/ 15 h 30"/>
                <a:gd name="T56" fmla="*/ 429 w 851"/>
                <a:gd name="T57" fmla="*/ 15 h 30"/>
                <a:gd name="T58" fmla="*/ 445 w 851"/>
                <a:gd name="T59" fmla="*/ 7 h 30"/>
                <a:gd name="T60" fmla="*/ 460 w 851"/>
                <a:gd name="T61" fmla="*/ 7 h 30"/>
                <a:gd name="T62" fmla="*/ 475 w 851"/>
                <a:gd name="T63" fmla="*/ 7 h 30"/>
                <a:gd name="T64" fmla="*/ 491 w 851"/>
                <a:gd name="T65" fmla="*/ 7 h 30"/>
                <a:gd name="T66" fmla="*/ 506 w 851"/>
                <a:gd name="T67" fmla="*/ 7 h 30"/>
                <a:gd name="T68" fmla="*/ 521 w 851"/>
                <a:gd name="T69" fmla="*/ 7 h 30"/>
                <a:gd name="T70" fmla="*/ 537 w 851"/>
                <a:gd name="T71" fmla="*/ 7 h 30"/>
                <a:gd name="T72" fmla="*/ 544 w 851"/>
                <a:gd name="T73" fmla="*/ 7 h 30"/>
                <a:gd name="T74" fmla="*/ 567 w 851"/>
                <a:gd name="T75" fmla="*/ 7 h 30"/>
                <a:gd name="T76" fmla="*/ 575 w 851"/>
                <a:gd name="T77" fmla="*/ 7 h 30"/>
                <a:gd name="T78" fmla="*/ 598 w 851"/>
                <a:gd name="T79" fmla="*/ 7 h 30"/>
                <a:gd name="T80" fmla="*/ 606 w 851"/>
                <a:gd name="T81" fmla="*/ 7 h 30"/>
                <a:gd name="T82" fmla="*/ 621 w 851"/>
                <a:gd name="T83" fmla="*/ 7 h 30"/>
                <a:gd name="T84" fmla="*/ 636 w 851"/>
                <a:gd name="T85" fmla="*/ 7 h 30"/>
                <a:gd name="T86" fmla="*/ 652 w 851"/>
                <a:gd name="T87" fmla="*/ 7 h 30"/>
                <a:gd name="T88" fmla="*/ 667 w 851"/>
                <a:gd name="T89" fmla="*/ 7 h 30"/>
                <a:gd name="T90" fmla="*/ 682 w 851"/>
                <a:gd name="T91" fmla="*/ 7 h 30"/>
                <a:gd name="T92" fmla="*/ 698 w 851"/>
                <a:gd name="T93" fmla="*/ 7 h 30"/>
                <a:gd name="T94" fmla="*/ 713 w 851"/>
                <a:gd name="T95" fmla="*/ 7 h 30"/>
                <a:gd name="T96" fmla="*/ 721 w 851"/>
                <a:gd name="T97" fmla="*/ 7 h 30"/>
                <a:gd name="T98" fmla="*/ 744 w 851"/>
                <a:gd name="T99" fmla="*/ 7 h 30"/>
                <a:gd name="T100" fmla="*/ 751 w 851"/>
                <a:gd name="T101" fmla="*/ 0 h 30"/>
                <a:gd name="T102" fmla="*/ 774 w 851"/>
                <a:gd name="T103" fmla="*/ 0 h 30"/>
                <a:gd name="T104" fmla="*/ 782 w 851"/>
                <a:gd name="T105" fmla="*/ 0 h 30"/>
                <a:gd name="T106" fmla="*/ 797 w 851"/>
                <a:gd name="T107" fmla="*/ 0 h 30"/>
                <a:gd name="T108" fmla="*/ 813 w 851"/>
                <a:gd name="T109" fmla="*/ 0 h 30"/>
                <a:gd name="T110" fmla="*/ 828 w 851"/>
                <a:gd name="T111" fmla="*/ 0 h 30"/>
                <a:gd name="T112" fmla="*/ 843 w 851"/>
                <a:gd name="T1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51" h="30">
                  <a:moveTo>
                    <a:pt x="0" y="30"/>
                  </a:moveTo>
                  <a:lnTo>
                    <a:pt x="7" y="30"/>
                  </a:lnTo>
                  <a:lnTo>
                    <a:pt x="7" y="30"/>
                  </a:lnTo>
                  <a:lnTo>
                    <a:pt x="15" y="30"/>
                  </a:lnTo>
                  <a:lnTo>
                    <a:pt x="15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61" y="30"/>
                  </a:lnTo>
                  <a:lnTo>
                    <a:pt x="61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107" y="30"/>
                  </a:lnTo>
                  <a:lnTo>
                    <a:pt x="107" y="30"/>
                  </a:lnTo>
                  <a:lnTo>
                    <a:pt x="115" y="30"/>
                  </a:lnTo>
                  <a:lnTo>
                    <a:pt x="115" y="23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30" y="23"/>
                  </a:lnTo>
                  <a:lnTo>
                    <a:pt x="130" y="23"/>
                  </a:lnTo>
                  <a:lnTo>
                    <a:pt x="138" y="23"/>
                  </a:lnTo>
                  <a:lnTo>
                    <a:pt x="138" y="23"/>
                  </a:lnTo>
                  <a:lnTo>
                    <a:pt x="145" y="23"/>
                  </a:lnTo>
                  <a:lnTo>
                    <a:pt x="145" y="23"/>
                  </a:lnTo>
                  <a:lnTo>
                    <a:pt x="145" y="23"/>
                  </a:lnTo>
                  <a:lnTo>
                    <a:pt x="145" y="23"/>
                  </a:lnTo>
                  <a:lnTo>
                    <a:pt x="153" y="23"/>
                  </a:lnTo>
                  <a:lnTo>
                    <a:pt x="153" y="23"/>
                  </a:lnTo>
                  <a:lnTo>
                    <a:pt x="161" y="23"/>
                  </a:lnTo>
                  <a:lnTo>
                    <a:pt x="161" y="23"/>
                  </a:lnTo>
                  <a:lnTo>
                    <a:pt x="168" y="23"/>
                  </a:lnTo>
                  <a:lnTo>
                    <a:pt x="168" y="23"/>
                  </a:lnTo>
                  <a:lnTo>
                    <a:pt x="168" y="23"/>
                  </a:lnTo>
                  <a:lnTo>
                    <a:pt x="168" y="23"/>
                  </a:lnTo>
                  <a:lnTo>
                    <a:pt x="176" y="23"/>
                  </a:lnTo>
                  <a:lnTo>
                    <a:pt x="176" y="23"/>
                  </a:lnTo>
                  <a:lnTo>
                    <a:pt x="184" y="23"/>
                  </a:lnTo>
                  <a:lnTo>
                    <a:pt x="184" y="15"/>
                  </a:lnTo>
                  <a:lnTo>
                    <a:pt x="191" y="15"/>
                  </a:lnTo>
                  <a:lnTo>
                    <a:pt x="191" y="15"/>
                  </a:lnTo>
                  <a:lnTo>
                    <a:pt x="199" y="15"/>
                  </a:lnTo>
                  <a:lnTo>
                    <a:pt x="199" y="15"/>
                  </a:lnTo>
                  <a:lnTo>
                    <a:pt x="199" y="15"/>
                  </a:lnTo>
                  <a:lnTo>
                    <a:pt x="199" y="15"/>
                  </a:lnTo>
                  <a:lnTo>
                    <a:pt x="207" y="15"/>
                  </a:lnTo>
                  <a:lnTo>
                    <a:pt x="207" y="15"/>
                  </a:lnTo>
                  <a:lnTo>
                    <a:pt x="214" y="15"/>
                  </a:lnTo>
                  <a:lnTo>
                    <a:pt x="214" y="15"/>
                  </a:lnTo>
                  <a:lnTo>
                    <a:pt x="222" y="15"/>
                  </a:lnTo>
                  <a:lnTo>
                    <a:pt x="222" y="15"/>
                  </a:lnTo>
                  <a:lnTo>
                    <a:pt x="222" y="15"/>
                  </a:lnTo>
                  <a:lnTo>
                    <a:pt x="222" y="15"/>
                  </a:lnTo>
                  <a:lnTo>
                    <a:pt x="230" y="15"/>
                  </a:lnTo>
                  <a:lnTo>
                    <a:pt x="230" y="15"/>
                  </a:lnTo>
                  <a:lnTo>
                    <a:pt x="237" y="15"/>
                  </a:lnTo>
                  <a:lnTo>
                    <a:pt x="237" y="15"/>
                  </a:lnTo>
                  <a:lnTo>
                    <a:pt x="245" y="15"/>
                  </a:lnTo>
                  <a:lnTo>
                    <a:pt x="245" y="15"/>
                  </a:lnTo>
                  <a:lnTo>
                    <a:pt x="253" y="15"/>
                  </a:lnTo>
                  <a:lnTo>
                    <a:pt x="253" y="15"/>
                  </a:lnTo>
                  <a:lnTo>
                    <a:pt x="260" y="15"/>
                  </a:lnTo>
                  <a:lnTo>
                    <a:pt x="260" y="15"/>
                  </a:lnTo>
                  <a:lnTo>
                    <a:pt x="268" y="15"/>
                  </a:lnTo>
                  <a:lnTo>
                    <a:pt x="268" y="15"/>
                  </a:lnTo>
                  <a:lnTo>
                    <a:pt x="268" y="15"/>
                  </a:lnTo>
                  <a:lnTo>
                    <a:pt x="268" y="15"/>
                  </a:lnTo>
                  <a:lnTo>
                    <a:pt x="276" y="15"/>
                  </a:lnTo>
                  <a:lnTo>
                    <a:pt x="276" y="15"/>
                  </a:lnTo>
                  <a:lnTo>
                    <a:pt x="283" y="15"/>
                  </a:lnTo>
                  <a:lnTo>
                    <a:pt x="283" y="15"/>
                  </a:lnTo>
                  <a:lnTo>
                    <a:pt x="291" y="15"/>
                  </a:lnTo>
                  <a:lnTo>
                    <a:pt x="291" y="15"/>
                  </a:lnTo>
                  <a:lnTo>
                    <a:pt x="299" y="15"/>
                  </a:lnTo>
                  <a:lnTo>
                    <a:pt x="299" y="15"/>
                  </a:lnTo>
                  <a:lnTo>
                    <a:pt x="299" y="15"/>
                  </a:lnTo>
                  <a:lnTo>
                    <a:pt x="299" y="15"/>
                  </a:lnTo>
                  <a:lnTo>
                    <a:pt x="306" y="15"/>
                  </a:lnTo>
                  <a:lnTo>
                    <a:pt x="306" y="15"/>
                  </a:lnTo>
                  <a:lnTo>
                    <a:pt x="314" y="15"/>
                  </a:lnTo>
                  <a:lnTo>
                    <a:pt x="314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9" y="15"/>
                  </a:lnTo>
                  <a:lnTo>
                    <a:pt x="329" y="15"/>
                  </a:lnTo>
                  <a:lnTo>
                    <a:pt x="337" y="15"/>
                  </a:lnTo>
                  <a:lnTo>
                    <a:pt x="337" y="15"/>
                  </a:lnTo>
                  <a:lnTo>
                    <a:pt x="345" y="15"/>
                  </a:lnTo>
                  <a:lnTo>
                    <a:pt x="345" y="15"/>
                  </a:lnTo>
                  <a:lnTo>
                    <a:pt x="345" y="15"/>
                  </a:lnTo>
                  <a:lnTo>
                    <a:pt x="345" y="15"/>
                  </a:lnTo>
                  <a:lnTo>
                    <a:pt x="353" y="15"/>
                  </a:lnTo>
                  <a:lnTo>
                    <a:pt x="353" y="15"/>
                  </a:lnTo>
                  <a:lnTo>
                    <a:pt x="360" y="15"/>
                  </a:lnTo>
                  <a:lnTo>
                    <a:pt x="360" y="15"/>
                  </a:lnTo>
                  <a:lnTo>
                    <a:pt x="368" y="15"/>
                  </a:lnTo>
                  <a:lnTo>
                    <a:pt x="368" y="15"/>
                  </a:lnTo>
                  <a:lnTo>
                    <a:pt x="376" y="15"/>
                  </a:lnTo>
                  <a:lnTo>
                    <a:pt x="376" y="15"/>
                  </a:lnTo>
                  <a:lnTo>
                    <a:pt x="376" y="15"/>
                  </a:lnTo>
                  <a:lnTo>
                    <a:pt x="376" y="15"/>
                  </a:lnTo>
                  <a:lnTo>
                    <a:pt x="383" y="15"/>
                  </a:lnTo>
                  <a:lnTo>
                    <a:pt x="383" y="15"/>
                  </a:lnTo>
                  <a:lnTo>
                    <a:pt x="391" y="15"/>
                  </a:lnTo>
                  <a:lnTo>
                    <a:pt x="391" y="15"/>
                  </a:lnTo>
                  <a:lnTo>
                    <a:pt x="399" y="15"/>
                  </a:lnTo>
                  <a:lnTo>
                    <a:pt x="399" y="15"/>
                  </a:lnTo>
                  <a:lnTo>
                    <a:pt x="399" y="15"/>
                  </a:lnTo>
                  <a:lnTo>
                    <a:pt x="399" y="15"/>
                  </a:lnTo>
                  <a:lnTo>
                    <a:pt x="406" y="15"/>
                  </a:lnTo>
                  <a:lnTo>
                    <a:pt x="406" y="15"/>
                  </a:lnTo>
                  <a:lnTo>
                    <a:pt x="414" y="15"/>
                  </a:lnTo>
                  <a:lnTo>
                    <a:pt x="414" y="15"/>
                  </a:lnTo>
                  <a:lnTo>
                    <a:pt x="422" y="15"/>
                  </a:lnTo>
                  <a:lnTo>
                    <a:pt x="422" y="15"/>
                  </a:lnTo>
                  <a:lnTo>
                    <a:pt x="422" y="15"/>
                  </a:lnTo>
                  <a:lnTo>
                    <a:pt x="422" y="15"/>
                  </a:lnTo>
                  <a:lnTo>
                    <a:pt x="429" y="15"/>
                  </a:lnTo>
                  <a:lnTo>
                    <a:pt x="429" y="15"/>
                  </a:lnTo>
                  <a:lnTo>
                    <a:pt x="437" y="15"/>
                  </a:lnTo>
                  <a:lnTo>
                    <a:pt x="437" y="15"/>
                  </a:lnTo>
                  <a:lnTo>
                    <a:pt x="445" y="15"/>
                  </a:lnTo>
                  <a:lnTo>
                    <a:pt x="445" y="7"/>
                  </a:lnTo>
                  <a:lnTo>
                    <a:pt x="445" y="7"/>
                  </a:lnTo>
                  <a:lnTo>
                    <a:pt x="445" y="7"/>
                  </a:lnTo>
                  <a:lnTo>
                    <a:pt x="452" y="7"/>
                  </a:lnTo>
                  <a:lnTo>
                    <a:pt x="452" y="7"/>
                  </a:lnTo>
                  <a:lnTo>
                    <a:pt x="460" y="7"/>
                  </a:lnTo>
                  <a:lnTo>
                    <a:pt x="460" y="7"/>
                  </a:lnTo>
                  <a:lnTo>
                    <a:pt x="468" y="7"/>
                  </a:lnTo>
                  <a:lnTo>
                    <a:pt x="468" y="7"/>
                  </a:lnTo>
                  <a:lnTo>
                    <a:pt x="475" y="7"/>
                  </a:lnTo>
                  <a:lnTo>
                    <a:pt x="475" y="7"/>
                  </a:lnTo>
                  <a:lnTo>
                    <a:pt x="475" y="7"/>
                  </a:lnTo>
                  <a:lnTo>
                    <a:pt x="475" y="7"/>
                  </a:lnTo>
                  <a:lnTo>
                    <a:pt x="483" y="7"/>
                  </a:lnTo>
                  <a:lnTo>
                    <a:pt x="483" y="7"/>
                  </a:lnTo>
                  <a:lnTo>
                    <a:pt x="491" y="7"/>
                  </a:lnTo>
                  <a:lnTo>
                    <a:pt x="491" y="7"/>
                  </a:lnTo>
                  <a:lnTo>
                    <a:pt x="498" y="7"/>
                  </a:lnTo>
                  <a:lnTo>
                    <a:pt x="498" y="7"/>
                  </a:lnTo>
                  <a:lnTo>
                    <a:pt x="498" y="7"/>
                  </a:lnTo>
                  <a:lnTo>
                    <a:pt x="498" y="7"/>
                  </a:lnTo>
                  <a:lnTo>
                    <a:pt x="506" y="7"/>
                  </a:lnTo>
                  <a:lnTo>
                    <a:pt x="506" y="7"/>
                  </a:lnTo>
                  <a:lnTo>
                    <a:pt x="514" y="7"/>
                  </a:lnTo>
                  <a:lnTo>
                    <a:pt x="514" y="7"/>
                  </a:lnTo>
                  <a:lnTo>
                    <a:pt x="521" y="7"/>
                  </a:lnTo>
                  <a:lnTo>
                    <a:pt x="521" y="7"/>
                  </a:lnTo>
                  <a:lnTo>
                    <a:pt x="521" y="7"/>
                  </a:lnTo>
                  <a:lnTo>
                    <a:pt x="521" y="7"/>
                  </a:lnTo>
                  <a:lnTo>
                    <a:pt x="529" y="7"/>
                  </a:lnTo>
                  <a:lnTo>
                    <a:pt x="529" y="7"/>
                  </a:lnTo>
                  <a:lnTo>
                    <a:pt x="537" y="7"/>
                  </a:lnTo>
                  <a:lnTo>
                    <a:pt x="537" y="7"/>
                  </a:lnTo>
                  <a:lnTo>
                    <a:pt x="544" y="7"/>
                  </a:lnTo>
                  <a:lnTo>
                    <a:pt x="544" y="7"/>
                  </a:lnTo>
                  <a:lnTo>
                    <a:pt x="544" y="7"/>
                  </a:lnTo>
                  <a:lnTo>
                    <a:pt x="544" y="7"/>
                  </a:lnTo>
                  <a:lnTo>
                    <a:pt x="552" y="7"/>
                  </a:lnTo>
                  <a:lnTo>
                    <a:pt x="552" y="7"/>
                  </a:lnTo>
                  <a:lnTo>
                    <a:pt x="560" y="7"/>
                  </a:lnTo>
                  <a:lnTo>
                    <a:pt x="560" y="7"/>
                  </a:lnTo>
                  <a:lnTo>
                    <a:pt x="567" y="7"/>
                  </a:lnTo>
                  <a:lnTo>
                    <a:pt x="567" y="7"/>
                  </a:lnTo>
                  <a:lnTo>
                    <a:pt x="575" y="7"/>
                  </a:lnTo>
                  <a:lnTo>
                    <a:pt x="575" y="7"/>
                  </a:lnTo>
                  <a:lnTo>
                    <a:pt x="575" y="7"/>
                  </a:lnTo>
                  <a:lnTo>
                    <a:pt x="575" y="7"/>
                  </a:lnTo>
                  <a:lnTo>
                    <a:pt x="583" y="7"/>
                  </a:lnTo>
                  <a:lnTo>
                    <a:pt x="583" y="7"/>
                  </a:lnTo>
                  <a:lnTo>
                    <a:pt x="590" y="7"/>
                  </a:lnTo>
                  <a:lnTo>
                    <a:pt x="590" y="7"/>
                  </a:lnTo>
                  <a:lnTo>
                    <a:pt x="598" y="7"/>
                  </a:lnTo>
                  <a:lnTo>
                    <a:pt x="598" y="7"/>
                  </a:lnTo>
                  <a:lnTo>
                    <a:pt x="598" y="7"/>
                  </a:lnTo>
                  <a:lnTo>
                    <a:pt x="598" y="7"/>
                  </a:lnTo>
                  <a:lnTo>
                    <a:pt x="606" y="7"/>
                  </a:lnTo>
                  <a:lnTo>
                    <a:pt x="606" y="7"/>
                  </a:lnTo>
                  <a:lnTo>
                    <a:pt x="613" y="7"/>
                  </a:lnTo>
                  <a:lnTo>
                    <a:pt x="613" y="7"/>
                  </a:lnTo>
                  <a:lnTo>
                    <a:pt x="621" y="7"/>
                  </a:lnTo>
                  <a:lnTo>
                    <a:pt x="621" y="7"/>
                  </a:lnTo>
                  <a:lnTo>
                    <a:pt x="621" y="7"/>
                  </a:lnTo>
                  <a:lnTo>
                    <a:pt x="621" y="7"/>
                  </a:lnTo>
                  <a:lnTo>
                    <a:pt x="629" y="7"/>
                  </a:lnTo>
                  <a:lnTo>
                    <a:pt x="629" y="7"/>
                  </a:lnTo>
                  <a:lnTo>
                    <a:pt x="636" y="7"/>
                  </a:lnTo>
                  <a:lnTo>
                    <a:pt x="636" y="7"/>
                  </a:lnTo>
                  <a:lnTo>
                    <a:pt x="644" y="7"/>
                  </a:lnTo>
                  <a:lnTo>
                    <a:pt x="644" y="7"/>
                  </a:lnTo>
                  <a:lnTo>
                    <a:pt x="652" y="7"/>
                  </a:lnTo>
                  <a:lnTo>
                    <a:pt x="652" y="7"/>
                  </a:lnTo>
                  <a:lnTo>
                    <a:pt x="652" y="7"/>
                  </a:lnTo>
                  <a:lnTo>
                    <a:pt x="652" y="7"/>
                  </a:lnTo>
                  <a:lnTo>
                    <a:pt x="659" y="7"/>
                  </a:lnTo>
                  <a:lnTo>
                    <a:pt x="659" y="7"/>
                  </a:lnTo>
                  <a:lnTo>
                    <a:pt x="667" y="7"/>
                  </a:lnTo>
                  <a:lnTo>
                    <a:pt x="667" y="7"/>
                  </a:lnTo>
                  <a:lnTo>
                    <a:pt x="675" y="7"/>
                  </a:lnTo>
                  <a:lnTo>
                    <a:pt x="675" y="7"/>
                  </a:lnTo>
                  <a:lnTo>
                    <a:pt x="675" y="7"/>
                  </a:lnTo>
                  <a:lnTo>
                    <a:pt x="675" y="7"/>
                  </a:lnTo>
                  <a:lnTo>
                    <a:pt x="682" y="7"/>
                  </a:lnTo>
                  <a:lnTo>
                    <a:pt x="682" y="7"/>
                  </a:lnTo>
                  <a:lnTo>
                    <a:pt x="690" y="7"/>
                  </a:lnTo>
                  <a:lnTo>
                    <a:pt x="690" y="7"/>
                  </a:lnTo>
                  <a:lnTo>
                    <a:pt x="698" y="7"/>
                  </a:lnTo>
                  <a:lnTo>
                    <a:pt x="698" y="7"/>
                  </a:lnTo>
                  <a:lnTo>
                    <a:pt x="698" y="7"/>
                  </a:lnTo>
                  <a:lnTo>
                    <a:pt x="698" y="7"/>
                  </a:lnTo>
                  <a:lnTo>
                    <a:pt x="705" y="7"/>
                  </a:lnTo>
                  <a:lnTo>
                    <a:pt x="705" y="7"/>
                  </a:lnTo>
                  <a:lnTo>
                    <a:pt x="713" y="7"/>
                  </a:lnTo>
                  <a:lnTo>
                    <a:pt x="713" y="7"/>
                  </a:lnTo>
                  <a:lnTo>
                    <a:pt x="721" y="7"/>
                  </a:lnTo>
                  <a:lnTo>
                    <a:pt x="721" y="7"/>
                  </a:lnTo>
                  <a:lnTo>
                    <a:pt x="721" y="7"/>
                  </a:lnTo>
                  <a:lnTo>
                    <a:pt x="721" y="7"/>
                  </a:lnTo>
                  <a:lnTo>
                    <a:pt x="728" y="7"/>
                  </a:lnTo>
                  <a:lnTo>
                    <a:pt x="728" y="7"/>
                  </a:lnTo>
                  <a:lnTo>
                    <a:pt x="736" y="7"/>
                  </a:lnTo>
                  <a:lnTo>
                    <a:pt x="736" y="7"/>
                  </a:lnTo>
                  <a:lnTo>
                    <a:pt x="744" y="7"/>
                  </a:lnTo>
                  <a:lnTo>
                    <a:pt x="744" y="7"/>
                  </a:lnTo>
                  <a:lnTo>
                    <a:pt x="751" y="7"/>
                  </a:lnTo>
                  <a:lnTo>
                    <a:pt x="751" y="7"/>
                  </a:lnTo>
                  <a:lnTo>
                    <a:pt x="751" y="7"/>
                  </a:lnTo>
                  <a:lnTo>
                    <a:pt x="751" y="0"/>
                  </a:lnTo>
                  <a:lnTo>
                    <a:pt x="759" y="0"/>
                  </a:lnTo>
                  <a:lnTo>
                    <a:pt x="759" y="0"/>
                  </a:lnTo>
                  <a:lnTo>
                    <a:pt x="767" y="0"/>
                  </a:lnTo>
                  <a:lnTo>
                    <a:pt x="767" y="0"/>
                  </a:lnTo>
                  <a:lnTo>
                    <a:pt x="774" y="0"/>
                  </a:lnTo>
                  <a:lnTo>
                    <a:pt x="774" y="0"/>
                  </a:lnTo>
                  <a:lnTo>
                    <a:pt x="774" y="0"/>
                  </a:lnTo>
                  <a:lnTo>
                    <a:pt x="774" y="0"/>
                  </a:lnTo>
                  <a:lnTo>
                    <a:pt x="782" y="0"/>
                  </a:lnTo>
                  <a:lnTo>
                    <a:pt x="782" y="0"/>
                  </a:lnTo>
                  <a:lnTo>
                    <a:pt x="790" y="0"/>
                  </a:lnTo>
                  <a:lnTo>
                    <a:pt x="790" y="0"/>
                  </a:lnTo>
                  <a:lnTo>
                    <a:pt x="797" y="0"/>
                  </a:lnTo>
                  <a:lnTo>
                    <a:pt x="797" y="0"/>
                  </a:lnTo>
                  <a:lnTo>
                    <a:pt x="797" y="0"/>
                  </a:lnTo>
                  <a:lnTo>
                    <a:pt x="797" y="0"/>
                  </a:lnTo>
                  <a:lnTo>
                    <a:pt x="805" y="0"/>
                  </a:lnTo>
                  <a:lnTo>
                    <a:pt x="805" y="0"/>
                  </a:lnTo>
                  <a:lnTo>
                    <a:pt x="813" y="0"/>
                  </a:lnTo>
                  <a:lnTo>
                    <a:pt x="813" y="0"/>
                  </a:lnTo>
                  <a:lnTo>
                    <a:pt x="820" y="0"/>
                  </a:lnTo>
                  <a:lnTo>
                    <a:pt x="820" y="0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836" y="0"/>
                  </a:lnTo>
                  <a:lnTo>
                    <a:pt x="836" y="0"/>
                  </a:lnTo>
                  <a:lnTo>
                    <a:pt x="843" y="0"/>
                  </a:lnTo>
                  <a:lnTo>
                    <a:pt x="843" y="0"/>
                  </a:lnTo>
                  <a:lnTo>
                    <a:pt x="851" y="0"/>
                  </a:lnTo>
                  <a:lnTo>
                    <a:pt x="851" y="0"/>
                  </a:lnTo>
                  <a:lnTo>
                    <a:pt x="851" y="0"/>
                  </a:lnTo>
                  <a:lnTo>
                    <a:pt x="851" y="0"/>
                  </a:lnTo>
                </a:path>
              </a:pathLst>
            </a:custGeom>
            <a:noFill/>
            <a:ln w="23813" cap="sq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</p:grpSp>
      <p:sp>
        <p:nvSpPr>
          <p:cNvPr id="98" name="Rechteck 14">
            <a:extLst>
              <a:ext uri="{FF2B5EF4-FFF2-40B4-BE49-F238E27FC236}">
                <a16:creationId xmlns:a16="http://schemas.microsoft.com/office/drawing/2014/main" id="{54D898B0-0C3C-CE48-9DA1-6FD93F125A29}"/>
              </a:ext>
            </a:extLst>
          </p:cNvPr>
          <p:cNvSpPr/>
          <p:nvPr/>
        </p:nvSpPr>
        <p:spPr>
          <a:xfrm>
            <a:off x="7608568" y="1682923"/>
            <a:ext cx="3411857" cy="609966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28575">
            <a:solidFill>
              <a:schemeClr val="accent3">
                <a:lumMod val="75000"/>
              </a:schemeClr>
            </a:solidFill>
          </a:ln>
        </p:spPr>
        <p:txBody>
          <a:bodyPr wrap="square" lIns="90000" tIns="108000" bIns="108000" rtlCol="0" anchor="ctr">
            <a:noAutofit/>
          </a:bodyPr>
          <a:lstStyle/>
          <a:p>
            <a:pPr marL="0" marR="0" lvl="2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Death from heart (cardiovascular)</a:t>
            </a:r>
            <a:r>
              <a:rPr kumimoji="0" lang="en-GB" sz="20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 disease</a:t>
            </a:r>
            <a:r>
              <a:rPr kumimoji="0" lang="en-GB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 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ulish" pitchFamily="2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99" name="Rechteck 14">
            <a:extLst>
              <a:ext uri="{FF2B5EF4-FFF2-40B4-BE49-F238E27FC236}">
                <a16:creationId xmlns:a16="http://schemas.microsoft.com/office/drawing/2014/main" id="{DAD1E1BD-0D8A-2348-8B7B-09F7641C4568}"/>
              </a:ext>
            </a:extLst>
          </p:cNvPr>
          <p:cNvSpPr/>
          <p:nvPr/>
        </p:nvSpPr>
        <p:spPr>
          <a:xfrm>
            <a:off x="1777783" y="1678858"/>
            <a:ext cx="3137303" cy="63709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90000" tIns="108000" bIns="108000" rtlCol="0" anchor="ctr">
            <a:noAutofit/>
          </a:bodyPr>
          <a:lstStyle/>
          <a:p>
            <a:pPr marL="0" marR="0" lvl="2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" pitchFamily="2" charset="0"/>
                <a:ea typeface="ＭＳ Ｐゴシック" pitchFamily="34" charset="-128"/>
                <a:cs typeface="Arial" pitchFamily="34" charset="0"/>
              </a:rPr>
              <a:t>Kidney disease progress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1296826" y="2580630"/>
            <a:ext cx="446201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In those allocated to </a:t>
            </a:r>
            <a:r>
              <a:rPr lang="en-US" altLang="en-US" b="1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PLACEBO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: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   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504 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out of 3305 people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(15.2%)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  <a:p>
            <a:pPr lvl="0"/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In those allocated to </a:t>
            </a:r>
            <a:r>
              <a:rPr lang="en-US" altLang="en-US" b="1" dirty="0">
                <a:solidFill>
                  <a:srgbClr val="CE08A8"/>
                </a:solidFill>
                <a:latin typeface="Mulish" pitchFamily="2" charset="0"/>
              </a:rPr>
              <a:t>EMPAGLIFLOZIN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:</a:t>
            </a:r>
          </a:p>
          <a:p>
            <a:pPr lvl="0"/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   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384 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out of 3304 people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(11.6%)</a:t>
            </a:r>
            <a:endParaRPr lang="en-US" alt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7011266" y="2571567"/>
            <a:ext cx="446201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In those allocated to </a:t>
            </a:r>
            <a:r>
              <a:rPr lang="en-US" altLang="en-US" b="1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PLACEBO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: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   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69 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out of 3305 people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(2.1%)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  <a:p>
            <a:pPr lvl="0"/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In those allocated to </a:t>
            </a:r>
            <a:r>
              <a:rPr lang="en-US" altLang="en-US" b="1" dirty="0">
                <a:solidFill>
                  <a:srgbClr val="CE08A8"/>
                </a:solidFill>
                <a:latin typeface="Mulish" pitchFamily="2" charset="0"/>
              </a:rPr>
              <a:t>EMPAGLIFLOZIN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:</a:t>
            </a:r>
          </a:p>
          <a:p>
            <a:pPr lvl="0"/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   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59 </a:t>
            </a:r>
            <a:r>
              <a:rPr lang="en-US" altLang="en-US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out of 3304 people </a:t>
            </a:r>
            <a:r>
              <a:rPr lang="en-US" altLang="en-US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(1.8%)</a:t>
            </a:r>
            <a:endParaRPr lang="en-US" alt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2" name="Rounded Rectangle 91"/>
          <p:cNvSpPr/>
          <p:nvPr/>
        </p:nvSpPr>
        <p:spPr>
          <a:xfrm>
            <a:off x="1398852" y="4376890"/>
            <a:ext cx="3903324" cy="64877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93" name="TextBox 92"/>
          <p:cNvSpPr txBox="1"/>
          <p:nvPr/>
        </p:nvSpPr>
        <p:spPr>
          <a:xfrm>
            <a:off x="1125703" y="4511926"/>
            <a:ext cx="44578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bg1"/>
                </a:solidFill>
                <a:latin typeface="Mulish" pitchFamily="2" charset="0"/>
              </a:rPr>
              <a:t>The absolute risk is </a:t>
            </a:r>
            <a:r>
              <a:rPr lang="en-GB" sz="1600" b="1" dirty="0" smtClean="0">
                <a:solidFill>
                  <a:schemeClr val="bg1"/>
                </a:solidFill>
                <a:latin typeface="Mulish" pitchFamily="2" charset="0"/>
              </a:rPr>
              <a:t>reduced by 3.6%</a:t>
            </a:r>
            <a:endParaRPr lang="en-GB" sz="1600" b="1" dirty="0">
              <a:solidFill>
                <a:schemeClr val="bg1"/>
              </a:solidFill>
              <a:latin typeface="Mulish" pitchFamily="2" charset="0"/>
            </a:endParaRPr>
          </a:p>
        </p:txBody>
      </p:sp>
      <p:sp>
        <p:nvSpPr>
          <p:cNvPr id="94" name="Rounded Rectangle 93"/>
          <p:cNvSpPr/>
          <p:nvPr/>
        </p:nvSpPr>
        <p:spPr>
          <a:xfrm>
            <a:off x="7011266" y="4382074"/>
            <a:ext cx="3903324" cy="64877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95" name="TextBox 94"/>
          <p:cNvSpPr txBox="1"/>
          <p:nvPr/>
        </p:nvSpPr>
        <p:spPr>
          <a:xfrm>
            <a:off x="6738117" y="4517110"/>
            <a:ext cx="44578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 smtClean="0">
                <a:solidFill>
                  <a:schemeClr val="bg1"/>
                </a:solidFill>
                <a:latin typeface="Mulish" pitchFamily="2" charset="0"/>
              </a:rPr>
              <a:t>The absolute risk is </a:t>
            </a:r>
            <a:r>
              <a:rPr lang="en-GB" sz="1600" b="1" dirty="0" smtClean="0">
                <a:solidFill>
                  <a:schemeClr val="bg1"/>
                </a:solidFill>
                <a:latin typeface="Mulish" pitchFamily="2" charset="0"/>
              </a:rPr>
              <a:t>reduced by 0.3%</a:t>
            </a:r>
            <a:endParaRPr lang="en-GB" sz="1600" b="1" dirty="0">
              <a:solidFill>
                <a:schemeClr val="bg1"/>
              </a:solidFill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5129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8458" y="4509120"/>
            <a:ext cx="6821919" cy="1752600"/>
          </a:xfrm>
        </p:spPr>
        <p:txBody>
          <a:bodyPr>
            <a:normAutofit/>
          </a:bodyPr>
          <a:lstStyle/>
          <a:p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Primary outcome:</a:t>
            </a:r>
          </a:p>
          <a:p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Key subgroup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08"/>
          <a:stretch/>
        </p:blipFill>
        <p:spPr>
          <a:xfrm>
            <a:off x="119798" y="548680"/>
            <a:ext cx="11952404" cy="371241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10587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Unanswered questions prior to EMPA-KIDNE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49642" y="1973185"/>
            <a:ext cx="9196137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>
                <a:latin typeface="Mulish" pitchFamily="2" charset="0"/>
              </a:rPr>
              <a:t>Does it work if you </a:t>
            </a:r>
            <a:r>
              <a:rPr lang="en-GB" b="1" dirty="0">
                <a:latin typeface="Mulish" pitchFamily="2" charset="0"/>
              </a:rPr>
              <a:t>don’t</a:t>
            </a:r>
            <a:r>
              <a:rPr lang="en-GB" dirty="0">
                <a:latin typeface="Mulish" pitchFamily="2" charset="0"/>
              </a:rPr>
              <a:t> have diabetes?</a:t>
            </a:r>
          </a:p>
          <a:p>
            <a:pPr marL="0" indent="0">
              <a:buNone/>
            </a:pPr>
            <a:endParaRPr lang="en-GB" dirty="0">
              <a:latin typeface="Mulish" pitchFamily="2" charset="0"/>
            </a:endParaRPr>
          </a:p>
          <a:p>
            <a:pPr marL="0" indent="0">
              <a:buNone/>
            </a:pPr>
            <a:r>
              <a:rPr lang="en-GB" dirty="0">
                <a:latin typeface="Mulish" pitchFamily="2" charset="0"/>
              </a:rPr>
              <a:t>Does it work in </a:t>
            </a:r>
            <a:r>
              <a:rPr lang="en-GB" b="1" dirty="0">
                <a:latin typeface="Mulish" pitchFamily="2" charset="0"/>
              </a:rPr>
              <a:t>later stages </a:t>
            </a:r>
            <a:r>
              <a:rPr lang="en-GB" dirty="0">
                <a:latin typeface="Mulish" pitchFamily="2" charset="0"/>
              </a:rPr>
              <a:t>of kidney disease?</a:t>
            </a:r>
          </a:p>
          <a:p>
            <a:pPr marL="0" indent="0">
              <a:buNone/>
            </a:pPr>
            <a:endParaRPr lang="en-GB" dirty="0">
              <a:latin typeface="Mulish" pitchFamily="2" charset="0"/>
            </a:endParaRPr>
          </a:p>
          <a:p>
            <a:pPr marL="0" indent="0">
              <a:buNone/>
            </a:pPr>
            <a:r>
              <a:rPr lang="en-GB" dirty="0">
                <a:latin typeface="Mulish" pitchFamily="2" charset="0"/>
              </a:rPr>
              <a:t>Does it work if you </a:t>
            </a:r>
            <a:r>
              <a:rPr lang="en-GB" b="1" dirty="0">
                <a:latin typeface="Mulish" pitchFamily="2" charset="0"/>
              </a:rPr>
              <a:t>don’t</a:t>
            </a:r>
            <a:r>
              <a:rPr lang="en-GB" dirty="0">
                <a:latin typeface="Mulish" pitchFamily="2" charset="0"/>
              </a:rPr>
              <a:t> have protein (albumin) in the urine?</a:t>
            </a:r>
          </a:p>
        </p:txBody>
      </p:sp>
      <p:pic>
        <p:nvPicPr>
          <p:cNvPr id="1026" name="Picture 2" descr="https://cdn-icons-png.flaticon.com/512/7574/757443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48" y="1884696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s://cdn-icons-png.flaticon.com/512/7574/757443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48" y="3176056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s://cdn-icons-png.flaticon.com/512/7574/757443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48" y="4467416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ounded Rectangle 6"/>
          <p:cNvSpPr/>
          <p:nvPr/>
        </p:nvSpPr>
        <p:spPr>
          <a:xfrm>
            <a:off x="2549820" y="5664914"/>
            <a:ext cx="7504045" cy="66773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2149642" y="5664914"/>
            <a:ext cx="8304403" cy="848071"/>
          </a:xfrm>
          <a:prstGeom prst="rect">
            <a:avLst/>
          </a:prstGeom>
        </p:spPr>
        <p:txBody>
          <a:bodyPr vert="horz" lIns="91428" tIns="45713" rIns="91428" bIns="45713" rtlCol="0">
            <a:normAutofit/>
          </a:bodyPr>
          <a:lstStyle>
            <a:lvl1pPr marL="342852" indent="-342852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1pPr>
            <a:lvl2pPr marL="742847" indent="-285710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2pPr>
            <a:lvl3pPr marL="1142842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3pPr>
            <a:lvl4pPr marL="1599979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4pPr>
            <a:lvl5pPr marL="2057116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Mulish Light" pitchFamily="2" charset="0"/>
                <a:ea typeface="+mn-ea"/>
                <a:cs typeface="Arial" panose="020B0604020202020204" pitchFamily="34" charset="0"/>
              </a:defRPr>
            </a:lvl5pPr>
            <a:lvl6pPr marL="2514253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90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27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64" indent="-228568" algn="l" defTabSz="9142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b="1" dirty="0" smtClean="0">
                <a:solidFill>
                  <a:schemeClr val="bg1"/>
                </a:solidFill>
                <a:latin typeface="Mulish" pitchFamily="2" charset="0"/>
              </a:rPr>
              <a:t>Pre-specified as key subgroups</a:t>
            </a:r>
          </a:p>
        </p:txBody>
      </p:sp>
    </p:spTree>
    <p:extLst>
      <p:ext uri="{BB962C8B-B14F-4D97-AF65-F5344CB8AC3E}">
        <p14:creationId xmlns:p14="http://schemas.microsoft.com/office/powerpoint/2010/main" val="938489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Effect of </a:t>
            </a:r>
            <a:r>
              <a:rPr lang="en-GB" dirty="0" smtClean="0">
                <a:solidFill>
                  <a:schemeClr val="accent6"/>
                </a:solidFill>
              </a:rPr>
              <a:t>diabetes</a:t>
            </a:r>
            <a:r>
              <a:rPr lang="en-GB" dirty="0" smtClean="0"/>
              <a:t> on kidney disease progression/cardiovascular death</a:t>
            </a:r>
            <a:endParaRPr dirty="0"/>
          </a:p>
        </p:txBody>
      </p:sp>
      <p:sp>
        <p:nvSpPr>
          <p:cNvPr id="3" name="TextBox 2"/>
          <p:cNvSpPr txBox="1"/>
          <p:nvPr/>
        </p:nvSpPr>
        <p:spPr>
          <a:xfrm>
            <a:off x="2769326" y="6342017"/>
            <a:ext cx="4312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graphicFrame>
        <p:nvGraphicFramePr>
          <p:cNvPr id="44" name="Chart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7944195"/>
              </p:ext>
            </p:extLst>
          </p:nvPr>
        </p:nvGraphicFramePr>
        <p:xfrm>
          <a:off x="2478911" y="2022676"/>
          <a:ext cx="7243823" cy="4077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26575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Effect of </a:t>
            </a:r>
            <a:r>
              <a:rPr lang="en-GB" dirty="0">
                <a:solidFill>
                  <a:schemeClr val="accent6"/>
                </a:solidFill>
              </a:rPr>
              <a:t>kidney function (</a:t>
            </a:r>
            <a:r>
              <a:rPr lang="en-GB" dirty="0" err="1">
                <a:solidFill>
                  <a:schemeClr val="accent6"/>
                </a:solidFill>
              </a:rPr>
              <a:t>eGFR</a:t>
            </a:r>
            <a:r>
              <a:rPr lang="en-GB" dirty="0">
                <a:solidFill>
                  <a:schemeClr val="accent6"/>
                </a:solidFill>
              </a:rPr>
              <a:t>)</a:t>
            </a:r>
            <a:r>
              <a:rPr lang="en-GB" dirty="0"/>
              <a:t> on kidney disease progression/cardiovascular death</a:t>
            </a:r>
            <a:endParaRPr dirty="0"/>
          </a:p>
        </p:txBody>
      </p:sp>
      <p:sp>
        <p:nvSpPr>
          <p:cNvPr id="3" name="TextBox 2"/>
          <p:cNvSpPr txBox="1"/>
          <p:nvPr/>
        </p:nvSpPr>
        <p:spPr>
          <a:xfrm>
            <a:off x="2769326" y="6342017"/>
            <a:ext cx="4312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8041522"/>
              </p:ext>
            </p:extLst>
          </p:nvPr>
        </p:nvGraphicFramePr>
        <p:xfrm>
          <a:off x="2050648" y="1841236"/>
          <a:ext cx="8090704" cy="4077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40481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81023" y="274639"/>
            <a:ext cx="12273023" cy="1143000"/>
          </a:xfrm>
        </p:spPr>
        <p:txBody>
          <a:bodyPr>
            <a:normAutofit fontScale="90000"/>
          </a:bodyPr>
          <a:lstStyle/>
          <a:p>
            <a:r>
              <a:rPr lang="en-GB" dirty="0"/>
              <a:t>Effect of </a:t>
            </a:r>
            <a:r>
              <a:rPr lang="en-GB" dirty="0">
                <a:solidFill>
                  <a:schemeClr val="accent6"/>
                </a:solidFill>
              </a:rPr>
              <a:t>level of albumin (protein) in the urine</a:t>
            </a:r>
            <a:r>
              <a:rPr lang="en-GB" dirty="0"/>
              <a:t> on kidney disease progression/cardiovascular death</a:t>
            </a:r>
            <a:endParaRPr dirty="0"/>
          </a:p>
        </p:txBody>
      </p:sp>
      <p:sp>
        <p:nvSpPr>
          <p:cNvPr id="3" name="TextBox 2"/>
          <p:cNvSpPr txBox="1"/>
          <p:nvPr/>
        </p:nvSpPr>
        <p:spPr>
          <a:xfrm>
            <a:off x="2769326" y="6342017"/>
            <a:ext cx="4312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0883248"/>
              </p:ext>
            </p:extLst>
          </p:nvPr>
        </p:nvGraphicFramePr>
        <p:xfrm>
          <a:off x="2010888" y="1839619"/>
          <a:ext cx="8089200" cy="407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3422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can we slow the rate of decline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Good control of blood pressure</a:t>
            </a:r>
          </a:p>
          <a:p>
            <a:pPr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Good control of blood sugar in people with diabetes</a:t>
            </a:r>
          </a:p>
          <a:p>
            <a:pPr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Drugs like </a:t>
            </a:r>
            <a:r>
              <a:rPr lang="en-GB" b="1" dirty="0" err="1">
                <a:latin typeface="Mulish" pitchFamily="2" charset="0"/>
              </a:rPr>
              <a:t>r</a:t>
            </a:r>
            <a:r>
              <a:rPr lang="en-GB" b="1" dirty="0" err="1" smtClean="0">
                <a:latin typeface="Mulish" pitchFamily="2" charset="0"/>
              </a:rPr>
              <a:t>amipril</a:t>
            </a:r>
            <a:r>
              <a:rPr lang="en-GB" b="1" dirty="0" smtClean="0">
                <a:latin typeface="Mulish" pitchFamily="2" charset="0"/>
              </a:rPr>
              <a:t> or losartan</a:t>
            </a:r>
            <a:r>
              <a:rPr lang="en-GB" dirty="0" smtClean="0">
                <a:latin typeface="Mulish" pitchFamily="2" charset="0"/>
              </a:rPr>
              <a:t> for </a:t>
            </a:r>
            <a:r>
              <a:rPr lang="en-GB" u="sng" dirty="0" smtClean="0">
                <a:latin typeface="Mulish" pitchFamily="2" charset="0"/>
              </a:rPr>
              <a:t>some</a:t>
            </a:r>
            <a:r>
              <a:rPr lang="en-GB" dirty="0" smtClean="0">
                <a:latin typeface="Mulish" pitchFamily="2" charset="0"/>
              </a:rPr>
              <a:t> people</a:t>
            </a:r>
          </a:p>
          <a:p>
            <a:pPr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Otherwise we don’t have long-term drug treatments for most people with chronic kidney disease</a:t>
            </a:r>
          </a:p>
          <a:p>
            <a:pPr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We need to test potential new treatments</a:t>
            </a:r>
            <a:endParaRPr lang="en-GB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539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ther subgroup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GB" b="1" dirty="0" smtClean="0">
                <a:latin typeface="Mulish" pitchFamily="2" charset="0"/>
              </a:rPr>
              <a:t>Empagliflozin reduced the risk of kidney disease progression or cardiovascular death regardless of:</a:t>
            </a:r>
            <a:endParaRPr lang="en-GB" b="1" dirty="0">
              <a:latin typeface="Mulish" pitchFamily="2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5678" y="2892287"/>
            <a:ext cx="4214192" cy="3162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GB" sz="2600" dirty="0" smtClean="0">
                <a:latin typeface="Mulish" pitchFamily="2" charset="0"/>
              </a:rPr>
              <a:t>Age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GB" sz="2600" dirty="0" smtClean="0">
                <a:latin typeface="Mulish" pitchFamily="2" charset="0"/>
              </a:rPr>
              <a:t>Sex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GB" sz="2600" dirty="0" smtClean="0">
                <a:latin typeface="Mulish" pitchFamily="2" charset="0"/>
              </a:rPr>
              <a:t>Geographical region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GB" sz="2600" dirty="0" smtClean="0">
                <a:latin typeface="Mulish" pitchFamily="2" charset="0"/>
              </a:rPr>
              <a:t>Cause of kidney disease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GB" sz="2600" dirty="0" smtClean="0">
                <a:latin typeface="Mulish" pitchFamily="2" charset="0"/>
              </a:rPr>
              <a:t>Body mass index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GB" sz="2600" dirty="0" smtClean="0">
                <a:latin typeface="Mulish" pitchFamily="2" charset="0"/>
              </a:rPr>
              <a:t>Blood pressure</a:t>
            </a:r>
            <a:endParaRPr lang="en-GB" sz="2600" dirty="0">
              <a:latin typeface="Mulish" pitchFamily="2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886741" y="2892287"/>
            <a:ext cx="7030278" cy="32131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GB" sz="2600" dirty="0" smtClean="0">
                <a:latin typeface="Mulish" pitchFamily="2" charset="0"/>
              </a:rPr>
              <a:t>Whether taking certain medications or not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GB" sz="2600" dirty="0" smtClean="0">
                <a:solidFill>
                  <a:schemeClr val="accent6"/>
                </a:solidFill>
                <a:latin typeface="Mulish" pitchFamily="2" charset="0"/>
              </a:rPr>
              <a:t>Having diabetes or not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GB" sz="2600" dirty="0" smtClean="0">
                <a:latin typeface="Mulish" pitchFamily="2" charset="0"/>
              </a:rPr>
              <a:t>Having pre-existing heart disease or not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GB" sz="2600" dirty="0" smtClean="0">
                <a:solidFill>
                  <a:schemeClr val="accent6"/>
                </a:solidFill>
                <a:latin typeface="Mulish" pitchFamily="2" charset="0"/>
              </a:rPr>
              <a:t>Level of kidney function (</a:t>
            </a:r>
            <a:r>
              <a:rPr lang="en-GB" sz="2600" dirty="0" err="1" smtClean="0">
                <a:solidFill>
                  <a:schemeClr val="accent6"/>
                </a:solidFill>
                <a:latin typeface="Mulish" pitchFamily="2" charset="0"/>
              </a:rPr>
              <a:t>eGFR</a:t>
            </a:r>
            <a:r>
              <a:rPr lang="en-GB" sz="2600" dirty="0" smtClean="0">
                <a:solidFill>
                  <a:schemeClr val="accent6"/>
                </a:solidFill>
                <a:latin typeface="Mulish" pitchFamily="2" charset="0"/>
              </a:rPr>
              <a:t>)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GB" sz="2600" dirty="0" smtClean="0">
                <a:solidFill>
                  <a:schemeClr val="accent6"/>
                </a:solidFill>
                <a:latin typeface="Mulish" pitchFamily="2" charset="0"/>
              </a:rPr>
              <a:t>Level of albumin in the urine (</a:t>
            </a:r>
            <a:r>
              <a:rPr lang="en-GB" sz="2600" dirty="0" err="1" smtClean="0">
                <a:solidFill>
                  <a:schemeClr val="accent6"/>
                </a:solidFill>
                <a:latin typeface="Mulish" pitchFamily="2" charset="0"/>
              </a:rPr>
              <a:t>uACR</a:t>
            </a:r>
            <a:r>
              <a:rPr lang="en-GB" sz="2600" dirty="0" smtClean="0">
                <a:solidFill>
                  <a:schemeClr val="accent6"/>
                </a:solidFill>
                <a:latin typeface="Mulish" pitchFamily="2" charset="0"/>
              </a:rPr>
              <a:t>)</a:t>
            </a:r>
          </a:p>
          <a:p>
            <a:pPr marL="285750" indent="-28575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GB" sz="2600" dirty="0" smtClean="0">
                <a:latin typeface="Mulish" pitchFamily="2" charset="0"/>
              </a:rPr>
              <a:t>Levels of other blood markers</a:t>
            </a:r>
            <a:endParaRPr lang="en-GB" sz="2600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1751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ever…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>
                <a:latin typeface="Mulish" pitchFamily="2" charset="0"/>
              </a:rPr>
              <a:t>Only small numbers of people with low levels of albumin in the urine had a primary outcome event</a:t>
            </a:r>
          </a:p>
          <a:p>
            <a:r>
              <a:rPr lang="en-GB" dirty="0" smtClean="0">
                <a:latin typeface="Mulish" pitchFamily="2" charset="0"/>
              </a:rPr>
              <a:t>Because by definition their kidney disease progresses slowly</a:t>
            </a:r>
          </a:p>
          <a:p>
            <a:r>
              <a:rPr lang="en-GB" dirty="0" smtClean="0">
                <a:latin typeface="Mulish" pitchFamily="2" charset="0"/>
              </a:rPr>
              <a:t>The trial was only 2 years long for the average person</a:t>
            </a:r>
          </a:p>
          <a:p>
            <a:r>
              <a:rPr lang="en-GB" dirty="0" smtClean="0">
                <a:latin typeface="Mulish" pitchFamily="2" charset="0"/>
              </a:rPr>
              <a:t>Which may not be long enough to accurately assess effects in these slowly-progressing participants</a:t>
            </a:r>
          </a:p>
          <a:p>
            <a:r>
              <a:rPr lang="en-GB" dirty="0" smtClean="0">
                <a:latin typeface="Mulish" pitchFamily="2" charset="0"/>
              </a:rPr>
              <a:t>We can analyse this group another way…</a:t>
            </a:r>
            <a:endParaRPr lang="en-GB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421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8458" y="4509120"/>
            <a:ext cx="6821919" cy="1752600"/>
          </a:xfrm>
        </p:spPr>
        <p:txBody>
          <a:bodyPr>
            <a:normAutofit/>
          </a:bodyPr>
          <a:lstStyle/>
          <a:p>
            <a:r>
              <a:rPr lang="en-GB" sz="4000" b="1" dirty="0" err="1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eGFR</a:t>
            </a:r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 </a:t>
            </a:r>
            <a:r>
              <a:rPr lang="en-GB" sz="4000" b="1" dirty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s</a:t>
            </a:r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lope analys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08"/>
          <a:stretch/>
        </p:blipFill>
        <p:spPr>
          <a:xfrm>
            <a:off x="-167772" y="548680"/>
            <a:ext cx="11952404" cy="371241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526569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eGFR</a:t>
            </a:r>
            <a:r>
              <a:rPr lang="en-GB" dirty="0" smtClean="0"/>
              <a:t> (kidney function) slope analyses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09599" y="1600206"/>
            <a:ext cx="11426687" cy="3717229"/>
          </a:xfrm>
        </p:spPr>
        <p:txBody>
          <a:bodyPr/>
          <a:lstStyle/>
          <a:p>
            <a:r>
              <a:rPr lang="en-GB" dirty="0" smtClean="0">
                <a:latin typeface="Mulish" pitchFamily="2" charset="0"/>
              </a:rPr>
              <a:t>Assess the change in </a:t>
            </a:r>
            <a:r>
              <a:rPr lang="en-GB" dirty="0" err="1" smtClean="0">
                <a:latin typeface="Mulish" pitchFamily="2" charset="0"/>
              </a:rPr>
              <a:t>eGFR</a:t>
            </a:r>
            <a:r>
              <a:rPr lang="en-GB" dirty="0" smtClean="0">
                <a:latin typeface="Mulish" pitchFamily="2" charset="0"/>
              </a:rPr>
              <a:t> over time for all participants</a:t>
            </a:r>
          </a:p>
          <a:p>
            <a:r>
              <a:rPr lang="en-GB" dirty="0" smtClean="0">
                <a:latin typeface="Mulish" pitchFamily="2" charset="0"/>
              </a:rPr>
              <a:t>Rather than counting numbers of outcomes/event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1014" y="2706264"/>
            <a:ext cx="6303810" cy="4151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772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Annual rate of change of </a:t>
            </a:r>
            <a:r>
              <a:rPr lang="en-GB" dirty="0" err="1"/>
              <a:t>eGFR</a:t>
            </a:r>
            <a:endParaRPr lang="en-GB" dirty="0"/>
          </a:p>
        </p:txBody>
      </p:sp>
      <p:sp>
        <p:nvSpPr>
          <p:cNvPr id="143" name="Rectangle 137"/>
          <p:cNvSpPr>
            <a:spLocks noChangeArrowheads="1"/>
          </p:cNvSpPr>
          <p:nvPr/>
        </p:nvSpPr>
        <p:spPr bwMode="auto">
          <a:xfrm>
            <a:off x="3923819" y="6964364"/>
            <a:ext cx="6091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v</a:t>
            </a:r>
            <a:endParaRPr kumimoji="0" lang="en-US" alt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sp>
        <p:nvSpPr>
          <p:cNvPr id="145" name="Rectangle 139"/>
          <p:cNvSpPr>
            <a:spLocks noChangeArrowheads="1"/>
          </p:cNvSpPr>
          <p:nvPr/>
        </p:nvSpPr>
        <p:spPr bwMode="auto">
          <a:xfrm>
            <a:off x="4100032" y="6964364"/>
            <a:ext cx="5610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. </a:t>
            </a:r>
            <a:endParaRPr kumimoji="0" lang="en-US" alt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sp>
        <p:nvSpPr>
          <p:cNvPr id="146" name="Rectangle 140"/>
          <p:cNvSpPr>
            <a:spLocks noChangeArrowheads="1"/>
          </p:cNvSpPr>
          <p:nvPr/>
        </p:nvSpPr>
        <p:spPr bwMode="auto">
          <a:xfrm>
            <a:off x="1834669" y="1385889"/>
            <a:ext cx="6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sp>
        <p:nvSpPr>
          <p:cNvPr id="147" name="Rectangle 141"/>
          <p:cNvSpPr>
            <a:spLocks noChangeArrowheads="1"/>
          </p:cNvSpPr>
          <p:nvPr/>
        </p:nvSpPr>
        <p:spPr bwMode="auto">
          <a:xfrm>
            <a:off x="2945919" y="1385889"/>
            <a:ext cx="6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sp>
        <p:nvSpPr>
          <p:cNvPr id="148" name="Rectangle 142"/>
          <p:cNvSpPr>
            <a:spLocks noChangeArrowheads="1"/>
          </p:cNvSpPr>
          <p:nvPr/>
        </p:nvSpPr>
        <p:spPr bwMode="auto">
          <a:xfrm>
            <a:off x="5181119" y="1385889"/>
            <a:ext cx="6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034596" y="1417640"/>
            <a:ext cx="7285519" cy="5546724"/>
            <a:chOff x="2920138" y="2075295"/>
            <a:chExt cx="5263651" cy="3702921"/>
          </a:xfrm>
        </p:grpSpPr>
        <p:sp>
          <p:nvSpPr>
            <p:cNvPr id="8" name="Line 5"/>
            <p:cNvSpPr>
              <a:spLocks noChangeShapeType="1"/>
            </p:cNvSpPr>
            <p:nvPr/>
          </p:nvSpPr>
          <p:spPr bwMode="auto">
            <a:xfrm flipV="1">
              <a:off x="3684815" y="2227263"/>
              <a:ext cx="1586" cy="2897716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3" name="Line 7"/>
            <p:cNvSpPr>
              <a:spLocks noChangeShapeType="1"/>
            </p:cNvSpPr>
            <p:nvPr/>
          </p:nvSpPr>
          <p:spPr bwMode="auto">
            <a:xfrm flipH="1">
              <a:off x="3610201" y="4691063"/>
              <a:ext cx="76200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auto">
            <a:xfrm flipH="1">
              <a:off x="3610201" y="3870326"/>
              <a:ext cx="76200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5" name="Line 9"/>
            <p:cNvSpPr>
              <a:spLocks noChangeShapeType="1"/>
            </p:cNvSpPr>
            <p:nvPr/>
          </p:nvSpPr>
          <p:spPr bwMode="auto">
            <a:xfrm flipH="1">
              <a:off x="3610201" y="3049588"/>
              <a:ext cx="76200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6" name="Line 10"/>
            <p:cNvSpPr>
              <a:spLocks noChangeShapeType="1"/>
            </p:cNvSpPr>
            <p:nvPr/>
          </p:nvSpPr>
          <p:spPr bwMode="auto">
            <a:xfrm flipH="1">
              <a:off x="3610201" y="2227263"/>
              <a:ext cx="76200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3275331" y="4616451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5</a:t>
              </a:r>
              <a:endParaRPr kumimoji="0" lang="en-US" altLang="en-US" sz="3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19" name="Rectangle 13"/>
            <p:cNvSpPr>
              <a:spLocks noChangeArrowheads="1"/>
            </p:cNvSpPr>
            <p:nvPr/>
          </p:nvSpPr>
          <p:spPr bwMode="auto">
            <a:xfrm>
              <a:off x="3275331" y="3795713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20" name="Rectangle 14"/>
            <p:cNvSpPr>
              <a:spLocks noChangeArrowheads="1"/>
            </p:cNvSpPr>
            <p:nvPr/>
          </p:nvSpPr>
          <p:spPr bwMode="auto">
            <a:xfrm>
              <a:off x="3275331" y="2973388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5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21" name="Rectangle 15"/>
            <p:cNvSpPr>
              <a:spLocks noChangeArrowheads="1"/>
            </p:cNvSpPr>
            <p:nvPr/>
          </p:nvSpPr>
          <p:spPr bwMode="auto">
            <a:xfrm>
              <a:off x="3275331" y="2152651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40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35" name="Line 29"/>
            <p:cNvSpPr>
              <a:spLocks noChangeShapeType="1"/>
            </p:cNvSpPr>
            <p:nvPr/>
          </p:nvSpPr>
          <p:spPr bwMode="auto">
            <a:xfrm flipV="1">
              <a:off x="3686401" y="4837642"/>
              <a:ext cx="57150" cy="8255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36" name="Line 30"/>
            <p:cNvSpPr>
              <a:spLocks noChangeShapeType="1"/>
            </p:cNvSpPr>
            <p:nvPr/>
          </p:nvSpPr>
          <p:spPr bwMode="auto">
            <a:xfrm flipH="1">
              <a:off x="3627664" y="4920192"/>
              <a:ext cx="58738" cy="80963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37" name="Line 31"/>
            <p:cNvSpPr>
              <a:spLocks noChangeShapeType="1"/>
            </p:cNvSpPr>
            <p:nvPr/>
          </p:nvSpPr>
          <p:spPr bwMode="auto">
            <a:xfrm flipV="1">
              <a:off x="3686401" y="4755092"/>
              <a:ext cx="57150" cy="8255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38" name="Line 32"/>
            <p:cNvSpPr>
              <a:spLocks noChangeShapeType="1"/>
            </p:cNvSpPr>
            <p:nvPr/>
          </p:nvSpPr>
          <p:spPr bwMode="auto">
            <a:xfrm flipH="1">
              <a:off x="3627664" y="4837642"/>
              <a:ext cx="58738" cy="8255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39" name="Line 33"/>
            <p:cNvSpPr>
              <a:spLocks noChangeShapeType="1"/>
            </p:cNvSpPr>
            <p:nvPr/>
          </p:nvSpPr>
          <p:spPr bwMode="auto">
            <a:xfrm flipV="1">
              <a:off x="3686401" y="4632854"/>
              <a:ext cx="0" cy="2047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0" name="Line 34"/>
            <p:cNvSpPr>
              <a:spLocks noChangeShapeType="1"/>
            </p:cNvSpPr>
            <p:nvPr/>
          </p:nvSpPr>
          <p:spPr bwMode="auto">
            <a:xfrm flipV="1">
              <a:off x="3686401" y="4920192"/>
              <a:ext cx="0" cy="2047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1" name="Line 35"/>
            <p:cNvSpPr>
              <a:spLocks noChangeShapeType="1"/>
            </p:cNvSpPr>
            <p:nvPr/>
          </p:nvSpPr>
          <p:spPr bwMode="auto">
            <a:xfrm>
              <a:off x="3856264" y="5124979"/>
              <a:ext cx="4100513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2" name="Line 36"/>
            <p:cNvSpPr>
              <a:spLocks noChangeShapeType="1"/>
            </p:cNvSpPr>
            <p:nvPr/>
          </p:nvSpPr>
          <p:spPr bwMode="auto">
            <a:xfrm>
              <a:off x="3856264" y="5124979"/>
              <a:ext cx="0" cy="7620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3" name="Line 37"/>
            <p:cNvSpPr>
              <a:spLocks noChangeShapeType="1"/>
            </p:cNvSpPr>
            <p:nvPr/>
          </p:nvSpPr>
          <p:spPr bwMode="auto">
            <a:xfrm>
              <a:off x="4084864" y="5124979"/>
              <a:ext cx="0" cy="7620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4" name="Line 38"/>
            <p:cNvSpPr>
              <a:spLocks noChangeShapeType="1"/>
            </p:cNvSpPr>
            <p:nvPr/>
          </p:nvSpPr>
          <p:spPr bwMode="auto">
            <a:xfrm>
              <a:off x="4540476" y="5124979"/>
              <a:ext cx="0" cy="7620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5" name="Line 39"/>
            <p:cNvSpPr>
              <a:spLocks noChangeShapeType="1"/>
            </p:cNvSpPr>
            <p:nvPr/>
          </p:nvSpPr>
          <p:spPr bwMode="auto">
            <a:xfrm>
              <a:off x="5223101" y="5124979"/>
              <a:ext cx="0" cy="7620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6" name="Line 40"/>
            <p:cNvSpPr>
              <a:spLocks noChangeShapeType="1"/>
            </p:cNvSpPr>
            <p:nvPr/>
          </p:nvSpPr>
          <p:spPr bwMode="auto">
            <a:xfrm>
              <a:off x="5905726" y="5124979"/>
              <a:ext cx="0" cy="7620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7" name="Line 41"/>
            <p:cNvSpPr>
              <a:spLocks noChangeShapeType="1"/>
            </p:cNvSpPr>
            <p:nvPr/>
          </p:nvSpPr>
          <p:spPr bwMode="auto">
            <a:xfrm>
              <a:off x="6589939" y="5124979"/>
              <a:ext cx="0" cy="7620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8" name="Line 42"/>
            <p:cNvSpPr>
              <a:spLocks noChangeShapeType="1"/>
            </p:cNvSpPr>
            <p:nvPr/>
          </p:nvSpPr>
          <p:spPr bwMode="auto">
            <a:xfrm>
              <a:off x="7272564" y="5124979"/>
              <a:ext cx="0" cy="7620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9" name="Line 43"/>
            <p:cNvSpPr>
              <a:spLocks noChangeShapeType="1"/>
            </p:cNvSpPr>
            <p:nvPr/>
          </p:nvSpPr>
          <p:spPr bwMode="auto">
            <a:xfrm>
              <a:off x="7956776" y="5124979"/>
              <a:ext cx="0" cy="7620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50" name="Rectangle 44"/>
            <p:cNvSpPr>
              <a:spLocks noChangeArrowheads="1"/>
            </p:cNvSpPr>
            <p:nvPr/>
          </p:nvSpPr>
          <p:spPr bwMode="auto">
            <a:xfrm>
              <a:off x="3816576" y="5272617"/>
              <a:ext cx="13785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1" name="Rectangle 45"/>
            <p:cNvSpPr>
              <a:spLocks noChangeArrowheads="1"/>
            </p:cNvSpPr>
            <p:nvPr/>
          </p:nvSpPr>
          <p:spPr bwMode="auto">
            <a:xfrm>
              <a:off x="4045176" y="5272617"/>
              <a:ext cx="13785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2" name="Rectangle 46"/>
            <p:cNvSpPr>
              <a:spLocks noChangeArrowheads="1"/>
            </p:cNvSpPr>
            <p:nvPr/>
          </p:nvSpPr>
          <p:spPr bwMode="auto">
            <a:xfrm>
              <a:off x="4500789" y="5272617"/>
              <a:ext cx="13785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6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3" name="Rectangle 47"/>
            <p:cNvSpPr>
              <a:spLocks noChangeArrowheads="1"/>
            </p:cNvSpPr>
            <p:nvPr/>
          </p:nvSpPr>
          <p:spPr bwMode="auto">
            <a:xfrm>
              <a:off x="5145314" y="5272617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2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4" name="Rectangle 48"/>
            <p:cNvSpPr>
              <a:spLocks noChangeArrowheads="1"/>
            </p:cNvSpPr>
            <p:nvPr/>
          </p:nvSpPr>
          <p:spPr bwMode="auto">
            <a:xfrm>
              <a:off x="5827939" y="5272617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8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5" name="Rectangle 49"/>
            <p:cNvSpPr>
              <a:spLocks noChangeArrowheads="1"/>
            </p:cNvSpPr>
            <p:nvPr/>
          </p:nvSpPr>
          <p:spPr bwMode="auto">
            <a:xfrm>
              <a:off x="6512151" y="5272617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4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6" name="Rectangle 50"/>
            <p:cNvSpPr>
              <a:spLocks noChangeArrowheads="1"/>
            </p:cNvSpPr>
            <p:nvPr/>
          </p:nvSpPr>
          <p:spPr bwMode="auto">
            <a:xfrm>
              <a:off x="7194776" y="5272617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7" name="Rectangle 51"/>
            <p:cNvSpPr>
              <a:spLocks noChangeArrowheads="1"/>
            </p:cNvSpPr>
            <p:nvPr/>
          </p:nvSpPr>
          <p:spPr bwMode="auto">
            <a:xfrm>
              <a:off x="7878989" y="5272617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6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8" name="Rectangle 52"/>
            <p:cNvSpPr>
              <a:spLocks noChangeArrowheads="1"/>
            </p:cNvSpPr>
            <p:nvPr/>
          </p:nvSpPr>
          <p:spPr bwMode="auto">
            <a:xfrm>
              <a:off x="5705701" y="5501217"/>
              <a:ext cx="79348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Months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9" name="Line 53"/>
            <p:cNvSpPr>
              <a:spLocks noChangeShapeType="1"/>
            </p:cNvSpPr>
            <p:nvPr/>
          </p:nvSpPr>
          <p:spPr bwMode="auto">
            <a:xfrm>
              <a:off x="3686401" y="5124979"/>
              <a:ext cx="169863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0" name="Line 54"/>
            <p:cNvSpPr>
              <a:spLocks noChangeShapeType="1"/>
            </p:cNvSpPr>
            <p:nvPr/>
          </p:nvSpPr>
          <p:spPr bwMode="auto">
            <a:xfrm>
              <a:off x="7956776" y="5124979"/>
              <a:ext cx="227013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8" name="Line 62"/>
            <p:cNvSpPr>
              <a:spLocks noChangeShapeType="1"/>
            </p:cNvSpPr>
            <p:nvPr/>
          </p:nvSpPr>
          <p:spPr bwMode="auto">
            <a:xfrm>
              <a:off x="3856264" y="2700338"/>
              <a:ext cx="228600" cy="66675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9" name="Line 63"/>
            <p:cNvSpPr>
              <a:spLocks noChangeShapeType="1"/>
            </p:cNvSpPr>
            <p:nvPr/>
          </p:nvSpPr>
          <p:spPr bwMode="auto">
            <a:xfrm>
              <a:off x="4084864" y="2767013"/>
              <a:ext cx="455613" cy="187325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0" name="Line 64"/>
            <p:cNvSpPr>
              <a:spLocks noChangeShapeType="1"/>
            </p:cNvSpPr>
            <p:nvPr/>
          </p:nvSpPr>
          <p:spPr bwMode="auto">
            <a:xfrm>
              <a:off x="4540476" y="2954338"/>
              <a:ext cx="682625" cy="157163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1" name="Line 65"/>
            <p:cNvSpPr>
              <a:spLocks noChangeShapeType="1"/>
            </p:cNvSpPr>
            <p:nvPr/>
          </p:nvSpPr>
          <p:spPr bwMode="auto">
            <a:xfrm>
              <a:off x="5223101" y="3111501"/>
              <a:ext cx="682625" cy="249238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2" name="Line 66"/>
            <p:cNvSpPr>
              <a:spLocks noChangeShapeType="1"/>
            </p:cNvSpPr>
            <p:nvPr/>
          </p:nvSpPr>
          <p:spPr bwMode="auto">
            <a:xfrm>
              <a:off x="5905726" y="3360738"/>
              <a:ext cx="684213" cy="158750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3" name="Line 67"/>
            <p:cNvSpPr>
              <a:spLocks noChangeShapeType="1"/>
            </p:cNvSpPr>
            <p:nvPr/>
          </p:nvSpPr>
          <p:spPr bwMode="auto">
            <a:xfrm>
              <a:off x="6589939" y="3519488"/>
              <a:ext cx="682625" cy="153988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4" name="Line 68"/>
            <p:cNvSpPr>
              <a:spLocks noChangeShapeType="1"/>
            </p:cNvSpPr>
            <p:nvPr/>
          </p:nvSpPr>
          <p:spPr bwMode="auto">
            <a:xfrm>
              <a:off x="7272564" y="3673476"/>
              <a:ext cx="684213" cy="182563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5" name="Freeform 69"/>
            <p:cNvSpPr>
              <a:spLocks/>
            </p:cNvSpPr>
            <p:nvPr/>
          </p:nvSpPr>
          <p:spPr bwMode="auto">
            <a:xfrm>
              <a:off x="3783239" y="2630488"/>
              <a:ext cx="112713" cy="112713"/>
            </a:xfrm>
            <a:custGeom>
              <a:avLst/>
              <a:gdLst>
                <a:gd name="T0" fmla="*/ 0 w 71"/>
                <a:gd name="T1" fmla="*/ 36 h 71"/>
                <a:gd name="T2" fmla="*/ 0 w 71"/>
                <a:gd name="T3" fmla="*/ 32 h 71"/>
                <a:gd name="T4" fmla="*/ 3 w 71"/>
                <a:gd name="T5" fmla="*/ 22 h 71"/>
                <a:gd name="T6" fmla="*/ 10 w 71"/>
                <a:gd name="T7" fmla="*/ 11 h 71"/>
                <a:gd name="T8" fmla="*/ 21 w 71"/>
                <a:gd name="T9" fmla="*/ 3 h 71"/>
                <a:gd name="T10" fmla="*/ 32 w 71"/>
                <a:gd name="T11" fmla="*/ 0 h 71"/>
                <a:gd name="T12" fmla="*/ 35 w 71"/>
                <a:gd name="T13" fmla="*/ 0 h 71"/>
                <a:gd name="T14" fmla="*/ 39 w 71"/>
                <a:gd name="T15" fmla="*/ 0 h 71"/>
                <a:gd name="T16" fmla="*/ 49 w 71"/>
                <a:gd name="T17" fmla="*/ 3 h 71"/>
                <a:gd name="T18" fmla="*/ 61 w 71"/>
                <a:gd name="T19" fmla="*/ 11 h 71"/>
                <a:gd name="T20" fmla="*/ 68 w 71"/>
                <a:gd name="T21" fmla="*/ 22 h 71"/>
                <a:gd name="T22" fmla="*/ 71 w 71"/>
                <a:gd name="T23" fmla="*/ 32 h 71"/>
                <a:gd name="T24" fmla="*/ 71 w 71"/>
                <a:gd name="T25" fmla="*/ 36 h 71"/>
                <a:gd name="T26" fmla="*/ 71 w 71"/>
                <a:gd name="T27" fmla="*/ 39 h 71"/>
                <a:gd name="T28" fmla="*/ 68 w 71"/>
                <a:gd name="T29" fmla="*/ 49 h 71"/>
                <a:gd name="T30" fmla="*/ 61 w 71"/>
                <a:gd name="T31" fmla="*/ 61 h 71"/>
                <a:gd name="T32" fmla="*/ 49 w 71"/>
                <a:gd name="T33" fmla="*/ 69 h 71"/>
                <a:gd name="T34" fmla="*/ 39 w 71"/>
                <a:gd name="T35" fmla="*/ 71 h 71"/>
                <a:gd name="T36" fmla="*/ 35 w 71"/>
                <a:gd name="T37" fmla="*/ 71 h 71"/>
                <a:gd name="T38" fmla="*/ 32 w 71"/>
                <a:gd name="T39" fmla="*/ 71 h 71"/>
                <a:gd name="T40" fmla="*/ 21 w 71"/>
                <a:gd name="T41" fmla="*/ 69 h 71"/>
                <a:gd name="T42" fmla="*/ 10 w 71"/>
                <a:gd name="T43" fmla="*/ 61 h 71"/>
                <a:gd name="T44" fmla="*/ 3 w 71"/>
                <a:gd name="T45" fmla="*/ 49 h 71"/>
                <a:gd name="T46" fmla="*/ 0 w 71"/>
                <a:gd name="T47" fmla="*/ 39 h 71"/>
                <a:gd name="T48" fmla="*/ 0 w 71"/>
                <a:gd name="T49" fmla="*/ 36 h 71"/>
                <a:gd name="T50" fmla="*/ 0 w 71"/>
                <a:gd name="T51" fmla="*/ 3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1" h="71">
                  <a:moveTo>
                    <a:pt x="0" y="36"/>
                  </a:moveTo>
                  <a:lnTo>
                    <a:pt x="0" y="32"/>
                  </a:lnTo>
                  <a:lnTo>
                    <a:pt x="3" y="22"/>
                  </a:lnTo>
                  <a:lnTo>
                    <a:pt x="10" y="11"/>
                  </a:lnTo>
                  <a:lnTo>
                    <a:pt x="21" y="3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9" y="3"/>
                  </a:lnTo>
                  <a:lnTo>
                    <a:pt x="61" y="11"/>
                  </a:lnTo>
                  <a:lnTo>
                    <a:pt x="68" y="22"/>
                  </a:lnTo>
                  <a:lnTo>
                    <a:pt x="71" y="32"/>
                  </a:lnTo>
                  <a:lnTo>
                    <a:pt x="71" y="36"/>
                  </a:lnTo>
                  <a:lnTo>
                    <a:pt x="71" y="39"/>
                  </a:lnTo>
                  <a:lnTo>
                    <a:pt x="68" y="49"/>
                  </a:lnTo>
                  <a:lnTo>
                    <a:pt x="61" y="61"/>
                  </a:lnTo>
                  <a:lnTo>
                    <a:pt x="49" y="69"/>
                  </a:lnTo>
                  <a:lnTo>
                    <a:pt x="39" y="71"/>
                  </a:lnTo>
                  <a:lnTo>
                    <a:pt x="35" y="71"/>
                  </a:lnTo>
                  <a:lnTo>
                    <a:pt x="32" y="71"/>
                  </a:lnTo>
                  <a:lnTo>
                    <a:pt x="21" y="69"/>
                  </a:lnTo>
                  <a:lnTo>
                    <a:pt x="10" y="61"/>
                  </a:lnTo>
                  <a:lnTo>
                    <a:pt x="3" y="49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00000"/>
            </a:solidFill>
            <a:ln w="2540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6" name="Freeform 70"/>
            <p:cNvSpPr>
              <a:spLocks/>
            </p:cNvSpPr>
            <p:nvPr/>
          </p:nvSpPr>
          <p:spPr bwMode="auto">
            <a:xfrm>
              <a:off x="3783239" y="2630488"/>
              <a:ext cx="112713" cy="112713"/>
            </a:xfrm>
            <a:custGeom>
              <a:avLst/>
              <a:gdLst>
                <a:gd name="T0" fmla="*/ 0 w 178"/>
                <a:gd name="T1" fmla="*/ 89 h 178"/>
                <a:gd name="T2" fmla="*/ 0 w 178"/>
                <a:gd name="T3" fmla="*/ 80 h 178"/>
                <a:gd name="T4" fmla="*/ 7 w 178"/>
                <a:gd name="T5" fmla="*/ 54 h 178"/>
                <a:gd name="T6" fmla="*/ 26 w 178"/>
                <a:gd name="T7" fmla="*/ 26 h 178"/>
                <a:gd name="T8" fmla="*/ 54 w 178"/>
                <a:gd name="T9" fmla="*/ 7 h 178"/>
                <a:gd name="T10" fmla="*/ 80 w 178"/>
                <a:gd name="T11" fmla="*/ 0 h 178"/>
                <a:gd name="T12" fmla="*/ 89 w 178"/>
                <a:gd name="T13" fmla="*/ 0 h 178"/>
                <a:gd name="T14" fmla="*/ 97 w 178"/>
                <a:gd name="T15" fmla="*/ 0 h 178"/>
                <a:gd name="T16" fmla="*/ 123 w 178"/>
                <a:gd name="T17" fmla="*/ 7 h 178"/>
                <a:gd name="T18" fmla="*/ 152 w 178"/>
                <a:gd name="T19" fmla="*/ 26 h 178"/>
                <a:gd name="T20" fmla="*/ 171 w 178"/>
                <a:gd name="T21" fmla="*/ 54 h 178"/>
                <a:gd name="T22" fmla="*/ 178 w 178"/>
                <a:gd name="T23" fmla="*/ 80 h 178"/>
                <a:gd name="T24" fmla="*/ 178 w 178"/>
                <a:gd name="T25" fmla="*/ 89 h 178"/>
                <a:gd name="T26" fmla="*/ 178 w 178"/>
                <a:gd name="T27" fmla="*/ 97 h 178"/>
                <a:gd name="T28" fmla="*/ 171 w 178"/>
                <a:gd name="T29" fmla="*/ 123 h 178"/>
                <a:gd name="T30" fmla="*/ 152 w 178"/>
                <a:gd name="T31" fmla="*/ 152 h 178"/>
                <a:gd name="T32" fmla="*/ 123 w 178"/>
                <a:gd name="T33" fmla="*/ 171 h 178"/>
                <a:gd name="T34" fmla="*/ 97 w 178"/>
                <a:gd name="T35" fmla="*/ 178 h 178"/>
                <a:gd name="T36" fmla="*/ 89 w 178"/>
                <a:gd name="T37" fmla="*/ 178 h 178"/>
                <a:gd name="T38" fmla="*/ 80 w 178"/>
                <a:gd name="T39" fmla="*/ 178 h 178"/>
                <a:gd name="T40" fmla="*/ 54 w 178"/>
                <a:gd name="T41" fmla="*/ 171 h 178"/>
                <a:gd name="T42" fmla="*/ 26 w 178"/>
                <a:gd name="T43" fmla="*/ 152 h 178"/>
                <a:gd name="T44" fmla="*/ 7 w 178"/>
                <a:gd name="T45" fmla="*/ 123 h 178"/>
                <a:gd name="T46" fmla="*/ 0 w 178"/>
                <a:gd name="T47" fmla="*/ 97 h 178"/>
                <a:gd name="T48" fmla="*/ 0 w 178"/>
                <a:gd name="T49" fmla="*/ 8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8" h="178">
                  <a:moveTo>
                    <a:pt x="0" y="89"/>
                  </a:moveTo>
                  <a:lnTo>
                    <a:pt x="0" y="80"/>
                  </a:lnTo>
                  <a:lnTo>
                    <a:pt x="7" y="54"/>
                  </a:lnTo>
                  <a:lnTo>
                    <a:pt x="26" y="26"/>
                  </a:lnTo>
                  <a:lnTo>
                    <a:pt x="54" y="7"/>
                  </a:lnTo>
                  <a:lnTo>
                    <a:pt x="80" y="0"/>
                  </a:lnTo>
                  <a:lnTo>
                    <a:pt x="89" y="0"/>
                  </a:lnTo>
                  <a:lnTo>
                    <a:pt x="97" y="0"/>
                  </a:lnTo>
                  <a:lnTo>
                    <a:pt x="123" y="7"/>
                  </a:lnTo>
                  <a:lnTo>
                    <a:pt x="152" y="26"/>
                  </a:lnTo>
                  <a:lnTo>
                    <a:pt x="171" y="54"/>
                  </a:lnTo>
                  <a:lnTo>
                    <a:pt x="178" y="80"/>
                  </a:lnTo>
                  <a:lnTo>
                    <a:pt x="178" y="89"/>
                  </a:lnTo>
                  <a:lnTo>
                    <a:pt x="178" y="97"/>
                  </a:lnTo>
                  <a:lnTo>
                    <a:pt x="171" y="123"/>
                  </a:lnTo>
                  <a:lnTo>
                    <a:pt x="152" y="152"/>
                  </a:lnTo>
                  <a:lnTo>
                    <a:pt x="123" y="171"/>
                  </a:lnTo>
                  <a:lnTo>
                    <a:pt x="97" y="178"/>
                  </a:lnTo>
                  <a:lnTo>
                    <a:pt x="89" y="178"/>
                  </a:lnTo>
                  <a:lnTo>
                    <a:pt x="80" y="178"/>
                  </a:lnTo>
                  <a:lnTo>
                    <a:pt x="54" y="171"/>
                  </a:lnTo>
                  <a:lnTo>
                    <a:pt x="26" y="152"/>
                  </a:lnTo>
                  <a:lnTo>
                    <a:pt x="7" y="123"/>
                  </a:lnTo>
                  <a:lnTo>
                    <a:pt x="0" y="97"/>
                  </a:lnTo>
                  <a:lnTo>
                    <a:pt x="0" y="89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1" name="Rectangle 75"/>
            <p:cNvSpPr>
              <a:spLocks noChangeArrowheads="1"/>
            </p:cNvSpPr>
            <p:nvPr/>
          </p:nvSpPr>
          <p:spPr bwMode="auto">
            <a:xfrm>
              <a:off x="4059464" y="2725738"/>
              <a:ext cx="82550" cy="80963"/>
            </a:xfrm>
            <a:prstGeom prst="rect">
              <a:avLst/>
            </a:prstGeom>
            <a:solidFill>
              <a:srgbClr val="FFFFFF"/>
            </a:solidFill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2" name="Rectangle 76"/>
            <p:cNvSpPr>
              <a:spLocks noChangeArrowheads="1"/>
            </p:cNvSpPr>
            <p:nvPr/>
          </p:nvSpPr>
          <p:spPr bwMode="auto">
            <a:xfrm>
              <a:off x="4059464" y="2725738"/>
              <a:ext cx="82550" cy="80963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4" name="Line 78"/>
            <p:cNvSpPr>
              <a:spLocks noChangeShapeType="1"/>
            </p:cNvSpPr>
            <p:nvPr/>
          </p:nvSpPr>
          <p:spPr bwMode="auto">
            <a:xfrm flipV="1">
              <a:off x="4102326" y="2736851"/>
              <a:ext cx="0" cy="60325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7" name="Rectangle 81"/>
            <p:cNvSpPr>
              <a:spLocks noChangeArrowheads="1"/>
            </p:cNvSpPr>
            <p:nvPr/>
          </p:nvSpPr>
          <p:spPr bwMode="auto">
            <a:xfrm>
              <a:off x="4518251" y="2916238"/>
              <a:ext cx="77788" cy="76200"/>
            </a:xfrm>
            <a:prstGeom prst="rect">
              <a:avLst/>
            </a:prstGeom>
            <a:solidFill>
              <a:srgbClr val="FFFFFF"/>
            </a:solidFill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8" name="Rectangle 82"/>
            <p:cNvSpPr>
              <a:spLocks noChangeArrowheads="1"/>
            </p:cNvSpPr>
            <p:nvPr/>
          </p:nvSpPr>
          <p:spPr bwMode="auto">
            <a:xfrm>
              <a:off x="4518251" y="2916238"/>
              <a:ext cx="77788" cy="762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0" name="Line 84"/>
            <p:cNvSpPr>
              <a:spLocks noChangeShapeType="1"/>
            </p:cNvSpPr>
            <p:nvPr/>
          </p:nvSpPr>
          <p:spPr bwMode="auto">
            <a:xfrm flipV="1">
              <a:off x="4556351" y="2919413"/>
              <a:ext cx="0" cy="69850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3" name="Rectangle 87"/>
            <p:cNvSpPr>
              <a:spLocks noChangeArrowheads="1"/>
            </p:cNvSpPr>
            <p:nvPr/>
          </p:nvSpPr>
          <p:spPr bwMode="auto">
            <a:xfrm>
              <a:off x="5204051" y="3074988"/>
              <a:ext cx="71438" cy="73025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4" name="Rectangle 88"/>
            <p:cNvSpPr>
              <a:spLocks noChangeArrowheads="1"/>
            </p:cNvSpPr>
            <p:nvPr/>
          </p:nvSpPr>
          <p:spPr bwMode="auto">
            <a:xfrm>
              <a:off x="5204051" y="3074988"/>
              <a:ext cx="71438" cy="73025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6" name="Line 90"/>
            <p:cNvSpPr>
              <a:spLocks noChangeShapeType="1"/>
            </p:cNvSpPr>
            <p:nvPr/>
          </p:nvSpPr>
          <p:spPr bwMode="auto">
            <a:xfrm flipV="1">
              <a:off x="5240564" y="3071813"/>
              <a:ext cx="0" cy="79375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7" name="Line 91"/>
            <p:cNvSpPr>
              <a:spLocks noChangeShapeType="1"/>
            </p:cNvSpPr>
            <p:nvPr/>
          </p:nvSpPr>
          <p:spPr bwMode="auto">
            <a:xfrm flipV="1">
              <a:off x="5889851" y="3317876"/>
              <a:ext cx="0" cy="8890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8" name="Line 92"/>
            <p:cNvSpPr>
              <a:spLocks noChangeShapeType="1"/>
            </p:cNvSpPr>
            <p:nvPr/>
          </p:nvSpPr>
          <p:spPr bwMode="auto">
            <a:xfrm flipV="1">
              <a:off x="5923189" y="3316288"/>
              <a:ext cx="0" cy="8890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9" name="Rectangle 93"/>
            <p:cNvSpPr>
              <a:spLocks noChangeArrowheads="1"/>
            </p:cNvSpPr>
            <p:nvPr/>
          </p:nvSpPr>
          <p:spPr bwMode="auto">
            <a:xfrm>
              <a:off x="5854926" y="3328988"/>
              <a:ext cx="68263" cy="66675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0" name="Rectangle 94"/>
            <p:cNvSpPr>
              <a:spLocks noChangeArrowheads="1"/>
            </p:cNvSpPr>
            <p:nvPr/>
          </p:nvSpPr>
          <p:spPr bwMode="auto">
            <a:xfrm>
              <a:off x="5854926" y="3328988"/>
              <a:ext cx="68263" cy="66675"/>
            </a:xfrm>
            <a:prstGeom prst="rect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4" name="Line 98"/>
            <p:cNvSpPr>
              <a:spLocks noChangeShapeType="1"/>
            </p:cNvSpPr>
            <p:nvPr/>
          </p:nvSpPr>
          <p:spPr bwMode="auto">
            <a:xfrm flipV="1">
              <a:off x="6607401" y="3465513"/>
              <a:ext cx="0" cy="10795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7" name="Rectangle 101"/>
            <p:cNvSpPr>
              <a:spLocks noChangeArrowheads="1"/>
            </p:cNvSpPr>
            <p:nvPr/>
          </p:nvSpPr>
          <p:spPr bwMode="auto">
            <a:xfrm>
              <a:off x="6575651" y="3489326"/>
              <a:ext cx="61913" cy="60325"/>
            </a:xfrm>
            <a:prstGeom prst="rect">
              <a:avLst/>
            </a:prstGeom>
            <a:solidFill>
              <a:srgbClr val="FFFFFF"/>
            </a:solidFill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8" name="Rectangle 102"/>
            <p:cNvSpPr>
              <a:spLocks noChangeArrowheads="1"/>
            </p:cNvSpPr>
            <p:nvPr/>
          </p:nvSpPr>
          <p:spPr bwMode="auto">
            <a:xfrm>
              <a:off x="6575651" y="3489326"/>
              <a:ext cx="61913" cy="60325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0" name="Line 104"/>
            <p:cNvSpPr>
              <a:spLocks noChangeShapeType="1"/>
            </p:cNvSpPr>
            <p:nvPr/>
          </p:nvSpPr>
          <p:spPr bwMode="auto">
            <a:xfrm flipV="1">
              <a:off x="7290026" y="3609976"/>
              <a:ext cx="0" cy="128588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3" name="Rectangle 107"/>
            <p:cNvSpPr>
              <a:spLocks noChangeArrowheads="1"/>
            </p:cNvSpPr>
            <p:nvPr/>
          </p:nvSpPr>
          <p:spPr bwMode="auto">
            <a:xfrm>
              <a:off x="7261451" y="3646488"/>
              <a:ext cx="57150" cy="55563"/>
            </a:xfrm>
            <a:prstGeom prst="rect">
              <a:avLst/>
            </a:prstGeom>
            <a:solidFill>
              <a:srgbClr val="FFFFFF"/>
            </a:solidFill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4" name="Rectangle 108"/>
            <p:cNvSpPr>
              <a:spLocks noChangeArrowheads="1"/>
            </p:cNvSpPr>
            <p:nvPr/>
          </p:nvSpPr>
          <p:spPr bwMode="auto">
            <a:xfrm>
              <a:off x="7261451" y="3646488"/>
              <a:ext cx="57150" cy="55563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6" name="Line 110"/>
            <p:cNvSpPr>
              <a:spLocks noChangeShapeType="1"/>
            </p:cNvSpPr>
            <p:nvPr/>
          </p:nvSpPr>
          <p:spPr bwMode="auto">
            <a:xfrm flipV="1">
              <a:off x="7972651" y="3754438"/>
              <a:ext cx="0" cy="204788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9" name="Rectangle 113"/>
            <p:cNvSpPr>
              <a:spLocks noChangeArrowheads="1"/>
            </p:cNvSpPr>
            <p:nvPr/>
          </p:nvSpPr>
          <p:spPr bwMode="auto">
            <a:xfrm>
              <a:off x="7950426" y="3833813"/>
              <a:ext cx="44450" cy="44450"/>
            </a:xfrm>
            <a:prstGeom prst="rect">
              <a:avLst/>
            </a:prstGeom>
            <a:solidFill>
              <a:srgbClr val="FFFFFF"/>
            </a:solidFill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20" name="Rectangle 114"/>
            <p:cNvSpPr>
              <a:spLocks noChangeArrowheads="1"/>
            </p:cNvSpPr>
            <p:nvPr/>
          </p:nvSpPr>
          <p:spPr bwMode="auto">
            <a:xfrm>
              <a:off x="7950426" y="3833813"/>
              <a:ext cx="44450" cy="4445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22" name="Line 116"/>
            <p:cNvSpPr>
              <a:spLocks noChangeShapeType="1"/>
            </p:cNvSpPr>
            <p:nvPr/>
          </p:nvSpPr>
          <p:spPr bwMode="auto">
            <a:xfrm flipV="1">
              <a:off x="7272564" y="2530333"/>
              <a:ext cx="0" cy="163513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5" name="Rectangle 119"/>
            <p:cNvSpPr>
              <a:spLocks noChangeArrowheads="1"/>
            </p:cNvSpPr>
            <p:nvPr/>
          </p:nvSpPr>
          <p:spPr bwMode="auto">
            <a:xfrm>
              <a:off x="7221764" y="2562083"/>
              <a:ext cx="101600" cy="100013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rgbClr val="4A064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6" name="Rectangle 120"/>
            <p:cNvSpPr>
              <a:spLocks noChangeArrowheads="1"/>
            </p:cNvSpPr>
            <p:nvPr/>
          </p:nvSpPr>
          <p:spPr bwMode="auto">
            <a:xfrm>
              <a:off x="7221764" y="2562083"/>
              <a:ext cx="101600" cy="100013"/>
            </a:xfrm>
            <a:prstGeom prst="rect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8" name="Rectangle 122"/>
            <p:cNvSpPr>
              <a:spLocks noChangeArrowheads="1"/>
            </p:cNvSpPr>
            <p:nvPr/>
          </p:nvSpPr>
          <p:spPr bwMode="auto">
            <a:xfrm>
              <a:off x="7444014" y="2487613"/>
              <a:ext cx="614972" cy="184921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dirty="0" smtClean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latin typeface="Mulish" pitchFamily="2" charset="0"/>
                </a:rPr>
                <a:t>Placebo</a:t>
              </a:r>
            </a:p>
          </p:txBody>
        </p:sp>
        <p:sp>
          <p:nvSpPr>
            <p:cNvPr id="144" name="Rectangle 143"/>
            <p:cNvSpPr>
              <a:spLocks noChangeArrowheads="1"/>
            </p:cNvSpPr>
            <p:nvPr/>
          </p:nvSpPr>
          <p:spPr bwMode="auto">
            <a:xfrm rot="16200000">
              <a:off x="1871614" y="3123819"/>
              <a:ext cx="237404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b="1" dirty="0" err="1" smtClean="0">
                  <a:solidFill>
                    <a:srgbClr val="000000"/>
                  </a:solidFill>
                  <a:latin typeface="Mulish" pitchFamily="2" charset="0"/>
                </a:rPr>
                <a:t>eGFR</a:t>
              </a:r>
              <a:r>
                <a:rPr lang="en-US" altLang="en-US" b="1" dirty="0" smtClean="0">
                  <a:solidFill>
                    <a:srgbClr val="000000"/>
                  </a:solidFill>
                  <a:latin typeface="Mulish" pitchFamily="2" charset="0"/>
                </a:rPr>
                <a:t>, mL/min/1.73m</a:t>
              </a:r>
              <a:r>
                <a:rPr lang="en-US" altLang="en-US" b="1" baseline="30000" dirty="0" smtClean="0">
                  <a:solidFill>
                    <a:srgbClr val="000000"/>
                  </a:solidFill>
                  <a:latin typeface="Mulish" pitchFamily="2" charset="0"/>
                </a:rPr>
                <a:t>2</a:t>
              </a:r>
              <a:endParaRPr kumimoji="0" lang="en-US" altLang="en-US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</p:grpSp>
      <p:graphicFrame>
        <p:nvGraphicFramePr>
          <p:cNvPr id="83" name="Table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2329793"/>
              </p:ext>
            </p:extLst>
          </p:nvPr>
        </p:nvGraphicFramePr>
        <p:xfrm>
          <a:off x="3315269" y="5025142"/>
          <a:ext cx="6683170" cy="929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28226">
                  <a:extLst>
                    <a:ext uri="{9D8B030D-6E8A-4147-A177-3AD203B41FA5}">
                      <a16:colId xmlns:a16="http://schemas.microsoft.com/office/drawing/2014/main" val="2748816243"/>
                    </a:ext>
                  </a:extLst>
                </a:gridCol>
                <a:gridCol w="1778854">
                  <a:extLst>
                    <a:ext uri="{9D8B030D-6E8A-4147-A177-3AD203B41FA5}">
                      <a16:colId xmlns:a16="http://schemas.microsoft.com/office/drawing/2014/main" val="1057604756"/>
                    </a:ext>
                  </a:extLst>
                </a:gridCol>
                <a:gridCol w="2876090">
                  <a:extLst>
                    <a:ext uri="{9D8B030D-6E8A-4147-A177-3AD203B41FA5}">
                      <a16:colId xmlns:a16="http://schemas.microsoft.com/office/drawing/2014/main" val="519583928"/>
                    </a:ext>
                  </a:extLst>
                </a:gridCol>
              </a:tblGrid>
              <a:tr h="299276">
                <a:tc>
                  <a:txBody>
                    <a:bodyPr/>
                    <a:lstStyle/>
                    <a:p>
                      <a:pPr algn="ctr" fontAlgn="b"/>
                      <a:endParaRPr lang="en-GB" sz="1800" b="1" i="0" u="none" strike="noStrike" dirty="0">
                        <a:solidFill>
                          <a:schemeClr val="bg1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 smtClean="0">
                          <a:solidFill>
                            <a:schemeClr val="bg1"/>
                          </a:solidFill>
                          <a:effectLst/>
                          <a:latin typeface="Mulish" pitchFamily="2" charset="0"/>
                        </a:rPr>
                        <a:t>Placebo</a:t>
                      </a:r>
                    </a:p>
                    <a:p>
                      <a:pPr marL="0" marR="0" lvl="0" indent="0" algn="ctr" defTabSz="91427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u="none" strike="noStrike" dirty="0" smtClean="0">
                          <a:solidFill>
                            <a:schemeClr val="bg1"/>
                          </a:solidFill>
                          <a:effectLst/>
                          <a:latin typeface="Mulish" pitchFamily="2" charset="0"/>
                        </a:rPr>
                        <a:t>Mean (SE)</a:t>
                      </a:r>
                      <a:endParaRPr lang="en-GB" sz="1800" b="1" i="0" u="none" strike="noStrike" dirty="0" smtClean="0">
                        <a:solidFill>
                          <a:schemeClr val="bg1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4793826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algn="ctr" fontAlgn="ctr"/>
                      <a:endParaRPr lang="en-US" sz="2400" b="0" i="0" u="none" strike="noStrike" dirty="0">
                        <a:solidFill>
                          <a:srgbClr val="A87693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Mulish" pitchFamily="2" charset="0"/>
                        </a:rPr>
                        <a:t>-2.75 (0.08)</a:t>
                      </a:r>
                      <a:endParaRPr lang="en-US" sz="2400" b="0" i="0" u="none" strike="noStrike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2205739"/>
                  </a:ext>
                </a:extLst>
              </a:tr>
            </a:tbl>
          </a:graphicData>
        </a:graphic>
      </p:graphicFrame>
      <p:sp>
        <p:nvSpPr>
          <p:cNvPr id="85" name="Rectangle 84"/>
          <p:cNvSpPr/>
          <p:nvPr/>
        </p:nvSpPr>
        <p:spPr>
          <a:xfrm>
            <a:off x="3442025" y="4517691"/>
            <a:ext cx="6112571" cy="4623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274">
              <a:lnSpc>
                <a:spcPct val="107000"/>
              </a:lnSpc>
              <a:spcBef>
                <a:spcPts val="110"/>
              </a:spcBef>
              <a:spcAft>
                <a:spcPts val="110"/>
              </a:spcAft>
              <a:defRPr/>
            </a:pPr>
            <a:r>
              <a:rPr lang="en-GB" sz="2400" b="1" dirty="0" smtClean="0">
                <a:latin typeface="Mulish" pitchFamily="2" charset="0"/>
              </a:rPr>
              <a:t>Chronic slope in mL/min/1.73m² </a:t>
            </a:r>
            <a:r>
              <a:rPr lang="en-GB" sz="2400" b="1" dirty="0">
                <a:latin typeface="Mulish" pitchFamily="2" charset="0"/>
              </a:rPr>
              <a:t>per year</a:t>
            </a:r>
            <a:endParaRPr lang="en-GB" sz="2400" b="1" dirty="0">
              <a:latin typeface="Mulish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0674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Annual rate of change of </a:t>
            </a:r>
            <a:r>
              <a:rPr lang="en-GB" dirty="0" err="1"/>
              <a:t>eGFR</a:t>
            </a:r>
            <a:endParaRPr lang="en-GB" dirty="0"/>
          </a:p>
        </p:txBody>
      </p:sp>
      <p:sp>
        <p:nvSpPr>
          <p:cNvPr id="143" name="Rectangle 137"/>
          <p:cNvSpPr>
            <a:spLocks noChangeArrowheads="1"/>
          </p:cNvSpPr>
          <p:nvPr/>
        </p:nvSpPr>
        <p:spPr bwMode="auto">
          <a:xfrm>
            <a:off x="3923819" y="6964364"/>
            <a:ext cx="6091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v</a:t>
            </a:r>
            <a:endParaRPr kumimoji="0" lang="en-US" alt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sp>
        <p:nvSpPr>
          <p:cNvPr id="145" name="Rectangle 139"/>
          <p:cNvSpPr>
            <a:spLocks noChangeArrowheads="1"/>
          </p:cNvSpPr>
          <p:nvPr/>
        </p:nvSpPr>
        <p:spPr bwMode="auto">
          <a:xfrm>
            <a:off x="4100032" y="6964364"/>
            <a:ext cx="5610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. </a:t>
            </a:r>
            <a:endParaRPr kumimoji="0" lang="en-US" alt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sp>
        <p:nvSpPr>
          <p:cNvPr id="146" name="Rectangle 140"/>
          <p:cNvSpPr>
            <a:spLocks noChangeArrowheads="1"/>
          </p:cNvSpPr>
          <p:nvPr/>
        </p:nvSpPr>
        <p:spPr bwMode="auto">
          <a:xfrm>
            <a:off x="1834669" y="1385889"/>
            <a:ext cx="6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sp>
        <p:nvSpPr>
          <p:cNvPr id="147" name="Rectangle 141"/>
          <p:cNvSpPr>
            <a:spLocks noChangeArrowheads="1"/>
          </p:cNvSpPr>
          <p:nvPr/>
        </p:nvSpPr>
        <p:spPr bwMode="auto">
          <a:xfrm>
            <a:off x="2945919" y="1385889"/>
            <a:ext cx="6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sp>
        <p:nvSpPr>
          <p:cNvPr id="148" name="Rectangle 142"/>
          <p:cNvSpPr>
            <a:spLocks noChangeArrowheads="1"/>
          </p:cNvSpPr>
          <p:nvPr/>
        </p:nvSpPr>
        <p:spPr bwMode="auto">
          <a:xfrm>
            <a:off x="5181119" y="1385889"/>
            <a:ext cx="6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034596" y="1417640"/>
            <a:ext cx="7285519" cy="5546724"/>
            <a:chOff x="2920138" y="2075295"/>
            <a:chExt cx="5263651" cy="3702921"/>
          </a:xfrm>
        </p:grpSpPr>
        <p:sp>
          <p:nvSpPr>
            <p:cNvPr id="8" name="Line 5"/>
            <p:cNvSpPr>
              <a:spLocks noChangeShapeType="1"/>
            </p:cNvSpPr>
            <p:nvPr/>
          </p:nvSpPr>
          <p:spPr bwMode="auto">
            <a:xfrm flipV="1">
              <a:off x="3684815" y="2227263"/>
              <a:ext cx="1586" cy="2897716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3" name="Line 7"/>
            <p:cNvSpPr>
              <a:spLocks noChangeShapeType="1"/>
            </p:cNvSpPr>
            <p:nvPr/>
          </p:nvSpPr>
          <p:spPr bwMode="auto">
            <a:xfrm flipH="1">
              <a:off x="3610201" y="4691063"/>
              <a:ext cx="76200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auto">
            <a:xfrm flipH="1">
              <a:off x="3610201" y="3870326"/>
              <a:ext cx="76200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5" name="Line 9"/>
            <p:cNvSpPr>
              <a:spLocks noChangeShapeType="1"/>
            </p:cNvSpPr>
            <p:nvPr/>
          </p:nvSpPr>
          <p:spPr bwMode="auto">
            <a:xfrm flipH="1">
              <a:off x="3610201" y="3049588"/>
              <a:ext cx="76200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6" name="Line 10"/>
            <p:cNvSpPr>
              <a:spLocks noChangeShapeType="1"/>
            </p:cNvSpPr>
            <p:nvPr/>
          </p:nvSpPr>
          <p:spPr bwMode="auto">
            <a:xfrm flipH="1">
              <a:off x="3610201" y="2227263"/>
              <a:ext cx="76200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3275331" y="4616451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5</a:t>
              </a:r>
              <a:endParaRPr kumimoji="0" lang="en-US" altLang="en-US" sz="3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19" name="Rectangle 13"/>
            <p:cNvSpPr>
              <a:spLocks noChangeArrowheads="1"/>
            </p:cNvSpPr>
            <p:nvPr/>
          </p:nvSpPr>
          <p:spPr bwMode="auto">
            <a:xfrm>
              <a:off x="3275331" y="3795713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20" name="Rectangle 14"/>
            <p:cNvSpPr>
              <a:spLocks noChangeArrowheads="1"/>
            </p:cNvSpPr>
            <p:nvPr/>
          </p:nvSpPr>
          <p:spPr bwMode="auto">
            <a:xfrm>
              <a:off x="3275331" y="2973388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5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21" name="Rectangle 15"/>
            <p:cNvSpPr>
              <a:spLocks noChangeArrowheads="1"/>
            </p:cNvSpPr>
            <p:nvPr/>
          </p:nvSpPr>
          <p:spPr bwMode="auto">
            <a:xfrm>
              <a:off x="3275331" y="2152651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40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35" name="Line 29"/>
            <p:cNvSpPr>
              <a:spLocks noChangeShapeType="1"/>
            </p:cNvSpPr>
            <p:nvPr/>
          </p:nvSpPr>
          <p:spPr bwMode="auto">
            <a:xfrm flipV="1">
              <a:off x="3686401" y="4837642"/>
              <a:ext cx="57150" cy="8255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36" name="Line 30"/>
            <p:cNvSpPr>
              <a:spLocks noChangeShapeType="1"/>
            </p:cNvSpPr>
            <p:nvPr/>
          </p:nvSpPr>
          <p:spPr bwMode="auto">
            <a:xfrm flipH="1">
              <a:off x="3627664" y="4920192"/>
              <a:ext cx="58738" cy="80963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37" name="Line 31"/>
            <p:cNvSpPr>
              <a:spLocks noChangeShapeType="1"/>
            </p:cNvSpPr>
            <p:nvPr/>
          </p:nvSpPr>
          <p:spPr bwMode="auto">
            <a:xfrm flipV="1">
              <a:off x="3686401" y="4755092"/>
              <a:ext cx="57150" cy="8255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38" name="Line 32"/>
            <p:cNvSpPr>
              <a:spLocks noChangeShapeType="1"/>
            </p:cNvSpPr>
            <p:nvPr/>
          </p:nvSpPr>
          <p:spPr bwMode="auto">
            <a:xfrm flipH="1">
              <a:off x="3627664" y="4837642"/>
              <a:ext cx="58738" cy="8255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39" name="Line 33"/>
            <p:cNvSpPr>
              <a:spLocks noChangeShapeType="1"/>
            </p:cNvSpPr>
            <p:nvPr/>
          </p:nvSpPr>
          <p:spPr bwMode="auto">
            <a:xfrm flipV="1">
              <a:off x="3686401" y="4632854"/>
              <a:ext cx="0" cy="2047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0" name="Line 34"/>
            <p:cNvSpPr>
              <a:spLocks noChangeShapeType="1"/>
            </p:cNvSpPr>
            <p:nvPr/>
          </p:nvSpPr>
          <p:spPr bwMode="auto">
            <a:xfrm flipV="1">
              <a:off x="3686401" y="4920192"/>
              <a:ext cx="0" cy="20478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1" name="Line 35"/>
            <p:cNvSpPr>
              <a:spLocks noChangeShapeType="1"/>
            </p:cNvSpPr>
            <p:nvPr/>
          </p:nvSpPr>
          <p:spPr bwMode="auto">
            <a:xfrm>
              <a:off x="3856264" y="5124979"/>
              <a:ext cx="4100513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2" name="Line 36"/>
            <p:cNvSpPr>
              <a:spLocks noChangeShapeType="1"/>
            </p:cNvSpPr>
            <p:nvPr/>
          </p:nvSpPr>
          <p:spPr bwMode="auto">
            <a:xfrm>
              <a:off x="3856264" y="5124979"/>
              <a:ext cx="0" cy="7620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3" name="Line 37"/>
            <p:cNvSpPr>
              <a:spLocks noChangeShapeType="1"/>
            </p:cNvSpPr>
            <p:nvPr/>
          </p:nvSpPr>
          <p:spPr bwMode="auto">
            <a:xfrm>
              <a:off x="4084864" y="5124979"/>
              <a:ext cx="0" cy="7620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4" name="Line 38"/>
            <p:cNvSpPr>
              <a:spLocks noChangeShapeType="1"/>
            </p:cNvSpPr>
            <p:nvPr/>
          </p:nvSpPr>
          <p:spPr bwMode="auto">
            <a:xfrm>
              <a:off x="4540476" y="5124979"/>
              <a:ext cx="0" cy="7620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5" name="Line 39"/>
            <p:cNvSpPr>
              <a:spLocks noChangeShapeType="1"/>
            </p:cNvSpPr>
            <p:nvPr/>
          </p:nvSpPr>
          <p:spPr bwMode="auto">
            <a:xfrm>
              <a:off x="5223101" y="5124979"/>
              <a:ext cx="0" cy="7620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6" name="Line 40"/>
            <p:cNvSpPr>
              <a:spLocks noChangeShapeType="1"/>
            </p:cNvSpPr>
            <p:nvPr/>
          </p:nvSpPr>
          <p:spPr bwMode="auto">
            <a:xfrm>
              <a:off x="5905726" y="5124979"/>
              <a:ext cx="0" cy="7620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7" name="Line 41"/>
            <p:cNvSpPr>
              <a:spLocks noChangeShapeType="1"/>
            </p:cNvSpPr>
            <p:nvPr/>
          </p:nvSpPr>
          <p:spPr bwMode="auto">
            <a:xfrm>
              <a:off x="6589939" y="5124979"/>
              <a:ext cx="0" cy="7620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8" name="Line 42"/>
            <p:cNvSpPr>
              <a:spLocks noChangeShapeType="1"/>
            </p:cNvSpPr>
            <p:nvPr/>
          </p:nvSpPr>
          <p:spPr bwMode="auto">
            <a:xfrm>
              <a:off x="7272564" y="5124979"/>
              <a:ext cx="0" cy="7620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9" name="Line 43"/>
            <p:cNvSpPr>
              <a:spLocks noChangeShapeType="1"/>
            </p:cNvSpPr>
            <p:nvPr/>
          </p:nvSpPr>
          <p:spPr bwMode="auto">
            <a:xfrm>
              <a:off x="7956776" y="5124979"/>
              <a:ext cx="0" cy="7620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50" name="Rectangle 44"/>
            <p:cNvSpPr>
              <a:spLocks noChangeArrowheads="1"/>
            </p:cNvSpPr>
            <p:nvPr/>
          </p:nvSpPr>
          <p:spPr bwMode="auto">
            <a:xfrm>
              <a:off x="3816576" y="5272617"/>
              <a:ext cx="13785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1" name="Rectangle 45"/>
            <p:cNvSpPr>
              <a:spLocks noChangeArrowheads="1"/>
            </p:cNvSpPr>
            <p:nvPr/>
          </p:nvSpPr>
          <p:spPr bwMode="auto">
            <a:xfrm>
              <a:off x="4045176" y="5272617"/>
              <a:ext cx="13785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2" name="Rectangle 46"/>
            <p:cNvSpPr>
              <a:spLocks noChangeArrowheads="1"/>
            </p:cNvSpPr>
            <p:nvPr/>
          </p:nvSpPr>
          <p:spPr bwMode="auto">
            <a:xfrm>
              <a:off x="4500789" y="5272617"/>
              <a:ext cx="13785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6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3" name="Rectangle 47"/>
            <p:cNvSpPr>
              <a:spLocks noChangeArrowheads="1"/>
            </p:cNvSpPr>
            <p:nvPr/>
          </p:nvSpPr>
          <p:spPr bwMode="auto">
            <a:xfrm>
              <a:off x="5145314" y="5272617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2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4" name="Rectangle 48"/>
            <p:cNvSpPr>
              <a:spLocks noChangeArrowheads="1"/>
            </p:cNvSpPr>
            <p:nvPr/>
          </p:nvSpPr>
          <p:spPr bwMode="auto">
            <a:xfrm>
              <a:off x="5827939" y="5272617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8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5" name="Rectangle 49"/>
            <p:cNvSpPr>
              <a:spLocks noChangeArrowheads="1"/>
            </p:cNvSpPr>
            <p:nvPr/>
          </p:nvSpPr>
          <p:spPr bwMode="auto">
            <a:xfrm>
              <a:off x="6512151" y="5272617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4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6" name="Rectangle 50"/>
            <p:cNvSpPr>
              <a:spLocks noChangeArrowheads="1"/>
            </p:cNvSpPr>
            <p:nvPr/>
          </p:nvSpPr>
          <p:spPr bwMode="auto">
            <a:xfrm>
              <a:off x="7194776" y="5272617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7" name="Rectangle 51"/>
            <p:cNvSpPr>
              <a:spLocks noChangeArrowheads="1"/>
            </p:cNvSpPr>
            <p:nvPr/>
          </p:nvSpPr>
          <p:spPr bwMode="auto">
            <a:xfrm>
              <a:off x="7878989" y="5272617"/>
              <a:ext cx="2757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6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8" name="Rectangle 52"/>
            <p:cNvSpPr>
              <a:spLocks noChangeArrowheads="1"/>
            </p:cNvSpPr>
            <p:nvPr/>
          </p:nvSpPr>
          <p:spPr bwMode="auto">
            <a:xfrm>
              <a:off x="5705701" y="5501217"/>
              <a:ext cx="79348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Months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9" name="Line 53"/>
            <p:cNvSpPr>
              <a:spLocks noChangeShapeType="1"/>
            </p:cNvSpPr>
            <p:nvPr/>
          </p:nvSpPr>
          <p:spPr bwMode="auto">
            <a:xfrm>
              <a:off x="3686401" y="5124979"/>
              <a:ext cx="169863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0" name="Line 54"/>
            <p:cNvSpPr>
              <a:spLocks noChangeShapeType="1"/>
            </p:cNvSpPr>
            <p:nvPr/>
          </p:nvSpPr>
          <p:spPr bwMode="auto">
            <a:xfrm>
              <a:off x="7956776" y="5124979"/>
              <a:ext cx="227013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8" name="Line 62"/>
            <p:cNvSpPr>
              <a:spLocks noChangeShapeType="1"/>
            </p:cNvSpPr>
            <p:nvPr/>
          </p:nvSpPr>
          <p:spPr bwMode="auto">
            <a:xfrm>
              <a:off x="3856264" y="2700338"/>
              <a:ext cx="228600" cy="66675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9" name="Line 63"/>
            <p:cNvSpPr>
              <a:spLocks noChangeShapeType="1"/>
            </p:cNvSpPr>
            <p:nvPr/>
          </p:nvSpPr>
          <p:spPr bwMode="auto">
            <a:xfrm>
              <a:off x="4084864" y="2767013"/>
              <a:ext cx="455613" cy="187325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0" name="Line 64"/>
            <p:cNvSpPr>
              <a:spLocks noChangeShapeType="1"/>
            </p:cNvSpPr>
            <p:nvPr/>
          </p:nvSpPr>
          <p:spPr bwMode="auto">
            <a:xfrm>
              <a:off x="4540476" y="2954338"/>
              <a:ext cx="682625" cy="157163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1" name="Line 65"/>
            <p:cNvSpPr>
              <a:spLocks noChangeShapeType="1"/>
            </p:cNvSpPr>
            <p:nvPr/>
          </p:nvSpPr>
          <p:spPr bwMode="auto">
            <a:xfrm>
              <a:off x="5223101" y="3111501"/>
              <a:ext cx="682625" cy="249238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2" name="Line 66"/>
            <p:cNvSpPr>
              <a:spLocks noChangeShapeType="1"/>
            </p:cNvSpPr>
            <p:nvPr/>
          </p:nvSpPr>
          <p:spPr bwMode="auto">
            <a:xfrm>
              <a:off x="5905726" y="3360738"/>
              <a:ext cx="684213" cy="158750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3" name="Line 67"/>
            <p:cNvSpPr>
              <a:spLocks noChangeShapeType="1"/>
            </p:cNvSpPr>
            <p:nvPr/>
          </p:nvSpPr>
          <p:spPr bwMode="auto">
            <a:xfrm>
              <a:off x="6589939" y="3519488"/>
              <a:ext cx="682625" cy="153988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4" name="Line 68"/>
            <p:cNvSpPr>
              <a:spLocks noChangeShapeType="1"/>
            </p:cNvSpPr>
            <p:nvPr/>
          </p:nvSpPr>
          <p:spPr bwMode="auto">
            <a:xfrm>
              <a:off x="7272564" y="3673476"/>
              <a:ext cx="684213" cy="182563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5" name="Freeform 69"/>
            <p:cNvSpPr>
              <a:spLocks/>
            </p:cNvSpPr>
            <p:nvPr/>
          </p:nvSpPr>
          <p:spPr bwMode="auto">
            <a:xfrm>
              <a:off x="3783239" y="2630488"/>
              <a:ext cx="112713" cy="112713"/>
            </a:xfrm>
            <a:custGeom>
              <a:avLst/>
              <a:gdLst>
                <a:gd name="T0" fmla="*/ 0 w 71"/>
                <a:gd name="T1" fmla="*/ 36 h 71"/>
                <a:gd name="T2" fmla="*/ 0 w 71"/>
                <a:gd name="T3" fmla="*/ 32 h 71"/>
                <a:gd name="T4" fmla="*/ 3 w 71"/>
                <a:gd name="T5" fmla="*/ 22 h 71"/>
                <a:gd name="T6" fmla="*/ 10 w 71"/>
                <a:gd name="T7" fmla="*/ 11 h 71"/>
                <a:gd name="T8" fmla="*/ 21 w 71"/>
                <a:gd name="T9" fmla="*/ 3 h 71"/>
                <a:gd name="T10" fmla="*/ 32 w 71"/>
                <a:gd name="T11" fmla="*/ 0 h 71"/>
                <a:gd name="T12" fmla="*/ 35 w 71"/>
                <a:gd name="T13" fmla="*/ 0 h 71"/>
                <a:gd name="T14" fmla="*/ 39 w 71"/>
                <a:gd name="T15" fmla="*/ 0 h 71"/>
                <a:gd name="T16" fmla="*/ 49 w 71"/>
                <a:gd name="T17" fmla="*/ 3 h 71"/>
                <a:gd name="T18" fmla="*/ 61 w 71"/>
                <a:gd name="T19" fmla="*/ 11 h 71"/>
                <a:gd name="T20" fmla="*/ 68 w 71"/>
                <a:gd name="T21" fmla="*/ 22 h 71"/>
                <a:gd name="T22" fmla="*/ 71 w 71"/>
                <a:gd name="T23" fmla="*/ 32 h 71"/>
                <a:gd name="T24" fmla="*/ 71 w 71"/>
                <a:gd name="T25" fmla="*/ 36 h 71"/>
                <a:gd name="T26" fmla="*/ 71 w 71"/>
                <a:gd name="T27" fmla="*/ 39 h 71"/>
                <a:gd name="T28" fmla="*/ 68 w 71"/>
                <a:gd name="T29" fmla="*/ 49 h 71"/>
                <a:gd name="T30" fmla="*/ 61 w 71"/>
                <a:gd name="T31" fmla="*/ 61 h 71"/>
                <a:gd name="T32" fmla="*/ 49 w 71"/>
                <a:gd name="T33" fmla="*/ 69 h 71"/>
                <a:gd name="T34" fmla="*/ 39 w 71"/>
                <a:gd name="T35" fmla="*/ 71 h 71"/>
                <a:gd name="T36" fmla="*/ 35 w 71"/>
                <a:gd name="T37" fmla="*/ 71 h 71"/>
                <a:gd name="T38" fmla="*/ 32 w 71"/>
                <a:gd name="T39" fmla="*/ 71 h 71"/>
                <a:gd name="T40" fmla="*/ 21 w 71"/>
                <a:gd name="T41" fmla="*/ 69 h 71"/>
                <a:gd name="T42" fmla="*/ 10 w 71"/>
                <a:gd name="T43" fmla="*/ 61 h 71"/>
                <a:gd name="T44" fmla="*/ 3 w 71"/>
                <a:gd name="T45" fmla="*/ 49 h 71"/>
                <a:gd name="T46" fmla="*/ 0 w 71"/>
                <a:gd name="T47" fmla="*/ 39 h 71"/>
                <a:gd name="T48" fmla="*/ 0 w 71"/>
                <a:gd name="T49" fmla="*/ 36 h 71"/>
                <a:gd name="T50" fmla="*/ 0 w 71"/>
                <a:gd name="T51" fmla="*/ 3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1" h="71">
                  <a:moveTo>
                    <a:pt x="0" y="36"/>
                  </a:moveTo>
                  <a:lnTo>
                    <a:pt x="0" y="32"/>
                  </a:lnTo>
                  <a:lnTo>
                    <a:pt x="3" y="22"/>
                  </a:lnTo>
                  <a:lnTo>
                    <a:pt x="10" y="11"/>
                  </a:lnTo>
                  <a:lnTo>
                    <a:pt x="21" y="3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9" y="3"/>
                  </a:lnTo>
                  <a:lnTo>
                    <a:pt x="61" y="11"/>
                  </a:lnTo>
                  <a:lnTo>
                    <a:pt x="68" y="22"/>
                  </a:lnTo>
                  <a:lnTo>
                    <a:pt x="71" y="32"/>
                  </a:lnTo>
                  <a:lnTo>
                    <a:pt x="71" y="36"/>
                  </a:lnTo>
                  <a:lnTo>
                    <a:pt x="71" y="39"/>
                  </a:lnTo>
                  <a:lnTo>
                    <a:pt x="68" y="49"/>
                  </a:lnTo>
                  <a:lnTo>
                    <a:pt x="61" y="61"/>
                  </a:lnTo>
                  <a:lnTo>
                    <a:pt x="49" y="69"/>
                  </a:lnTo>
                  <a:lnTo>
                    <a:pt x="39" y="71"/>
                  </a:lnTo>
                  <a:lnTo>
                    <a:pt x="35" y="71"/>
                  </a:lnTo>
                  <a:lnTo>
                    <a:pt x="32" y="71"/>
                  </a:lnTo>
                  <a:lnTo>
                    <a:pt x="21" y="69"/>
                  </a:lnTo>
                  <a:lnTo>
                    <a:pt x="10" y="61"/>
                  </a:lnTo>
                  <a:lnTo>
                    <a:pt x="3" y="49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00000"/>
            </a:solidFill>
            <a:ln w="2540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6" name="Freeform 70"/>
            <p:cNvSpPr>
              <a:spLocks/>
            </p:cNvSpPr>
            <p:nvPr/>
          </p:nvSpPr>
          <p:spPr bwMode="auto">
            <a:xfrm>
              <a:off x="3783239" y="2630488"/>
              <a:ext cx="112713" cy="112713"/>
            </a:xfrm>
            <a:custGeom>
              <a:avLst/>
              <a:gdLst>
                <a:gd name="T0" fmla="*/ 0 w 178"/>
                <a:gd name="T1" fmla="*/ 89 h 178"/>
                <a:gd name="T2" fmla="*/ 0 w 178"/>
                <a:gd name="T3" fmla="*/ 80 h 178"/>
                <a:gd name="T4" fmla="*/ 7 w 178"/>
                <a:gd name="T5" fmla="*/ 54 h 178"/>
                <a:gd name="T6" fmla="*/ 26 w 178"/>
                <a:gd name="T7" fmla="*/ 26 h 178"/>
                <a:gd name="T8" fmla="*/ 54 w 178"/>
                <a:gd name="T9" fmla="*/ 7 h 178"/>
                <a:gd name="T10" fmla="*/ 80 w 178"/>
                <a:gd name="T11" fmla="*/ 0 h 178"/>
                <a:gd name="T12" fmla="*/ 89 w 178"/>
                <a:gd name="T13" fmla="*/ 0 h 178"/>
                <a:gd name="T14" fmla="*/ 97 w 178"/>
                <a:gd name="T15" fmla="*/ 0 h 178"/>
                <a:gd name="T16" fmla="*/ 123 w 178"/>
                <a:gd name="T17" fmla="*/ 7 h 178"/>
                <a:gd name="T18" fmla="*/ 152 w 178"/>
                <a:gd name="T19" fmla="*/ 26 h 178"/>
                <a:gd name="T20" fmla="*/ 171 w 178"/>
                <a:gd name="T21" fmla="*/ 54 h 178"/>
                <a:gd name="T22" fmla="*/ 178 w 178"/>
                <a:gd name="T23" fmla="*/ 80 h 178"/>
                <a:gd name="T24" fmla="*/ 178 w 178"/>
                <a:gd name="T25" fmla="*/ 89 h 178"/>
                <a:gd name="T26" fmla="*/ 178 w 178"/>
                <a:gd name="T27" fmla="*/ 97 h 178"/>
                <a:gd name="T28" fmla="*/ 171 w 178"/>
                <a:gd name="T29" fmla="*/ 123 h 178"/>
                <a:gd name="T30" fmla="*/ 152 w 178"/>
                <a:gd name="T31" fmla="*/ 152 h 178"/>
                <a:gd name="T32" fmla="*/ 123 w 178"/>
                <a:gd name="T33" fmla="*/ 171 h 178"/>
                <a:gd name="T34" fmla="*/ 97 w 178"/>
                <a:gd name="T35" fmla="*/ 178 h 178"/>
                <a:gd name="T36" fmla="*/ 89 w 178"/>
                <a:gd name="T37" fmla="*/ 178 h 178"/>
                <a:gd name="T38" fmla="*/ 80 w 178"/>
                <a:gd name="T39" fmla="*/ 178 h 178"/>
                <a:gd name="T40" fmla="*/ 54 w 178"/>
                <a:gd name="T41" fmla="*/ 171 h 178"/>
                <a:gd name="T42" fmla="*/ 26 w 178"/>
                <a:gd name="T43" fmla="*/ 152 h 178"/>
                <a:gd name="T44" fmla="*/ 7 w 178"/>
                <a:gd name="T45" fmla="*/ 123 h 178"/>
                <a:gd name="T46" fmla="*/ 0 w 178"/>
                <a:gd name="T47" fmla="*/ 97 h 178"/>
                <a:gd name="T48" fmla="*/ 0 w 178"/>
                <a:gd name="T49" fmla="*/ 8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8" h="178">
                  <a:moveTo>
                    <a:pt x="0" y="89"/>
                  </a:moveTo>
                  <a:lnTo>
                    <a:pt x="0" y="80"/>
                  </a:lnTo>
                  <a:lnTo>
                    <a:pt x="7" y="54"/>
                  </a:lnTo>
                  <a:lnTo>
                    <a:pt x="26" y="26"/>
                  </a:lnTo>
                  <a:lnTo>
                    <a:pt x="54" y="7"/>
                  </a:lnTo>
                  <a:lnTo>
                    <a:pt x="80" y="0"/>
                  </a:lnTo>
                  <a:lnTo>
                    <a:pt x="89" y="0"/>
                  </a:lnTo>
                  <a:lnTo>
                    <a:pt x="97" y="0"/>
                  </a:lnTo>
                  <a:lnTo>
                    <a:pt x="123" y="7"/>
                  </a:lnTo>
                  <a:lnTo>
                    <a:pt x="152" y="26"/>
                  </a:lnTo>
                  <a:lnTo>
                    <a:pt x="171" y="54"/>
                  </a:lnTo>
                  <a:lnTo>
                    <a:pt x="178" y="80"/>
                  </a:lnTo>
                  <a:lnTo>
                    <a:pt x="178" y="89"/>
                  </a:lnTo>
                  <a:lnTo>
                    <a:pt x="178" y="97"/>
                  </a:lnTo>
                  <a:lnTo>
                    <a:pt x="171" y="123"/>
                  </a:lnTo>
                  <a:lnTo>
                    <a:pt x="152" y="152"/>
                  </a:lnTo>
                  <a:lnTo>
                    <a:pt x="123" y="171"/>
                  </a:lnTo>
                  <a:lnTo>
                    <a:pt x="97" y="178"/>
                  </a:lnTo>
                  <a:lnTo>
                    <a:pt x="89" y="178"/>
                  </a:lnTo>
                  <a:lnTo>
                    <a:pt x="80" y="178"/>
                  </a:lnTo>
                  <a:lnTo>
                    <a:pt x="54" y="171"/>
                  </a:lnTo>
                  <a:lnTo>
                    <a:pt x="26" y="152"/>
                  </a:lnTo>
                  <a:lnTo>
                    <a:pt x="7" y="123"/>
                  </a:lnTo>
                  <a:lnTo>
                    <a:pt x="0" y="97"/>
                  </a:lnTo>
                  <a:lnTo>
                    <a:pt x="0" y="89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1" name="Rectangle 75"/>
            <p:cNvSpPr>
              <a:spLocks noChangeArrowheads="1"/>
            </p:cNvSpPr>
            <p:nvPr/>
          </p:nvSpPr>
          <p:spPr bwMode="auto">
            <a:xfrm>
              <a:off x="4059464" y="2725738"/>
              <a:ext cx="82550" cy="80963"/>
            </a:xfrm>
            <a:prstGeom prst="rect">
              <a:avLst/>
            </a:prstGeom>
            <a:solidFill>
              <a:srgbClr val="FFFFFF"/>
            </a:solidFill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2" name="Rectangle 76"/>
            <p:cNvSpPr>
              <a:spLocks noChangeArrowheads="1"/>
            </p:cNvSpPr>
            <p:nvPr/>
          </p:nvSpPr>
          <p:spPr bwMode="auto">
            <a:xfrm>
              <a:off x="4059464" y="2725738"/>
              <a:ext cx="82550" cy="80963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4" name="Line 78"/>
            <p:cNvSpPr>
              <a:spLocks noChangeShapeType="1"/>
            </p:cNvSpPr>
            <p:nvPr/>
          </p:nvSpPr>
          <p:spPr bwMode="auto">
            <a:xfrm flipV="1">
              <a:off x="4102326" y="2736851"/>
              <a:ext cx="0" cy="60325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7" name="Rectangle 81"/>
            <p:cNvSpPr>
              <a:spLocks noChangeArrowheads="1"/>
            </p:cNvSpPr>
            <p:nvPr/>
          </p:nvSpPr>
          <p:spPr bwMode="auto">
            <a:xfrm>
              <a:off x="4518251" y="2916238"/>
              <a:ext cx="77788" cy="76200"/>
            </a:xfrm>
            <a:prstGeom prst="rect">
              <a:avLst/>
            </a:prstGeom>
            <a:solidFill>
              <a:srgbClr val="FFFFFF"/>
            </a:solidFill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8" name="Rectangle 82"/>
            <p:cNvSpPr>
              <a:spLocks noChangeArrowheads="1"/>
            </p:cNvSpPr>
            <p:nvPr/>
          </p:nvSpPr>
          <p:spPr bwMode="auto">
            <a:xfrm>
              <a:off x="4518251" y="2916238"/>
              <a:ext cx="77788" cy="762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0" name="Line 84"/>
            <p:cNvSpPr>
              <a:spLocks noChangeShapeType="1"/>
            </p:cNvSpPr>
            <p:nvPr/>
          </p:nvSpPr>
          <p:spPr bwMode="auto">
            <a:xfrm flipV="1">
              <a:off x="4556351" y="2919413"/>
              <a:ext cx="0" cy="69850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3" name="Rectangle 87"/>
            <p:cNvSpPr>
              <a:spLocks noChangeArrowheads="1"/>
            </p:cNvSpPr>
            <p:nvPr/>
          </p:nvSpPr>
          <p:spPr bwMode="auto">
            <a:xfrm>
              <a:off x="5204051" y="3074988"/>
              <a:ext cx="71438" cy="73025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4" name="Rectangle 88"/>
            <p:cNvSpPr>
              <a:spLocks noChangeArrowheads="1"/>
            </p:cNvSpPr>
            <p:nvPr/>
          </p:nvSpPr>
          <p:spPr bwMode="auto">
            <a:xfrm>
              <a:off x="5204051" y="3074988"/>
              <a:ext cx="71438" cy="73025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6" name="Line 90"/>
            <p:cNvSpPr>
              <a:spLocks noChangeShapeType="1"/>
            </p:cNvSpPr>
            <p:nvPr/>
          </p:nvSpPr>
          <p:spPr bwMode="auto">
            <a:xfrm flipV="1">
              <a:off x="5240564" y="3071813"/>
              <a:ext cx="0" cy="79375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7" name="Line 91"/>
            <p:cNvSpPr>
              <a:spLocks noChangeShapeType="1"/>
            </p:cNvSpPr>
            <p:nvPr/>
          </p:nvSpPr>
          <p:spPr bwMode="auto">
            <a:xfrm flipV="1">
              <a:off x="5889851" y="3317876"/>
              <a:ext cx="0" cy="8890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8" name="Line 92"/>
            <p:cNvSpPr>
              <a:spLocks noChangeShapeType="1"/>
            </p:cNvSpPr>
            <p:nvPr/>
          </p:nvSpPr>
          <p:spPr bwMode="auto">
            <a:xfrm flipV="1">
              <a:off x="5923189" y="3316288"/>
              <a:ext cx="0" cy="8890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9" name="Rectangle 93"/>
            <p:cNvSpPr>
              <a:spLocks noChangeArrowheads="1"/>
            </p:cNvSpPr>
            <p:nvPr/>
          </p:nvSpPr>
          <p:spPr bwMode="auto">
            <a:xfrm>
              <a:off x="5854926" y="3328988"/>
              <a:ext cx="68263" cy="66675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0" name="Rectangle 94"/>
            <p:cNvSpPr>
              <a:spLocks noChangeArrowheads="1"/>
            </p:cNvSpPr>
            <p:nvPr/>
          </p:nvSpPr>
          <p:spPr bwMode="auto">
            <a:xfrm>
              <a:off x="5854926" y="3328988"/>
              <a:ext cx="68263" cy="66675"/>
            </a:xfrm>
            <a:prstGeom prst="rect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4" name="Line 98"/>
            <p:cNvSpPr>
              <a:spLocks noChangeShapeType="1"/>
            </p:cNvSpPr>
            <p:nvPr/>
          </p:nvSpPr>
          <p:spPr bwMode="auto">
            <a:xfrm flipV="1">
              <a:off x="6607401" y="3465513"/>
              <a:ext cx="0" cy="107950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7" name="Rectangle 101"/>
            <p:cNvSpPr>
              <a:spLocks noChangeArrowheads="1"/>
            </p:cNvSpPr>
            <p:nvPr/>
          </p:nvSpPr>
          <p:spPr bwMode="auto">
            <a:xfrm>
              <a:off x="6575651" y="3489326"/>
              <a:ext cx="61913" cy="60325"/>
            </a:xfrm>
            <a:prstGeom prst="rect">
              <a:avLst/>
            </a:prstGeom>
            <a:solidFill>
              <a:srgbClr val="FFFFFF"/>
            </a:solidFill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8" name="Rectangle 102"/>
            <p:cNvSpPr>
              <a:spLocks noChangeArrowheads="1"/>
            </p:cNvSpPr>
            <p:nvPr/>
          </p:nvSpPr>
          <p:spPr bwMode="auto">
            <a:xfrm>
              <a:off x="6575651" y="3489326"/>
              <a:ext cx="61913" cy="60325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0" name="Line 104"/>
            <p:cNvSpPr>
              <a:spLocks noChangeShapeType="1"/>
            </p:cNvSpPr>
            <p:nvPr/>
          </p:nvSpPr>
          <p:spPr bwMode="auto">
            <a:xfrm flipV="1">
              <a:off x="7290026" y="3609976"/>
              <a:ext cx="0" cy="128588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3" name="Rectangle 107"/>
            <p:cNvSpPr>
              <a:spLocks noChangeArrowheads="1"/>
            </p:cNvSpPr>
            <p:nvPr/>
          </p:nvSpPr>
          <p:spPr bwMode="auto">
            <a:xfrm>
              <a:off x="7261451" y="3646488"/>
              <a:ext cx="57150" cy="55563"/>
            </a:xfrm>
            <a:prstGeom prst="rect">
              <a:avLst/>
            </a:prstGeom>
            <a:solidFill>
              <a:srgbClr val="FFFFFF"/>
            </a:solidFill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4" name="Rectangle 108"/>
            <p:cNvSpPr>
              <a:spLocks noChangeArrowheads="1"/>
            </p:cNvSpPr>
            <p:nvPr/>
          </p:nvSpPr>
          <p:spPr bwMode="auto">
            <a:xfrm>
              <a:off x="7261451" y="3646488"/>
              <a:ext cx="57150" cy="55563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6" name="Line 110"/>
            <p:cNvSpPr>
              <a:spLocks noChangeShapeType="1"/>
            </p:cNvSpPr>
            <p:nvPr/>
          </p:nvSpPr>
          <p:spPr bwMode="auto">
            <a:xfrm flipV="1">
              <a:off x="7972651" y="3754438"/>
              <a:ext cx="0" cy="204788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9" name="Rectangle 113"/>
            <p:cNvSpPr>
              <a:spLocks noChangeArrowheads="1"/>
            </p:cNvSpPr>
            <p:nvPr/>
          </p:nvSpPr>
          <p:spPr bwMode="auto">
            <a:xfrm>
              <a:off x="7950426" y="3833813"/>
              <a:ext cx="44450" cy="44450"/>
            </a:xfrm>
            <a:prstGeom prst="rect">
              <a:avLst/>
            </a:prstGeom>
            <a:solidFill>
              <a:srgbClr val="FFFFFF"/>
            </a:solidFill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20" name="Rectangle 114"/>
            <p:cNvSpPr>
              <a:spLocks noChangeArrowheads="1"/>
            </p:cNvSpPr>
            <p:nvPr/>
          </p:nvSpPr>
          <p:spPr bwMode="auto">
            <a:xfrm>
              <a:off x="7950426" y="3833813"/>
              <a:ext cx="44450" cy="4445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22" name="Line 116"/>
            <p:cNvSpPr>
              <a:spLocks noChangeShapeType="1"/>
            </p:cNvSpPr>
            <p:nvPr/>
          </p:nvSpPr>
          <p:spPr bwMode="auto">
            <a:xfrm flipV="1">
              <a:off x="7272564" y="2530333"/>
              <a:ext cx="0" cy="163513"/>
            </a:xfrm>
            <a:prstGeom prst="line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5" name="Rectangle 119"/>
            <p:cNvSpPr>
              <a:spLocks noChangeArrowheads="1"/>
            </p:cNvSpPr>
            <p:nvPr/>
          </p:nvSpPr>
          <p:spPr bwMode="auto">
            <a:xfrm>
              <a:off x="7221764" y="2562083"/>
              <a:ext cx="101600" cy="100013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rgbClr val="4A064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6" name="Rectangle 120"/>
            <p:cNvSpPr>
              <a:spLocks noChangeArrowheads="1"/>
            </p:cNvSpPr>
            <p:nvPr/>
          </p:nvSpPr>
          <p:spPr bwMode="auto">
            <a:xfrm>
              <a:off x="7221764" y="2562083"/>
              <a:ext cx="101600" cy="100013"/>
            </a:xfrm>
            <a:prstGeom prst="rect">
              <a:avLst/>
            </a:prstGeom>
            <a:noFill/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8" name="Rectangle 122"/>
            <p:cNvSpPr>
              <a:spLocks noChangeArrowheads="1"/>
            </p:cNvSpPr>
            <p:nvPr/>
          </p:nvSpPr>
          <p:spPr bwMode="auto">
            <a:xfrm>
              <a:off x="7444014" y="2487613"/>
              <a:ext cx="614972" cy="184921"/>
            </a:xfrm>
            <a:prstGeom prst="rect">
              <a:avLst/>
            </a:prstGeom>
            <a:noFill/>
            <a:ln w="25400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dirty="0" smtClean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latin typeface="Mulish" pitchFamily="2" charset="0"/>
                </a:rPr>
                <a:t>Placebo</a:t>
              </a:r>
            </a:p>
          </p:txBody>
        </p:sp>
        <p:sp>
          <p:nvSpPr>
            <p:cNvPr id="144" name="Rectangle 143"/>
            <p:cNvSpPr>
              <a:spLocks noChangeArrowheads="1"/>
            </p:cNvSpPr>
            <p:nvPr/>
          </p:nvSpPr>
          <p:spPr bwMode="auto">
            <a:xfrm rot="16200000">
              <a:off x="1871614" y="3123819"/>
              <a:ext cx="237404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b="1" dirty="0" err="1" smtClean="0">
                  <a:solidFill>
                    <a:srgbClr val="000000"/>
                  </a:solidFill>
                  <a:latin typeface="Mulish" pitchFamily="2" charset="0"/>
                </a:rPr>
                <a:t>eGFR</a:t>
              </a:r>
              <a:r>
                <a:rPr lang="en-US" altLang="en-US" b="1" dirty="0" smtClean="0">
                  <a:solidFill>
                    <a:srgbClr val="000000"/>
                  </a:solidFill>
                  <a:latin typeface="Mulish" pitchFamily="2" charset="0"/>
                </a:rPr>
                <a:t>, mL/min/1.73m</a:t>
              </a:r>
              <a:r>
                <a:rPr lang="en-US" altLang="en-US" b="1" baseline="30000" dirty="0" smtClean="0">
                  <a:solidFill>
                    <a:srgbClr val="000000"/>
                  </a:solidFill>
                  <a:latin typeface="Mulish" pitchFamily="2" charset="0"/>
                </a:rPr>
                <a:t>2</a:t>
              </a:r>
              <a:endParaRPr kumimoji="0" lang="en-US" altLang="en-US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</p:grpSp>
      <p:sp>
        <p:nvSpPr>
          <p:cNvPr id="83" name="Line 55"/>
          <p:cNvSpPr>
            <a:spLocks noChangeShapeType="1"/>
          </p:cNvSpPr>
          <p:nvPr/>
        </p:nvSpPr>
        <p:spPr bwMode="auto">
          <a:xfrm>
            <a:off x="3330306" y="2334888"/>
            <a:ext cx="316410" cy="642051"/>
          </a:xfrm>
          <a:prstGeom prst="line">
            <a:avLst/>
          </a:prstGeom>
          <a:noFill/>
          <a:ln w="25400">
            <a:solidFill>
              <a:srgbClr val="CE08A8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00">
              <a:latin typeface="Mulish" pitchFamily="2" charset="0"/>
            </a:endParaRPr>
          </a:p>
        </p:txBody>
      </p:sp>
      <p:sp>
        <p:nvSpPr>
          <p:cNvPr id="85" name="Freeform 72"/>
          <p:cNvSpPr>
            <a:spLocks/>
          </p:cNvSpPr>
          <p:nvPr/>
        </p:nvSpPr>
        <p:spPr bwMode="auto">
          <a:xfrm>
            <a:off x="3275373" y="2270684"/>
            <a:ext cx="156008" cy="168836"/>
          </a:xfrm>
          <a:custGeom>
            <a:avLst/>
            <a:gdLst>
              <a:gd name="T0" fmla="*/ 0 w 178"/>
              <a:gd name="T1" fmla="*/ 89 h 178"/>
              <a:gd name="T2" fmla="*/ 0 w 178"/>
              <a:gd name="T3" fmla="*/ 80 h 178"/>
              <a:gd name="T4" fmla="*/ 7 w 178"/>
              <a:gd name="T5" fmla="*/ 54 h 178"/>
              <a:gd name="T6" fmla="*/ 26 w 178"/>
              <a:gd name="T7" fmla="*/ 26 h 178"/>
              <a:gd name="T8" fmla="*/ 55 w 178"/>
              <a:gd name="T9" fmla="*/ 7 h 178"/>
              <a:gd name="T10" fmla="*/ 81 w 178"/>
              <a:gd name="T11" fmla="*/ 0 h 178"/>
              <a:gd name="T12" fmla="*/ 89 w 178"/>
              <a:gd name="T13" fmla="*/ 0 h 178"/>
              <a:gd name="T14" fmla="*/ 98 w 178"/>
              <a:gd name="T15" fmla="*/ 0 h 178"/>
              <a:gd name="T16" fmla="*/ 124 w 178"/>
              <a:gd name="T17" fmla="*/ 7 h 178"/>
              <a:gd name="T18" fmla="*/ 152 w 178"/>
              <a:gd name="T19" fmla="*/ 26 h 178"/>
              <a:gd name="T20" fmla="*/ 171 w 178"/>
              <a:gd name="T21" fmla="*/ 54 h 178"/>
              <a:gd name="T22" fmla="*/ 178 w 178"/>
              <a:gd name="T23" fmla="*/ 80 h 178"/>
              <a:gd name="T24" fmla="*/ 178 w 178"/>
              <a:gd name="T25" fmla="*/ 89 h 178"/>
              <a:gd name="T26" fmla="*/ 178 w 178"/>
              <a:gd name="T27" fmla="*/ 98 h 178"/>
              <a:gd name="T28" fmla="*/ 171 w 178"/>
              <a:gd name="T29" fmla="*/ 123 h 178"/>
              <a:gd name="T30" fmla="*/ 152 w 178"/>
              <a:gd name="T31" fmla="*/ 152 h 178"/>
              <a:gd name="T32" fmla="*/ 124 w 178"/>
              <a:gd name="T33" fmla="*/ 171 h 178"/>
              <a:gd name="T34" fmla="*/ 98 w 178"/>
              <a:gd name="T35" fmla="*/ 178 h 178"/>
              <a:gd name="T36" fmla="*/ 89 w 178"/>
              <a:gd name="T37" fmla="*/ 178 h 178"/>
              <a:gd name="T38" fmla="*/ 81 w 178"/>
              <a:gd name="T39" fmla="*/ 178 h 178"/>
              <a:gd name="T40" fmla="*/ 55 w 178"/>
              <a:gd name="T41" fmla="*/ 171 h 178"/>
              <a:gd name="T42" fmla="*/ 26 w 178"/>
              <a:gd name="T43" fmla="*/ 152 h 178"/>
              <a:gd name="T44" fmla="*/ 7 w 178"/>
              <a:gd name="T45" fmla="*/ 123 h 178"/>
              <a:gd name="T46" fmla="*/ 0 w 178"/>
              <a:gd name="T47" fmla="*/ 98 h 178"/>
              <a:gd name="T48" fmla="*/ 0 w 178"/>
              <a:gd name="T49" fmla="*/ 89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78" h="178">
                <a:moveTo>
                  <a:pt x="0" y="89"/>
                </a:moveTo>
                <a:lnTo>
                  <a:pt x="0" y="80"/>
                </a:lnTo>
                <a:lnTo>
                  <a:pt x="7" y="54"/>
                </a:lnTo>
                <a:lnTo>
                  <a:pt x="26" y="26"/>
                </a:lnTo>
                <a:lnTo>
                  <a:pt x="55" y="7"/>
                </a:lnTo>
                <a:lnTo>
                  <a:pt x="81" y="0"/>
                </a:lnTo>
                <a:lnTo>
                  <a:pt x="89" y="0"/>
                </a:lnTo>
                <a:lnTo>
                  <a:pt x="98" y="0"/>
                </a:lnTo>
                <a:lnTo>
                  <a:pt x="124" y="7"/>
                </a:lnTo>
                <a:lnTo>
                  <a:pt x="152" y="26"/>
                </a:lnTo>
                <a:lnTo>
                  <a:pt x="171" y="54"/>
                </a:lnTo>
                <a:lnTo>
                  <a:pt x="178" y="80"/>
                </a:lnTo>
                <a:lnTo>
                  <a:pt x="178" y="89"/>
                </a:lnTo>
                <a:lnTo>
                  <a:pt x="178" y="98"/>
                </a:lnTo>
                <a:lnTo>
                  <a:pt x="171" y="123"/>
                </a:lnTo>
                <a:lnTo>
                  <a:pt x="152" y="152"/>
                </a:lnTo>
                <a:lnTo>
                  <a:pt x="124" y="171"/>
                </a:lnTo>
                <a:lnTo>
                  <a:pt x="98" y="178"/>
                </a:lnTo>
                <a:lnTo>
                  <a:pt x="89" y="178"/>
                </a:lnTo>
                <a:lnTo>
                  <a:pt x="81" y="178"/>
                </a:lnTo>
                <a:lnTo>
                  <a:pt x="55" y="171"/>
                </a:lnTo>
                <a:lnTo>
                  <a:pt x="26" y="152"/>
                </a:lnTo>
                <a:lnTo>
                  <a:pt x="7" y="123"/>
                </a:lnTo>
                <a:lnTo>
                  <a:pt x="0" y="98"/>
                </a:lnTo>
                <a:lnTo>
                  <a:pt x="0" y="89"/>
                </a:lnTo>
              </a:path>
            </a:pathLst>
          </a:custGeom>
          <a:solidFill>
            <a:srgbClr val="CE08A8"/>
          </a:solidFill>
          <a:ln w="25400">
            <a:solidFill>
              <a:srgbClr val="CE08A8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00">
              <a:latin typeface="Mulish" pitchFamily="2" charset="0"/>
            </a:endParaRPr>
          </a:p>
        </p:txBody>
      </p:sp>
      <p:sp>
        <p:nvSpPr>
          <p:cNvPr id="86" name="Line 77"/>
          <p:cNvSpPr>
            <a:spLocks noChangeShapeType="1"/>
          </p:cNvSpPr>
          <p:nvPr/>
        </p:nvSpPr>
        <p:spPr bwMode="auto">
          <a:xfrm flipV="1">
            <a:off x="3622545" y="2931759"/>
            <a:ext cx="0" cy="90363"/>
          </a:xfrm>
          <a:prstGeom prst="line">
            <a:avLst/>
          </a:prstGeom>
          <a:noFill/>
          <a:ln w="25400">
            <a:solidFill>
              <a:srgbClr val="C8568A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00">
              <a:latin typeface="Mulish" pitchFamily="2" charset="0"/>
            </a:endParaRPr>
          </a:p>
        </p:txBody>
      </p:sp>
      <p:sp>
        <p:nvSpPr>
          <p:cNvPr id="89" name="Rectangle 74"/>
          <p:cNvSpPr>
            <a:spLocks noChangeArrowheads="1"/>
          </p:cNvSpPr>
          <p:nvPr/>
        </p:nvSpPr>
        <p:spPr bwMode="auto">
          <a:xfrm>
            <a:off x="3565415" y="2915112"/>
            <a:ext cx="114259" cy="121277"/>
          </a:xfrm>
          <a:prstGeom prst="rect">
            <a:avLst/>
          </a:prstGeom>
          <a:solidFill>
            <a:srgbClr val="CE08A8"/>
          </a:solidFill>
          <a:ln w="25400">
            <a:solidFill>
              <a:srgbClr val="CE08A8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00">
              <a:latin typeface="Mulish" pitchFamily="2" charset="0"/>
            </a:endParaRPr>
          </a:p>
        </p:txBody>
      </p:sp>
      <p:sp>
        <p:nvSpPr>
          <p:cNvPr id="91" name="Rectangle 118"/>
          <p:cNvSpPr>
            <a:spLocks noChangeArrowheads="1"/>
          </p:cNvSpPr>
          <p:nvPr/>
        </p:nvSpPr>
        <p:spPr bwMode="auto">
          <a:xfrm>
            <a:off x="7988559" y="1652198"/>
            <a:ext cx="140627" cy="152190"/>
          </a:xfrm>
          <a:prstGeom prst="rect">
            <a:avLst/>
          </a:prstGeom>
          <a:solidFill>
            <a:srgbClr val="CE08A8"/>
          </a:solidFill>
          <a:ln w="1588">
            <a:solidFill>
              <a:srgbClr val="CE08A8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Mulish" pitchFamily="2" charset="0"/>
            </a:endParaRPr>
          </a:p>
        </p:txBody>
      </p:sp>
      <p:sp>
        <p:nvSpPr>
          <p:cNvPr id="92" name="Rectangle 121"/>
          <p:cNvSpPr>
            <a:spLocks noChangeArrowheads="1"/>
          </p:cNvSpPr>
          <p:nvPr/>
        </p:nvSpPr>
        <p:spPr bwMode="auto">
          <a:xfrm>
            <a:off x="8296179" y="1524002"/>
            <a:ext cx="143629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 smtClean="0">
                <a:ln>
                  <a:noFill/>
                </a:ln>
                <a:solidFill>
                  <a:srgbClr val="CE08A8"/>
                </a:solidFill>
                <a:effectLst/>
                <a:latin typeface="Mulish" pitchFamily="2" charset="0"/>
              </a:rPr>
              <a:t>Empagliflozin</a:t>
            </a:r>
          </a:p>
        </p:txBody>
      </p:sp>
      <p:sp>
        <p:nvSpPr>
          <p:cNvPr id="95" name="Line 115"/>
          <p:cNvSpPr>
            <a:spLocks noChangeShapeType="1"/>
          </p:cNvSpPr>
          <p:nvPr/>
        </p:nvSpPr>
        <p:spPr bwMode="auto">
          <a:xfrm flipV="1">
            <a:off x="8056178" y="1607018"/>
            <a:ext cx="2693" cy="229664"/>
          </a:xfrm>
          <a:prstGeom prst="line">
            <a:avLst/>
          </a:prstGeom>
          <a:noFill/>
          <a:ln w="25400">
            <a:solidFill>
              <a:srgbClr val="CE08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Mulish" pitchFamily="2" charset="0"/>
            </a:endParaRPr>
          </a:p>
        </p:txBody>
      </p:sp>
      <p:graphicFrame>
        <p:nvGraphicFramePr>
          <p:cNvPr id="103" name="Table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0853835"/>
              </p:ext>
            </p:extLst>
          </p:nvPr>
        </p:nvGraphicFramePr>
        <p:xfrm>
          <a:off x="3315269" y="5025142"/>
          <a:ext cx="6683170" cy="929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28226">
                  <a:extLst>
                    <a:ext uri="{9D8B030D-6E8A-4147-A177-3AD203B41FA5}">
                      <a16:colId xmlns:a16="http://schemas.microsoft.com/office/drawing/2014/main" val="2748816243"/>
                    </a:ext>
                  </a:extLst>
                </a:gridCol>
                <a:gridCol w="1778854">
                  <a:extLst>
                    <a:ext uri="{9D8B030D-6E8A-4147-A177-3AD203B41FA5}">
                      <a16:colId xmlns:a16="http://schemas.microsoft.com/office/drawing/2014/main" val="1057604756"/>
                    </a:ext>
                  </a:extLst>
                </a:gridCol>
                <a:gridCol w="2876090">
                  <a:extLst>
                    <a:ext uri="{9D8B030D-6E8A-4147-A177-3AD203B41FA5}">
                      <a16:colId xmlns:a16="http://schemas.microsoft.com/office/drawing/2014/main" val="519583928"/>
                    </a:ext>
                  </a:extLst>
                </a:gridCol>
              </a:tblGrid>
              <a:tr h="299276">
                <a:tc>
                  <a:txBody>
                    <a:bodyPr/>
                    <a:lstStyle/>
                    <a:p>
                      <a:pPr algn="ctr" fontAlgn="b"/>
                      <a:endParaRPr lang="en-GB" sz="1800" b="1" i="0" u="none" strike="noStrike" dirty="0">
                        <a:solidFill>
                          <a:schemeClr val="bg1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 smtClean="0">
                          <a:solidFill>
                            <a:schemeClr val="bg1"/>
                          </a:solidFill>
                          <a:effectLst/>
                          <a:latin typeface="Mulish" pitchFamily="2" charset="0"/>
                        </a:rPr>
                        <a:t>Placebo</a:t>
                      </a:r>
                    </a:p>
                    <a:p>
                      <a:pPr marL="0" marR="0" lvl="0" indent="0" algn="ctr" defTabSz="91427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u="none" strike="noStrike" dirty="0" smtClean="0">
                          <a:solidFill>
                            <a:schemeClr val="bg1"/>
                          </a:solidFill>
                          <a:effectLst/>
                          <a:latin typeface="Mulish" pitchFamily="2" charset="0"/>
                        </a:rPr>
                        <a:t>Mean (SE)</a:t>
                      </a:r>
                      <a:endParaRPr lang="en-GB" sz="1800" b="1" i="0" u="none" strike="noStrike" dirty="0" smtClean="0">
                        <a:solidFill>
                          <a:schemeClr val="bg1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4793826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algn="ctr" fontAlgn="ctr"/>
                      <a:endParaRPr lang="en-US" sz="2400" b="0" i="0" u="none" strike="noStrike" dirty="0">
                        <a:solidFill>
                          <a:srgbClr val="A87693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Mulish" pitchFamily="2" charset="0"/>
                        </a:rPr>
                        <a:t>-2.75 (0.08)</a:t>
                      </a:r>
                      <a:endParaRPr lang="en-US" sz="2400" b="0" i="0" u="none" strike="noStrike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2205739"/>
                  </a:ext>
                </a:extLst>
              </a:tr>
            </a:tbl>
          </a:graphicData>
        </a:graphic>
      </p:graphicFrame>
      <p:sp>
        <p:nvSpPr>
          <p:cNvPr id="105" name="Rectangle 104"/>
          <p:cNvSpPr/>
          <p:nvPr/>
        </p:nvSpPr>
        <p:spPr>
          <a:xfrm>
            <a:off x="3442025" y="4517691"/>
            <a:ext cx="6112571" cy="4623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274">
              <a:lnSpc>
                <a:spcPct val="107000"/>
              </a:lnSpc>
              <a:spcBef>
                <a:spcPts val="110"/>
              </a:spcBef>
              <a:spcAft>
                <a:spcPts val="110"/>
              </a:spcAft>
              <a:defRPr/>
            </a:pPr>
            <a:r>
              <a:rPr lang="en-GB" sz="2400" b="1" dirty="0" smtClean="0">
                <a:latin typeface="Mulish" pitchFamily="2" charset="0"/>
              </a:rPr>
              <a:t>Chronic slope in mL/min/1.73m² </a:t>
            </a:r>
            <a:r>
              <a:rPr lang="en-GB" sz="2400" b="1" dirty="0">
                <a:latin typeface="Mulish" pitchFamily="2" charset="0"/>
              </a:rPr>
              <a:t>per year</a:t>
            </a:r>
            <a:endParaRPr lang="en-GB" sz="2400" b="1" dirty="0">
              <a:latin typeface="Mulish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9587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Annual rate of change of </a:t>
            </a:r>
            <a:r>
              <a:rPr lang="en-GB" dirty="0" err="1" smtClean="0"/>
              <a:t>eGFR</a:t>
            </a:r>
            <a:endParaRPr lang="en-GB" dirty="0"/>
          </a:p>
        </p:txBody>
      </p:sp>
      <p:sp>
        <p:nvSpPr>
          <p:cNvPr id="143" name="Rectangle 137"/>
          <p:cNvSpPr>
            <a:spLocks noChangeArrowheads="1"/>
          </p:cNvSpPr>
          <p:nvPr/>
        </p:nvSpPr>
        <p:spPr bwMode="auto">
          <a:xfrm>
            <a:off x="3923819" y="6964364"/>
            <a:ext cx="6091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v</a:t>
            </a:r>
            <a:endParaRPr kumimoji="0" lang="en-US" alt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sp>
        <p:nvSpPr>
          <p:cNvPr id="145" name="Rectangle 139"/>
          <p:cNvSpPr>
            <a:spLocks noChangeArrowheads="1"/>
          </p:cNvSpPr>
          <p:nvPr/>
        </p:nvSpPr>
        <p:spPr bwMode="auto">
          <a:xfrm>
            <a:off x="4100032" y="6964364"/>
            <a:ext cx="5610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. </a:t>
            </a:r>
            <a:endParaRPr kumimoji="0" lang="en-US" alt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sp>
        <p:nvSpPr>
          <p:cNvPr id="146" name="Rectangle 140"/>
          <p:cNvSpPr>
            <a:spLocks noChangeArrowheads="1"/>
          </p:cNvSpPr>
          <p:nvPr/>
        </p:nvSpPr>
        <p:spPr bwMode="auto">
          <a:xfrm>
            <a:off x="1834669" y="1385889"/>
            <a:ext cx="65" cy="30777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sp>
        <p:nvSpPr>
          <p:cNvPr id="147" name="Rectangle 141"/>
          <p:cNvSpPr>
            <a:spLocks noChangeArrowheads="1"/>
          </p:cNvSpPr>
          <p:nvPr/>
        </p:nvSpPr>
        <p:spPr bwMode="auto">
          <a:xfrm>
            <a:off x="2945919" y="1385889"/>
            <a:ext cx="65" cy="30777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sp>
        <p:nvSpPr>
          <p:cNvPr id="148" name="Rectangle 142"/>
          <p:cNvSpPr>
            <a:spLocks noChangeArrowheads="1"/>
          </p:cNvSpPr>
          <p:nvPr/>
        </p:nvSpPr>
        <p:spPr bwMode="auto">
          <a:xfrm>
            <a:off x="5181119" y="1385889"/>
            <a:ext cx="6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380789"/>
              </p:ext>
            </p:extLst>
          </p:nvPr>
        </p:nvGraphicFramePr>
        <p:xfrm>
          <a:off x="3315269" y="5025142"/>
          <a:ext cx="6683170" cy="929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28226">
                  <a:extLst>
                    <a:ext uri="{9D8B030D-6E8A-4147-A177-3AD203B41FA5}">
                      <a16:colId xmlns:a16="http://schemas.microsoft.com/office/drawing/2014/main" val="2748816243"/>
                    </a:ext>
                  </a:extLst>
                </a:gridCol>
                <a:gridCol w="1778854">
                  <a:extLst>
                    <a:ext uri="{9D8B030D-6E8A-4147-A177-3AD203B41FA5}">
                      <a16:colId xmlns:a16="http://schemas.microsoft.com/office/drawing/2014/main" val="1057604756"/>
                    </a:ext>
                  </a:extLst>
                </a:gridCol>
                <a:gridCol w="2876090">
                  <a:extLst>
                    <a:ext uri="{9D8B030D-6E8A-4147-A177-3AD203B41FA5}">
                      <a16:colId xmlns:a16="http://schemas.microsoft.com/office/drawing/2014/main" val="519583928"/>
                    </a:ext>
                  </a:extLst>
                </a:gridCol>
              </a:tblGrid>
              <a:tr h="299276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 smtClean="0">
                          <a:solidFill>
                            <a:schemeClr val="bg1"/>
                          </a:solidFill>
                          <a:effectLst/>
                          <a:latin typeface="Mulish" pitchFamily="2" charset="0"/>
                        </a:rPr>
                        <a:t>Empagliflozin Mean (SE)</a:t>
                      </a:r>
                      <a:endParaRPr lang="en-GB" sz="1800" b="1" i="0" u="none" strike="noStrike" dirty="0">
                        <a:solidFill>
                          <a:schemeClr val="bg1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 smtClean="0">
                          <a:solidFill>
                            <a:schemeClr val="bg1"/>
                          </a:solidFill>
                          <a:effectLst/>
                          <a:latin typeface="Mulish" pitchFamily="2" charset="0"/>
                        </a:rPr>
                        <a:t>Placebo</a:t>
                      </a:r>
                    </a:p>
                    <a:p>
                      <a:pPr marL="0" marR="0" lvl="0" indent="0" algn="ctr" defTabSz="91427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u="none" strike="noStrike" dirty="0" smtClean="0">
                          <a:solidFill>
                            <a:schemeClr val="bg1"/>
                          </a:solidFill>
                          <a:effectLst/>
                          <a:latin typeface="Mulish" pitchFamily="2" charset="0"/>
                        </a:rPr>
                        <a:t>Mean (SE)</a:t>
                      </a:r>
                      <a:endParaRPr lang="en-GB" sz="1800" b="1" i="0" u="none" strike="noStrike" dirty="0" smtClean="0">
                        <a:solidFill>
                          <a:schemeClr val="bg1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effectLst/>
                          <a:latin typeface="Mulish" pitchFamily="2" charset="0"/>
                        </a:rPr>
                        <a:t>Difference (95% CI)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4793826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solidFill>
                            <a:srgbClr val="CE08A8"/>
                          </a:solidFill>
                          <a:effectLst/>
                          <a:latin typeface="Mulish" pitchFamily="2" charset="0"/>
                        </a:rPr>
                        <a:t>-1.37 (0.08)</a:t>
                      </a:r>
                      <a:endParaRPr lang="en-US" sz="2400" b="0" i="0" u="none" strike="noStrike" dirty="0">
                        <a:solidFill>
                          <a:srgbClr val="CE08A8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Mulish" pitchFamily="2" charset="0"/>
                        </a:rPr>
                        <a:t>-2.75 (0.08)</a:t>
                      </a:r>
                      <a:endParaRPr lang="en-US" sz="2400" b="0" i="0" u="none" strike="noStrike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u="none" strike="noStrike" dirty="0">
                          <a:effectLst/>
                          <a:latin typeface="Mulish" pitchFamily="2" charset="0"/>
                        </a:rPr>
                        <a:t>1.37 (1.16, 1.59)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2205739"/>
                  </a:ext>
                </a:extLst>
              </a:tr>
            </a:tbl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2050661" y="1524002"/>
            <a:ext cx="7681810" cy="5440362"/>
            <a:chOff x="2931744" y="2146301"/>
            <a:chExt cx="5549963" cy="3631915"/>
          </a:xfrm>
          <a:solidFill>
            <a:srgbClr val="C8568A"/>
          </a:solidFill>
        </p:grpSpPr>
        <p:sp>
          <p:nvSpPr>
            <p:cNvPr id="8" name="Line 5"/>
            <p:cNvSpPr>
              <a:spLocks noChangeShapeType="1"/>
            </p:cNvSpPr>
            <p:nvPr/>
          </p:nvSpPr>
          <p:spPr bwMode="auto">
            <a:xfrm flipV="1">
              <a:off x="3684815" y="2227263"/>
              <a:ext cx="1586" cy="2897716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3" name="Line 7"/>
            <p:cNvSpPr>
              <a:spLocks noChangeShapeType="1"/>
            </p:cNvSpPr>
            <p:nvPr/>
          </p:nvSpPr>
          <p:spPr bwMode="auto">
            <a:xfrm flipH="1">
              <a:off x="3610201" y="4691063"/>
              <a:ext cx="76200" cy="0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auto">
            <a:xfrm flipH="1">
              <a:off x="3610201" y="3870326"/>
              <a:ext cx="76200" cy="0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5" name="Line 9"/>
            <p:cNvSpPr>
              <a:spLocks noChangeShapeType="1"/>
            </p:cNvSpPr>
            <p:nvPr/>
          </p:nvSpPr>
          <p:spPr bwMode="auto">
            <a:xfrm flipH="1">
              <a:off x="3610201" y="3049588"/>
              <a:ext cx="76200" cy="0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6" name="Line 10"/>
            <p:cNvSpPr>
              <a:spLocks noChangeShapeType="1"/>
            </p:cNvSpPr>
            <p:nvPr/>
          </p:nvSpPr>
          <p:spPr bwMode="auto">
            <a:xfrm flipH="1">
              <a:off x="3610201" y="2227263"/>
              <a:ext cx="76200" cy="0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3275331" y="4616451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5</a:t>
              </a:r>
              <a:endParaRPr kumimoji="0" lang="en-US" altLang="en-US" sz="3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19" name="Rectangle 13"/>
            <p:cNvSpPr>
              <a:spLocks noChangeArrowheads="1"/>
            </p:cNvSpPr>
            <p:nvPr/>
          </p:nvSpPr>
          <p:spPr bwMode="auto">
            <a:xfrm>
              <a:off x="3275331" y="3795713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</a:t>
              </a:r>
              <a:endParaRPr kumimoji="0" lang="en-US" altLang="en-US" sz="3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20" name="Rectangle 14"/>
            <p:cNvSpPr>
              <a:spLocks noChangeArrowheads="1"/>
            </p:cNvSpPr>
            <p:nvPr/>
          </p:nvSpPr>
          <p:spPr bwMode="auto">
            <a:xfrm>
              <a:off x="3275331" y="2973388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5</a:t>
              </a:r>
              <a:endParaRPr kumimoji="0" lang="en-US" altLang="en-US" sz="3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21" name="Rectangle 15"/>
            <p:cNvSpPr>
              <a:spLocks noChangeArrowheads="1"/>
            </p:cNvSpPr>
            <p:nvPr/>
          </p:nvSpPr>
          <p:spPr bwMode="auto">
            <a:xfrm>
              <a:off x="3275331" y="2152651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40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35" name="Line 29"/>
            <p:cNvSpPr>
              <a:spLocks noChangeShapeType="1"/>
            </p:cNvSpPr>
            <p:nvPr/>
          </p:nvSpPr>
          <p:spPr bwMode="auto">
            <a:xfrm flipV="1">
              <a:off x="3686401" y="4837642"/>
              <a:ext cx="57150" cy="82550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36" name="Line 30"/>
            <p:cNvSpPr>
              <a:spLocks noChangeShapeType="1"/>
            </p:cNvSpPr>
            <p:nvPr/>
          </p:nvSpPr>
          <p:spPr bwMode="auto">
            <a:xfrm flipH="1">
              <a:off x="3627664" y="4920192"/>
              <a:ext cx="58738" cy="80963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37" name="Line 31"/>
            <p:cNvSpPr>
              <a:spLocks noChangeShapeType="1"/>
            </p:cNvSpPr>
            <p:nvPr/>
          </p:nvSpPr>
          <p:spPr bwMode="auto">
            <a:xfrm flipV="1">
              <a:off x="3686401" y="4755092"/>
              <a:ext cx="57150" cy="82550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38" name="Line 32"/>
            <p:cNvSpPr>
              <a:spLocks noChangeShapeType="1"/>
            </p:cNvSpPr>
            <p:nvPr/>
          </p:nvSpPr>
          <p:spPr bwMode="auto">
            <a:xfrm flipH="1">
              <a:off x="3627664" y="4837642"/>
              <a:ext cx="58738" cy="82550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39" name="Line 33"/>
            <p:cNvSpPr>
              <a:spLocks noChangeShapeType="1"/>
            </p:cNvSpPr>
            <p:nvPr/>
          </p:nvSpPr>
          <p:spPr bwMode="auto">
            <a:xfrm flipV="1">
              <a:off x="3686401" y="4632854"/>
              <a:ext cx="0" cy="204788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0" name="Line 34"/>
            <p:cNvSpPr>
              <a:spLocks noChangeShapeType="1"/>
            </p:cNvSpPr>
            <p:nvPr/>
          </p:nvSpPr>
          <p:spPr bwMode="auto">
            <a:xfrm flipV="1">
              <a:off x="3686401" y="4920192"/>
              <a:ext cx="0" cy="204788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1" name="Line 35"/>
            <p:cNvSpPr>
              <a:spLocks noChangeShapeType="1"/>
            </p:cNvSpPr>
            <p:nvPr/>
          </p:nvSpPr>
          <p:spPr bwMode="auto">
            <a:xfrm>
              <a:off x="3856264" y="5124979"/>
              <a:ext cx="4100513" cy="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2" name="Line 36"/>
            <p:cNvSpPr>
              <a:spLocks noChangeShapeType="1"/>
            </p:cNvSpPr>
            <p:nvPr/>
          </p:nvSpPr>
          <p:spPr bwMode="auto">
            <a:xfrm>
              <a:off x="3856264" y="5124979"/>
              <a:ext cx="0" cy="7620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3" name="Line 37"/>
            <p:cNvSpPr>
              <a:spLocks noChangeShapeType="1"/>
            </p:cNvSpPr>
            <p:nvPr/>
          </p:nvSpPr>
          <p:spPr bwMode="auto">
            <a:xfrm>
              <a:off x="4084864" y="5124979"/>
              <a:ext cx="0" cy="7620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4" name="Line 38"/>
            <p:cNvSpPr>
              <a:spLocks noChangeShapeType="1"/>
            </p:cNvSpPr>
            <p:nvPr/>
          </p:nvSpPr>
          <p:spPr bwMode="auto">
            <a:xfrm>
              <a:off x="4540476" y="5124979"/>
              <a:ext cx="0" cy="7620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5" name="Line 39"/>
            <p:cNvSpPr>
              <a:spLocks noChangeShapeType="1"/>
            </p:cNvSpPr>
            <p:nvPr/>
          </p:nvSpPr>
          <p:spPr bwMode="auto">
            <a:xfrm>
              <a:off x="5223101" y="5124979"/>
              <a:ext cx="0" cy="7620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6" name="Line 40"/>
            <p:cNvSpPr>
              <a:spLocks noChangeShapeType="1"/>
            </p:cNvSpPr>
            <p:nvPr/>
          </p:nvSpPr>
          <p:spPr bwMode="auto">
            <a:xfrm>
              <a:off x="5905726" y="5124979"/>
              <a:ext cx="0" cy="7620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7" name="Line 41"/>
            <p:cNvSpPr>
              <a:spLocks noChangeShapeType="1"/>
            </p:cNvSpPr>
            <p:nvPr/>
          </p:nvSpPr>
          <p:spPr bwMode="auto">
            <a:xfrm>
              <a:off x="6589939" y="5124979"/>
              <a:ext cx="0" cy="7620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8" name="Line 42"/>
            <p:cNvSpPr>
              <a:spLocks noChangeShapeType="1"/>
            </p:cNvSpPr>
            <p:nvPr/>
          </p:nvSpPr>
          <p:spPr bwMode="auto">
            <a:xfrm>
              <a:off x="7272564" y="5124979"/>
              <a:ext cx="0" cy="7620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9" name="Line 43"/>
            <p:cNvSpPr>
              <a:spLocks noChangeShapeType="1"/>
            </p:cNvSpPr>
            <p:nvPr/>
          </p:nvSpPr>
          <p:spPr bwMode="auto">
            <a:xfrm>
              <a:off x="7956776" y="5124979"/>
              <a:ext cx="0" cy="7620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50" name="Rectangle 44"/>
            <p:cNvSpPr>
              <a:spLocks noChangeArrowheads="1"/>
            </p:cNvSpPr>
            <p:nvPr/>
          </p:nvSpPr>
          <p:spPr bwMode="auto">
            <a:xfrm>
              <a:off x="3816576" y="5272617"/>
              <a:ext cx="137858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1" name="Rectangle 45"/>
            <p:cNvSpPr>
              <a:spLocks noChangeArrowheads="1"/>
            </p:cNvSpPr>
            <p:nvPr/>
          </p:nvSpPr>
          <p:spPr bwMode="auto">
            <a:xfrm>
              <a:off x="4045176" y="5272617"/>
              <a:ext cx="137858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2" name="Rectangle 46"/>
            <p:cNvSpPr>
              <a:spLocks noChangeArrowheads="1"/>
            </p:cNvSpPr>
            <p:nvPr/>
          </p:nvSpPr>
          <p:spPr bwMode="auto">
            <a:xfrm>
              <a:off x="4500789" y="5272617"/>
              <a:ext cx="137858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6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3" name="Rectangle 47"/>
            <p:cNvSpPr>
              <a:spLocks noChangeArrowheads="1"/>
            </p:cNvSpPr>
            <p:nvPr/>
          </p:nvSpPr>
          <p:spPr bwMode="auto">
            <a:xfrm>
              <a:off x="5145314" y="5272617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2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4" name="Rectangle 48"/>
            <p:cNvSpPr>
              <a:spLocks noChangeArrowheads="1"/>
            </p:cNvSpPr>
            <p:nvPr/>
          </p:nvSpPr>
          <p:spPr bwMode="auto">
            <a:xfrm>
              <a:off x="5827939" y="5272617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8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5" name="Rectangle 49"/>
            <p:cNvSpPr>
              <a:spLocks noChangeArrowheads="1"/>
            </p:cNvSpPr>
            <p:nvPr/>
          </p:nvSpPr>
          <p:spPr bwMode="auto">
            <a:xfrm>
              <a:off x="6512151" y="5272617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4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6" name="Rectangle 50"/>
            <p:cNvSpPr>
              <a:spLocks noChangeArrowheads="1"/>
            </p:cNvSpPr>
            <p:nvPr/>
          </p:nvSpPr>
          <p:spPr bwMode="auto">
            <a:xfrm>
              <a:off x="7194776" y="5272617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7" name="Rectangle 51"/>
            <p:cNvSpPr>
              <a:spLocks noChangeArrowheads="1"/>
            </p:cNvSpPr>
            <p:nvPr/>
          </p:nvSpPr>
          <p:spPr bwMode="auto">
            <a:xfrm>
              <a:off x="7878989" y="5272617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6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8" name="Rectangle 52"/>
            <p:cNvSpPr>
              <a:spLocks noChangeArrowheads="1"/>
            </p:cNvSpPr>
            <p:nvPr/>
          </p:nvSpPr>
          <p:spPr bwMode="auto">
            <a:xfrm>
              <a:off x="5705701" y="5501217"/>
              <a:ext cx="79348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Months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9" name="Line 53"/>
            <p:cNvSpPr>
              <a:spLocks noChangeShapeType="1"/>
            </p:cNvSpPr>
            <p:nvPr/>
          </p:nvSpPr>
          <p:spPr bwMode="auto">
            <a:xfrm>
              <a:off x="3686401" y="5124979"/>
              <a:ext cx="169863" cy="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0" name="Line 54"/>
            <p:cNvSpPr>
              <a:spLocks noChangeShapeType="1"/>
            </p:cNvSpPr>
            <p:nvPr/>
          </p:nvSpPr>
          <p:spPr bwMode="auto">
            <a:xfrm>
              <a:off x="7956776" y="5124979"/>
              <a:ext cx="227013" cy="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1" name="Line 55"/>
            <p:cNvSpPr>
              <a:spLocks noChangeShapeType="1"/>
            </p:cNvSpPr>
            <p:nvPr/>
          </p:nvSpPr>
          <p:spPr bwMode="auto">
            <a:xfrm>
              <a:off x="3856264" y="2687638"/>
              <a:ext cx="228600" cy="428625"/>
            </a:xfrm>
            <a:prstGeom prst="line">
              <a:avLst/>
            </a:prstGeom>
            <a:grpFill/>
            <a:ln w="25400">
              <a:solidFill>
                <a:srgbClr val="CE08A8"/>
              </a:solidFill>
              <a:prstDash val="sysDash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2" name="Line 56"/>
            <p:cNvSpPr>
              <a:spLocks noChangeShapeType="1"/>
            </p:cNvSpPr>
            <p:nvPr/>
          </p:nvSpPr>
          <p:spPr bwMode="auto">
            <a:xfrm>
              <a:off x="4084864" y="3116263"/>
              <a:ext cx="455613" cy="30163"/>
            </a:xfrm>
            <a:prstGeom prst="line">
              <a:avLst/>
            </a:prstGeom>
            <a:grpFill/>
            <a:ln w="25400">
              <a:solidFill>
                <a:srgbClr val="CE08A8"/>
              </a:solidFill>
              <a:prstDash val="sysDash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3" name="Line 57"/>
            <p:cNvSpPr>
              <a:spLocks noChangeShapeType="1"/>
            </p:cNvSpPr>
            <p:nvPr/>
          </p:nvSpPr>
          <p:spPr bwMode="auto">
            <a:xfrm>
              <a:off x="4540476" y="3146426"/>
              <a:ext cx="682625" cy="66675"/>
            </a:xfrm>
            <a:prstGeom prst="line">
              <a:avLst/>
            </a:prstGeom>
            <a:grpFill/>
            <a:ln w="25400">
              <a:solidFill>
                <a:srgbClr val="CE08A8"/>
              </a:solidFill>
              <a:prstDash val="sysDash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4" name="Line 58"/>
            <p:cNvSpPr>
              <a:spLocks noChangeShapeType="1"/>
            </p:cNvSpPr>
            <p:nvPr/>
          </p:nvSpPr>
          <p:spPr bwMode="auto">
            <a:xfrm>
              <a:off x="5223101" y="3213101"/>
              <a:ext cx="682625" cy="149225"/>
            </a:xfrm>
            <a:prstGeom prst="line">
              <a:avLst/>
            </a:prstGeom>
            <a:grpFill/>
            <a:ln w="25400">
              <a:solidFill>
                <a:srgbClr val="CE08A8"/>
              </a:solidFill>
              <a:prstDash val="sysDash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5" name="Line 59"/>
            <p:cNvSpPr>
              <a:spLocks noChangeShapeType="1"/>
            </p:cNvSpPr>
            <p:nvPr/>
          </p:nvSpPr>
          <p:spPr bwMode="auto">
            <a:xfrm>
              <a:off x="5905726" y="3362326"/>
              <a:ext cx="684213" cy="82550"/>
            </a:xfrm>
            <a:prstGeom prst="line">
              <a:avLst/>
            </a:prstGeom>
            <a:grpFill/>
            <a:ln w="25400">
              <a:solidFill>
                <a:srgbClr val="CE08A8"/>
              </a:solidFill>
              <a:prstDash val="sysDash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6" name="Line 60"/>
            <p:cNvSpPr>
              <a:spLocks noChangeShapeType="1"/>
            </p:cNvSpPr>
            <p:nvPr/>
          </p:nvSpPr>
          <p:spPr bwMode="auto">
            <a:xfrm>
              <a:off x="6589939" y="3444876"/>
              <a:ext cx="682625" cy="107950"/>
            </a:xfrm>
            <a:prstGeom prst="line">
              <a:avLst/>
            </a:prstGeom>
            <a:grpFill/>
            <a:ln w="25400">
              <a:solidFill>
                <a:srgbClr val="CE08A8"/>
              </a:solidFill>
              <a:prstDash val="sysDash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7" name="Line 61"/>
            <p:cNvSpPr>
              <a:spLocks noChangeShapeType="1"/>
            </p:cNvSpPr>
            <p:nvPr/>
          </p:nvSpPr>
          <p:spPr bwMode="auto">
            <a:xfrm>
              <a:off x="7272564" y="3552826"/>
              <a:ext cx="684213" cy="107950"/>
            </a:xfrm>
            <a:prstGeom prst="line">
              <a:avLst/>
            </a:prstGeom>
            <a:grpFill/>
            <a:ln w="25400">
              <a:solidFill>
                <a:srgbClr val="CE08A8"/>
              </a:solidFill>
              <a:prstDash val="sysDash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8" name="Line 62"/>
            <p:cNvSpPr>
              <a:spLocks noChangeShapeType="1"/>
            </p:cNvSpPr>
            <p:nvPr/>
          </p:nvSpPr>
          <p:spPr bwMode="auto">
            <a:xfrm>
              <a:off x="3856264" y="2700338"/>
              <a:ext cx="228600" cy="66675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9" name="Line 63"/>
            <p:cNvSpPr>
              <a:spLocks noChangeShapeType="1"/>
            </p:cNvSpPr>
            <p:nvPr/>
          </p:nvSpPr>
          <p:spPr bwMode="auto">
            <a:xfrm>
              <a:off x="4084864" y="2767013"/>
              <a:ext cx="455613" cy="187325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0" name="Line 64"/>
            <p:cNvSpPr>
              <a:spLocks noChangeShapeType="1"/>
            </p:cNvSpPr>
            <p:nvPr/>
          </p:nvSpPr>
          <p:spPr bwMode="auto">
            <a:xfrm>
              <a:off x="4540476" y="2954338"/>
              <a:ext cx="682625" cy="157163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1" name="Line 65"/>
            <p:cNvSpPr>
              <a:spLocks noChangeShapeType="1"/>
            </p:cNvSpPr>
            <p:nvPr/>
          </p:nvSpPr>
          <p:spPr bwMode="auto">
            <a:xfrm>
              <a:off x="5223101" y="3111501"/>
              <a:ext cx="682625" cy="249238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2" name="Line 66"/>
            <p:cNvSpPr>
              <a:spLocks noChangeShapeType="1"/>
            </p:cNvSpPr>
            <p:nvPr/>
          </p:nvSpPr>
          <p:spPr bwMode="auto">
            <a:xfrm>
              <a:off x="5905726" y="3360738"/>
              <a:ext cx="684213" cy="158750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3" name="Line 67"/>
            <p:cNvSpPr>
              <a:spLocks noChangeShapeType="1"/>
            </p:cNvSpPr>
            <p:nvPr/>
          </p:nvSpPr>
          <p:spPr bwMode="auto">
            <a:xfrm>
              <a:off x="6589939" y="3519488"/>
              <a:ext cx="682625" cy="153988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4" name="Line 68"/>
            <p:cNvSpPr>
              <a:spLocks noChangeShapeType="1"/>
            </p:cNvSpPr>
            <p:nvPr/>
          </p:nvSpPr>
          <p:spPr bwMode="auto">
            <a:xfrm>
              <a:off x="7272564" y="3673476"/>
              <a:ext cx="684213" cy="182563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5" name="Freeform 69"/>
            <p:cNvSpPr>
              <a:spLocks/>
            </p:cNvSpPr>
            <p:nvPr/>
          </p:nvSpPr>
          <p:spPr bwMode="auto">
            <a:xfrm>
              <a:off x="3783239" y="2630488"/>
              <a:ext cx="112713" cy="112713"/>
            </a:xfrm>
            <a:custGeom>
              <a:avLst/>
              <a:gdLst>
                <a:gd name="T0" fmla="*/ 0 w 71"/>
                <a:gd name="T1" fmla="*/ 36 h 71"/>
                <a:gd name="T2" fmla="*/ 0 w 71"/>
                <a:gd name="T3" fmla="*/ 32 h 71"/>
                <a:gd name="T4" fmla="*/ 3 w 71"/>
                <a:gd name="T5" fmla="*/ 22 h 71"/>
                <a:gd name="T6" fmla="*/ 10 w 71"/>
                <a:gd name="T7" fmla="*/ 11 h 71"/>
                <a:gd name="T8" fmla="*/ 21 w 71"/>
                <a:gd name="T9" fmla="*/ 3 h 71"/>
                <a:gd name="T10" fmla="*/ 32 w 71"/>
                <a:gd name="T11" fmla="*/ 0 h 71"/>
                <a:gd name="T12" fmla="*/ 35 w 71"/>
                <a:gd name="T13" fmla="*/ 0 h 71"/>
                <a:gd name="T14" fmla="*/ 39 w 71"/>
                <a:gd name="T15" fmla="*/ 0 h 71"/>
                <a:gd name="T16" fmla="*/ 49 w 71"/>
                <a:gd name="T17" fmla="*/ 3 h 71"/>
                <a:gd name="T18" fmla="*/ 61 w 71"/>
                <a:gd name="T19" fmla="*/ 11 h 71"/>
                <a:gd name="T20" fmla="*/ 68 w 71"/>
                <a:gd name="T21" fmla="*/ 22 h 71"/>
                <a:gd name="T22" fmla="*/ 71 w 71"/>
                <a:gd name="T23" fmla="*/ 32 h 71"/>
                <a:gd name="T24" fmla="*/ 71 w 71"/>
                <a:gd name="T25" fmla="*/ 36 h 71"/>
                <a:gd name="T26" fmla="*/ 71 w 71"/>
                <a:gd name="T27" fmla="*/ 39 h 71"/>
                <a:gd name="T28" fmla="*/ 68 w 71"/>
                <a:gd name="T29" fmla="*/ 49 h 71"/>
                <a:gd name="T30" fmla="*/ 61 w 71"/>
                <a:gd name="T31" fmla="*/ 61 h 71"/>
                <a:gd name="T32" fmla="*/ 49 w 71"/>
                <a:gd name="T33" fmla="*/ 69 h 71"/>
                <a:gd name="T34" fmla="*/ 39 w 71"/>
                <a:gd name="T35" fmla="*/ 71 h 71"/>
                <a:gd name="T36" fmla="*/ 35 w 71"/>
                <a:gd name="T37" fmla="*/ 71 h 71"/>
                <a:gd name="T38" fmla="*/ 32 w 71"/>
                <a:gd name="T39" fmla="*/ 71 h 71"/>
                <a:gd name="T40" fmla="*/ 21 w 71"/>
                <a:gd name="T41" fmla="*/ 69 h 71"/>
                <a:gd name="T42" fmla="*/ 10 w 71"/>
                <a:gd name="T43" fmla="*/ 61 h 71"/>
                <a:gd name="T44" fmla="*/ 3 w 71"/>
                <a:gd name="T45" fmla="*/ 49 h 71"/>
                <a:gd name="T46" fmla="*/ 0 w 71"/>
                <a:gd name="T47" fmla="*/ 39 h 71"/>
                <a:gd name="T48" fmla="*/ 0 w 71"/>
                <a:gd name="T49" fmla="*/ 36 h 71"/>
                <a:gd name="T50" fmla="*/ 0 w 71"/>
                <a:gd name="T51" fmla="*/ 3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1" h="71">
                  <a:moveTo>
                    <a:pt x="0" y="36"/>
                  </a:moveTo>
                  <a:lnTo>
                    <a:pt x="0" y="32"/>
                  </a:lnTo>
                  <a:lnTo>
                    <a:pt x="3" y="22"/>
                  </a:lnTo>
                  <a:lnTo>
                    <a:pt x="10" y="11"/>
                  </a:lnTo>
                  <a:lnTo>
                    <a:pt x="21" y="3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9" y="3"/>
                  </a:lnTo>
                  <a:lnTo>
                    <a:pt x="61" y="11"/>
                  </a:lnTo>
                  <a:lnTo>
                    <a:pt x="68" y="22"/>
                  </a:lnTo>
                  <a:lnTo>
                    <a:pt x="71" y="32"/>
                  </a:lnTo>
                  <a:lnTo>
                    <a:pt x="71" y="36"/>
                  </a:lnTo>
                  <a:lnTo>
                    <a:pt x="71" y="39"/>
                  </a:lnTo>
                  <a:lnTo>
                    <a:pt x="68" y="49"/>
                  </a:lnTo>
                  <a:lnTo>
                    <a:pt x="61" y="61"/>
                  </a:lnTo>
                  <a:lnTo>
                    <a:pt x="49" y="69"/>
                  </a:lnTo>
                  <a:lnTo>
                    <a:pt x="39" y="71"/>
                  </a:lnTo>
                  <a:lnTo>
                    <a:pt x="35" y="71"/>
                  </a:lnTo>
                  <a:lnTo>
                    <a:pt x="32" y="71"/>
                  </a:lnTo>
                  <a:lnTo>
                    <a:pt x="21" y="69"/>
                  </a:lnTo>
                  <a:lnTo>
                    <a:pt x="10" y="61"/>
                  </a:lnTo>
                  <a:lnTo>
                    <a:pt x="3" y="49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2540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6" name="Freeform 70"/>
            <p:cNvSpPr>
              <a:spLocks/>
            </p:cNvSpPr>
            <p:nvPr/>
          </p:nvSpPr>
          <p:spPr bwMode="auto">
            <a:xfrm>
              <a:off x="3783239" y="2630488"/>
              <a:ext cx="112713" cy="112713"/>
            </a:xfrm>
            <a:custGeom>
              <a:avLst/>
              <a:gdLst>
                <a:gd name="T0" fmla="*/ 0 w 178"/>
                <a:gd name="T1" fmla="*/ 89 h 178"/>
                <a:gd name="T2" fmla="*/ 0 w 178"/>
                <a:gd name="T3" fmla="*/ 80 h 178"/>
                <a:gd name="T4" fmla="*/ 7 w 178"/>
                <a:gd name="T5" fmla="*/ 54 h 178"/>
                <a:gd name="T6" fmla="*/ 26 w 178"/>
                <a:gd name="T7" fmla="*/ 26 h 178"/>
                <a:gd name="T8" fmla="*/ 54 w 178"/>
                <a:gd name="T9" fmla="*/ 7 h 178"/>
                <a:gd name="T10" fmla="*/ 80 w 178"/>
                <a:gd name="T11" fmla="*/ 0 h 178"/>
                <a:gd name="T12" fmla="*/ 89 w 178"/>
                <a:gd name="T13" fmla="*/ 0 h 178"/>
                <a:gd name="T14" fmla="*/ 97 w 178"/>
                <a:gd name="T15" fmla="*/ 0 h 178"/>
                <a:gd name="T16" fmla="*/ 123 w 178"/>
                <a:gd name="T17" fmla="*/ 7 h 178"/>
                <a:gd name="T18" fmla="*/ 152 w 178"/>
                <a:gd name="T19" fmla="*/ 26 h 178"/>
                <a:gd name="T20" fmla="*/ 171 w 178"/>
                <a:gd name="T21" fmla="*/ 54 h 178"/>
                <a:gd name="T22" fmla="*/ 178 w 178"/>
                <a:gd name="T23" fmla="*/ 80 h 178"/>
                <a:gd name="T24" fmla="*/ 178 w 178"/>
                <a:gd name="T25" fmla="*/ 89 h 178"/>
                <a:gd name="T26" fmla="*/ 178 w 178"/>
                <a:gd name="T27" fmla="*/ 97 h 178"/>
                <a:gd name="T28" fmla="*/ 171 w 178"/>
                <a:gd name="T29" fmla="*/ 123 h 178"/>
                <a:gd name="T30" fmla="*/ 152 w 178"/>
                <a:gd name="T31" fmla="*/ 152 h 178"/>
                <a:gd name="T32" fmla="*/ 123 w 178"/>
                <a:gd name="T33" fmla="*/ 171 h 178"/>
                <a:gd name="T34" fmla="*/ 97 w 178"/>
                <a:gd name="T35" fmla="*/ 178 h 178"/>
                <a:gd name="T36" fmla="*/ 89 w 178"/>
                <a:gd name="T37" fmla="*/ 178 h 178"/>
                <a:gd name="T38" fmla="*/ 80 w 178"/>
                <a:gd name="T39" fmla="*/ 178 h 178"/>
                <a:gd name="T40" fmla="*/ 54 w 178"/>
                <a:gd name="T41" fmla="*/ 171 h 178"/>
                <a:gd name="T42" fmla="*/ 26 w 178"/>
                <a:gd name="T43" fmla="*/ 152 h 178"/>
                <a:gd name="T44" fmla="*/ 7 w 178"/>
                <a:gd name="T45" fmla="*/ 123 h 178"/>
                <a:gd name="T46" fmla="*/ 0 w 178"/>
                <a:gd name="T47" fmla="*/ 97 h 178"/>
                <a:gd name="T48" fmla="*/ 0 w 178"/>
                <a:gd name="T49" fmla="*/ 8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8" h="178">
                  <a:moveTo>
                    <a:pt x="0" y="89"/>
                  </a:moveTo>
                  <a:lnTo>
                    <a:pt x="0" y="80"/>
                  </a:lnTo>
                  <a:lnTo>
                    <a:pt x="7" y="54"/>
                  </a:lnTo>
                  <a:lnTo>
                    <a:pt x="26" y="26"/>
                  </a:lnTo>
                  <a:lnTo>
                    <a:pt x="54" y="7"/>
                  </a:lnTo>
                  <a:lnTo>
                    <a:pt x="80" y="0"/>
                  </a:lnTo>
                  <a:lnTo>
                    <a:pt x="89" y="0"/>
                  </a:lnTo>
                  <a:lnTo>
                    <a:pt x="97" y="0"/>
                  </a:lnTo>
                  <a:lnTo>
                    <a:pt x="123" y="7"/>
                  </a:lnTo>
                  <a:lnTo>
                    <a:pt x="152" y="26"/>
                  </a:lnTo>
                  <a:lnTo>
                    <a:pt x="171" y="54"/>
                  </a:lnTo>
                  <a:lnTo>
                    <a:pt x="178" y="80"/>
                  </a:lnTo>
                  <a:lnTo>
                    <a:pt x="178" y="89"/>
                  </a:lnTo>
                  <a:lnTo>
                    <a:pt x="178" y="97"/>
                  </a:lnTo>
                  <a:lnTo>
                    <a:pt x="171" y="123"/>
                  </a:lnTo>
                  <a:lnTo>
                    <a:pt x="152" y="152"/>
                  </a:lnTo>
                  <a:lnTo>
                    <a:pt x="123" y="171"/>
                  </a:lnTo>
                  <a:lnTo>
                    <a:pt x="97" y="178"/>
                  </a:lnTo>
                  <a:lnTo>
                    <a:pt x="89" y="178"/>
                  </a:lnTo>
                  <a:lnTo>
                    <a:pt x="80" y="178"/>
                  </a:lnTo>
                  <a:lnTo>
                    <a:pt x="54" y="171"/>
                  </a:lnTo>
                  <a:lnTo>
                    <a:pt x="26" y="152"/>
                  </a:lnTo>
                  <a:lnTo>
                    <a:pt x="7" y="123"/>
                  </a:lnTo>
                  <a:lnTo>
                    <a:pt x="0" y="97"/>
                  </a:lnTo>
                  <a:lnTo>
                    <a:pt x="0" y="89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7" name="Freeform 71"/>
            <p:cNvSpPr>
              <a:spLocks/>
            </p:cNvSpPr>
            <p:nvPr/>
          </p:nvSpPr>
          <p:spPr bwMode="auto">
            <a:xfrm>
              <a:off x="3816576" y="2644776"/>
              <a:ext cx="112713" cy="112713"/>
            </a:xfrm>
            <a:custGeom>
              <a:avLst/>
              <a:gdLst>
                <a:gd name="T0" fmla="*/ 0 w 71"/>
                <a:gd name="T1" fmla="*/ 35 h 71"/>
                <a:gd name="T2" fmla="*/ 0 w 71"/>
                <a:gd name="T3" fmla="*/ 32 h 71"/>
                <a:gd name="T4" fmla="*/ 3 w 71"/>
                <a:gd name="T5" fmla="*/ 21 h 71"/>
                <a:gd name="T6" fmla="*/ 10 w 71"/>
                <a:gd name="T7" fmla="*/ 10 h 71"/>
                <a:gd name="T8" fmla="*/ 22 w 71"/>
                <a:gd name="T9" fmla="*/ 2 h 71"/>
                <a:gd name="T10" fmla="*/ 33 w 71"/>
                <a:gd name="T11" fmla="*/ 0 h 71"/>
                <a:gd name="T12" fmla="*/ 36 w 71"/>
                <a:gd name="T13" fmla="*/ 0 h 71"/>
                <a:gd name="T14" fmla="*/ 39 w 71"/>
                <a:gd name="T15" fmla="*/ 0 h 71"/>
                <a:gd name="T16" fmla="*/ 50 w 71"/>
                <a:gd name="T17" fmla="*/ 2 h 71"/>
                <a:gd name="T18" fmla="*/ 61 w 71"/>
                <a:gd name="T19" fmla="*/ 10 h 71"/>
                <a:gd name="T20" fmla="*/ 69 w 71"/>
                <a:gd name="T21" fmla="*/ 21 h 71"/>
                <a:gd name="T22" fmla="*/ 71 w 71"/>
                <a:gd name="T23" fmla="*/ 32 h 71"/>
                <a:gd name="T24" fmla="*/ 71 w 71"/>
                <a:gd name="T25" fmla="*/ 35 h 71"/>
                <a:gd name="T26" fmla="*/ 71 w 71"/>
                <a:gd name="T27" fmla="*/ 39 h 71"/>
                <a:gd name="T28" fmla="*/ 69 w 71"/>
                <a:gd name="T29" fmla="*/ 49 h 71"/>
                <a:gd name="T30" fmla="*/ 61 w 71"/>
                <a:gd name="T31" fmla="*/ 60 h 71"/>
                <a:gd name="T32" fmla="*/ 50 w 71"/>
                <a:gd name="T33" fmla="*/ 68 h 71"/>
                <a:gd name="T34" fmla="*/ 39 w 71"/>
                <a:gd name="T35" fmla="*/ 71 h 71"/>
                <a:gd name="T36" fmla="*/ 36 w 71"/>
                <a:gd name="T37" fmla="*/ 71 h 71"/>
                <a:gd name="T38" fmla="*/ 33 w 71"/>
                <a:gd name="T39" fmla="*/ 71 h 71"/>
                <a:gd name="T40" fmla="*/ 22 w 71"/>
                <a:gd name="T41" fmla="*/ 68 h 71"/>
                <a:gd name="T42" fmla="*/ 10 w 71"/>
                <a:gd name="T43" fmla="*/ 60 h 71"/>
                <a:gd name="T44" fmla="*/ 3 w 71"/>
                <a:gd name="T45" fmla="*/ 49 h 71"/>
                <a:gd name="T46" fmla="*/ 0 w 71"/>
                <a:gd name="T47" fmla="*/ 39 h 71"/>
                <a:gd name="T48" fmla="*/ 0 w 71"/>
                <a:gd name="T49" fmla="*/ 35 h 71"/>
                <a:gd name="T50" fmla="*/ 0 w 71"/>
                <a:gd name="T51" fmla="*/ 35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1" h="71">
                  <a:moveTo>
                    <a:pt x="0" y="35"/>
                  </a:moveTo>
                  <a:lnTo>
                    <a:pt x="0" y="32"/>
                  </a:lnTo>
                  <a:lnTo>
                    <a:pt x="3" y="21"/>
                  </a:lnTo>
                  <a:lnTo>
                    <a:pt x="10" y="10"/>
                  </a:lnTo>
                  <a:lnTo>
                    <a:pt x="22" y="2"/>
                  </a:lnTo>
                  <a:lnTo>
                    <a:pt x="33" y="0"/>
                  </a:lnTo>
                  <a:lnTo>
                    <a:pt x="36" y="0"/>
                  </a:lnTo>
                  <a:lnTo>
                    <a:pt x="39" y="0"/>
                  </a:lnTo>
                  <a:lnTo>
                    <a:pt x="50" y="2"/>
                  </a:lnTo>
                  <a:lnTo>
                    <a:pt x="61" y="10"/>
                  </a:lnTo>
                  <a:lnTo>
                    <a:pt x="69" y="21"/>
                  </a:lnTo>
                  <a:lnTo>
                    <a:pt x="71" y="32"/>
                  </a:lnTo>
                  <a:lnTo>
                    <a:pt x="71" y="35"/>
                  </a:lnTo>
                  <a:lnTo>
                    <a:pt x="71" y="39"/>
                  </a:lnTo>
                  <a:lnTo>
                    <a:pt x="69" y="49"/>
                  </a:lnTo>
                  <a:lnTo>
                    <a:pt x="61" y="60"/>
                  </a:lnTo>
                  <a:lnTo>
                    <a:pt x="50" y="68"/>
                  </a:lnTo>
                  <a:lnTo>
                    <a:pt x="39" y="71"/>
                  </a:lnTo>
                  <a:lnTo>
                    <a:pt x="36" y="71"/>
                  </a:lnTo>
                  <a:lnTo>
                    <a:pt x="33" y="71"/>
                  </a:lnTo>
                  <a:lnTo>
                    <a:pt x="22" y="68"/>
                  </a:lnTo>
                  <a:lnTo>
                    <a:pt x="10" y="60"/>
                  </a:lnTo>
                  <a:lnTo>
                    <a:pt x="3" y="49"/>
                  </a:lnTo>
                  <a:lnTo>
                    <a:pt x="0" y="39"/>
                  </a:lnTo>
                  <a:lnTo>
                    <a:pt x="0" y="35"/>
                  </a:lnTo>
                  <a:lnTo>
                    <a:pt x="0" y="35"/>
                  </a:lnTo>
                  <a:close/>
                </a:path>
              </a:pathLst>
            </a:custGeom>
            <a:grpFill/>
            <a:ln w="25400">
              <a:solidFill>
                <a:srgbClr val="A8769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8" name="Freeform 72"/>
            <p:cNvSpPr>
              <a:spLocks/>
            </p:cNvSpPr>
            <p:nvPr/>
          </p:nvSpPr>
          <p:spPr bwMode="auto">
            <a:xfrm>
              <a:off x="3816576" y="2644776"/>
              <a:ext cx="112713" cy="112713"/>
            </a:xfrm>
            <a:custGeom>
              <a:avLst/>
              <a:gdLst>
                <a:gd name="T0" fmla="*/ 0 w 178"/>
                <a:gd name="T1" fmla="*/ 89 h 178"/>
                <a:gd name="T2" fmla="*/ 0 w 178"/>
                <a:gd name="T3" fmla="*/ 80 h 178"/>
                <a:gd name="T4" fmla="*/ 7 w 178"/>
                <a:gd name="T5" fmla="*/ 54 h 178"/>
                <a:gd name="T6" fmla="*/ 26 w 178"/>
                <a:gd name="T7" fmla="*/ 26 h 178"/>
                <a:gd name="T8" fmla="*/ 55 w 178"/>
                <a:gd name="T9" fmla="*/ 7 h 178"/>
                <a:gd name="T10" fmla="*/ 81 w 178"/>
                <a:gd name="T11" fmla="*/ 0 h 178"/>
                <a:gd name="T12" fmla="*/ 89 w 178"/>
                <a:gd name="T13" fmla="*/ 0 h 178"/>
                <a:gd name="T14" fmla="*/ 98 w 178"/>
                <a:gd name="T15" fmla="*/ 0 h 178"/>
                <a:gd name="T16" fmla="*/ 124 w 178"/>
                <a:gd name="T17" fmla="*/ 7 h 178"/>
                <a:gd name="T18" fmla="*/ 152 w 178"/>
                <a:gd name="T19" fmla="*/ 26 h 178"/>
                <a:gd name="T20" fmla="*/ 171 w 178"/>
                <a:gd name="T21" fmla="*/ 54 h 178"/>
                <a:gd name="T22" fmla="*/ 178 w 178"/>
                <a:gd name="T23" fmla="*/ 80 h 178"/>
                <a:gd name="T24" fmla="*/ 178 w 178"/>
                <a:gd name="T25" fmla="*/ 89 h 178"/>
                <a:gd name="T26" fmla="*/ 178 w 178"/>
                <a:gd name="T27" fmla="*/ 98 h 178"/>
                <a:gd name="T28" fmla="*/ 171 w 178"/>
                <a:gd name="T29" fmla="*/ 123 h 178"/>
                <a:gd name="T30" fmla="*/ 152 w 178"/>
                <a:gd name="T31" fmla="*/ 152 h 178"/>
                <a:gd name="T32" fmla="*/ 124 w 178"/>
                <a:gd name="T33" fmla="*/ 171 h 178"/>
                <a:gd name="T34" fmla="*/ 98 w 178"/>
                <a:gd name="T35" fmla="*/ 178 h 178"/>
                <a:gd name="T36" fmla="*/ 89 w 178"/>
                <a:gd name="T37" fmla="*/ 178 h 178"/>
                <a:gd name="T38" fmla="*/ 81 w 178"/>
                <a:gd name="T39" fmla="*/ 178 h 178"/>
                <a:gd name="T40" fmla="*/ 55 w 178"/>
                <a:gd name="T41" fmla="*/ 171 h 178"/>
                <a:gd name="T42" fmla="*/ 26 w 178"/>
                <a:gd name="T43" fmla="*/ 152 h 178"/>
                <a:gd name="T44" fmla="*/ 7 w 178"/>
                <a:gd name="T45" fmla="*/ 123 h 178"/>
                <a:gd name="T46" fmla="*/ 0 w 178"/>
                <a:gd name="T47" fmla="*/ 98 h 178"/>
                <a:gd name="T48" fmla="*/ 0 w 178"/>
                <a:gd name="T49" fmla="*/ 8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8" h="178">
                  <a:moveTo>
                    <a:pt x="0" y="89"/>
                  </a:moveTo>
                  <a:lnTo>
                    <a:pt x="0" y="80"/>
                  </a:lnTo>
                  <a:lnTo>
                    <a:pt x="7" y="54"/>
                  </a:lnTo>
                  <a:lnTo>
                    <a:pt x="26" y="26"/>
                  </a:lnTo>
                  <a:lnTo>
                    <a:pt x="55" y="7"/>
                  </a:lnTo>
                  <a:lnTo>
                    <a:pt x="81" y="0"/>
                  </a:lnTo>
                  <a:lnTo>
                    <a:pt x="89" y="0"/>
                  </a:lnTo>
                  <a:lnTo>
                    <a:pt x="98" y="0"/>
                  </a:lnTo>
                  <a:lnTo>
                    <a:pt x="124" y="7"/>
                  </a:lnTo>
                  <a:lnTo>
                    <a:pt x="152" y="26"/>
                  </a:lnTo>
                  <a:lnTo>
                    <a:pt x="171" y="54"/>
                  </a:lnTo>
                  <a:lnTo>
                    <a:pt x="178" y="80"/>
                  </a:lnTo>
                  <a:lnTo>
                    <a:pt x="178" y="89"/>
                  </a:lnTo>
                  <a:lnTo>
                    <a:pt x="178" y="98"/>
                  </a:lnTo>
                  <a:lnTo>
                    <a:pt x="171" y="123"/>
                  </a:lnTo>
                  <a:lnTo>
                    <a:pt x="152" y="152"/>
                  </a:lnTo>
                  <a:lnTo>
                    <a:pt x="124" y="171"/>
                  </a:lnTo>
                  <a:lnTo>
                    <a:pt x="98" y="178"/>
                  </a:lnTo>
                  <a:lnTo>
                    <a:pt x="89" y="178"/>
                  </a:lnTo>
                  <a:lnTo>
                    <a:pt x="81" y="178"/>
                  </a:lnTo>
                  <a:lnTo>
                    <a:pt x="55" y="171"/>
                  </a:lnTo>
                  <a:lnTo>
                    <a:pt x="26" y="152"/>
                  </a:lnTo>
                  <a:lnTo>
                    <a:pt x="7" y="123"/>
                  </a:lnTo>
                  <a:lnTo>
                    <a:pt x="0" y="98"/>
                  </a:lnTo>
                  <a:lnTo>
                    <a:pt x="0" y="89"/>
                  </a:lnTo>
                </a:path>
              </a:pathLst>
            </a:cu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9" name="Rectangle 73"/>
            <p:cNvSpPr>
              <a:spLocks noChangeArrowheads="1"/>
            </p:cNvSpPr>
            <p:nvPr/>
          </p:nvSpPr>
          <p:spPr bwMode="auto">
            <a:xfrm>
              <a:off x="4026126" y="3074988"/>
              <a:ext cx="82550" cy="80963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0" name="Rectangle 74"/>
            <p:cNvSpPr>
              <a:spLocks noChangeArrowheads="1"/>
            </p:cNvSpPr>
            <p:nvPr/>
          </p:nvSpPr>
          <p:spPr bwMode="auto">
            <a:xfrm>
              <a:off x="4026126" y="3074988"/>
              <a:ext cx="82550" cy="80963"/>
            </a:xfrm>
            <a:prstGeom prst="rect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1" name="Rectangle 75"/>
            <p:cNvSpPr>
              <a:spLocks noChangeArrowheads="1"/>
            </p:cNvSpPr>
            <p:nvPr/>
          </p:nvSpPr>
          <p:spPr bwMode="auto">
            <a:xfrm>
              <a:off x="4059464" y="2725738"/>
              <a:ext cx="82550" cy="80963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2" name="Rectangle 76"/>
            <p:cNvSpPr>
              <a:spLocks noChangeArrowheads="1"/>
            </p:cNvSpPr>
            <p:nvPr/>
          </p:nvSpPr>
          <p:spPr bwMode="auto">
            <a:xfrm>
              <a:off x="4059464" y="2725738"/>
              <a:ext cx="82550" cy="80963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3" name="Line 77"/>
            <p:cNvSpPr>
              <a:spLocks noChangeShapeType="1"/>
            </p:cNvSpPr>
            <p:nvPr/>
          </p:nvSpPr>
          <p:spPr bwMode="auto">
            <a:xfrm flipV="1">
              <a:off x="4067401" y="3086101"/>
              <a:ext cx="0" cy="60325"/>
            </a:xfrm>
            <a:prstGeom prst="line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4" name="Line 78"/>
            <p:cNvSpPr>
              <a:spLocks noChangeShapeType="1"/>
            </p:cNvSpPr>
            <p:nvPr/>
          </p:nvSpPr>
          <p:spPr bwMode="auto">
            <a:xfrm flipV="1">
              <a:off x="4102326" y="2736851"/>
              <a:ext cx="0" cy="60325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5" name="Rectangle 79"/>
            <p:cNvSpPr>
              <a:spLocks noChangeArrowheads="1"/>
            </p:cNvSpPr>
            <p:nvPr/>
          </p:nvSpPr>
          <p:spPr bwMode="auto">
            <a:xfrm>
              <a:off x="4483326" y="3106738"/>
              <a:ext cx="77788" cy="77788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6" name="Rectangle 80"/>
            <p:cNvSpPr>
              <a:spLocks noChangeArrowheads="1"/>
            </p:cNvSpPr>
            <p:nvPr/>
          </p:nvSpPr>
          <p:spPr bwMode="auto">
            <a:xfrm>
              <a:off x="4483326" y="3106738"/>
              <a:ext cx="77788" cy="77788"/>
            </a:xfrm>
            <a:prstGeom prst="rect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7" name="Rectangle 81"/>
            <p:cNvSpPr>
              <a:spLocks noChangeArrowheads="1"/>
            </p:cNvSpPr>
            <p:nvPr/>
          </p:nvSpPr>
          <p:spPr bwMode="auto">
            <a:xfrm>
              <a:off x="4518251" y="2916238"/>
              <a:ext cx="77788" cy="76200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8" name="Rectangle 82"/>
            <p:cNvSpPr>
              <a:spLocks noChangeArrowheads="1"/>
            </p:cNvSpPr>
            <p:nvPr/>
          </p:nvSpPr>
          <p:spPr bwMode="auto">
            <a:xfrm>
              <a:off x="4518251" y="2916238"/>
              <a:ext cx="77788" cy="762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9" name="Line 83"/>
            <p:cNvSpPr>
              <a:spLocks noChangeShapeType="1"/>
            </p:cNvSpPr>
            <p:nvPr/>
          </p:nvSpPr>
          <p:spPr bwMode="auto">
            <a:xfrm flipV="1">
              <a:off x="4523014" y="3111501"/>
              <a:ext cx="0" cy="68263"/>
            </a:xfrm>
            <a:prstGeom prst="line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0" name="Line 84"/>
            <p:cNvSpPr>
              <a:spLocks noChangeShapeType="1"/>
            </p:cNvSpPr>
            <p:nvPr/>
          </p:nvSpPr>
          <p:spPr bwMode="auto">
            <a:xfrm flipV="1">
              <a:off x="4556351" y="2919413"/>
              <a:ext cx="0" cy="69850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1" name="Rectangle 85"/>
            <p:cNvSpPr>
              <a:spLocks noChangeArrowheads="1"/>
            </p:cNvSpPr>
            <p:nvPr/>
          </p:nvSpPr>
          <p:spPr bwMode="auto">
            <a:xfrm>
              <a:off x="5170714" y="3176588"/>
              <a:ext cx="71438" cy="73025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2" name="Rectangle 86"/>
            <p:cNvSpPr>
              <a:spLocks noChangeArrowheads="1"/>
            </p:cNvSpPr>
            <p:nvPr/>
          </p:nvSpPr>
          <p:spPr bwMode="auto">
            <a:xfrm>
              <a:off x="5170714" y="3176588"/>
              <a:ext cx="71438" cy="73025"/>
            </a:xfrm>
            <a:prstGeom prst="rect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3" name="Rectangle 87"/>
            <p:cNvSpPr>
              <a:spLocks noChangeArrowheads="1"/>
            </p:cNvSpPr>
            <p:nvPr/>
          </p:nvSpPr>
          <p:spPr bwMode="auto">
            <a:xfrm>
              <a:off x="5204051" y="3074988"/>
              <a:ext cx="71438" cy="73025"/>
            </a:xfrm>
            <a:prstGeom prst="rect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4" name="Rectangle 88"/>
            <p:cNvSpPr>
              <a:spLocks noChangeArrowheads="1"/>
            </p:cNvSpPr>
            <p:nvPr/>
          </p:nvSpPr>
          <p:spPr bwMode="auto">
            <a:xfrm>
              <a:off x="5204051" y="3074988"/>
              <a:ext cx="71438" cy="73025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5" name="Line 89"/>
            <p:cNvSpPr>
              <a:spLocks noChangeShapeType="1"/>
            </p:cNvSpPr>
            <p:nvPr/>
          </p:nvSpPr>
          <p:spPr bwMode="auto">
            <a:xfrm flipV="1">
              <a:off x="5205639" y="3173413"/>
              <a:ext cx="0" cy="79375"/>
            </a:xfrm>
            <a:prstGeom prst="line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6" name="Line 90"/>
            <p:cNvSpPr>
              <a:spLocks noChangeShapeType="1"/>
            </p:cNvSpPr>
            <p:nvPr/>
          </p:nvSpPr>
          <p:spPr bwMode="auto">
            <a:xfrm flipV="1">
              <a:off x="5240564" y="3071813"/>
              <a:ext cx="0" cy="79375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7" name="Line 91"/>
            <p:cNvSpPr>
              <a:spLocks noChangeShapeType="1"/>
            </p:cNvSpPr>
            <p:nvPr/>
          </p:nvSpPr>
          <p:spPr bwMode="auto">
            <a:xfrm flipV="1">
              <a:off x="5889851" y="3317876"/>
              <a:ext cx="0" cy="88900"/>
            </a:xfrm>
            <a:prstGeom prst="line">
              <a:avLst/>
            </a:prstGeom>
            <a:grpFill/>
            <a:ln w="25400">
              <a:solidFill>
                <a:schemeClr val="accent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8" name="Line 92"/>
            <p:cNvSpPr>
              <a:spLocks noChangeShapeType="1"/>
            </p:cNvSpPr>
            <p:nvPr/>
          </p:nvSpPr>
          <p:spPr bwMode="auto">
            <a:xfrm flipV="1">
              <a:off x="5923189" y="3316288"/>
              <a:ext cx="0" cy="88900"/>
            </a:xfrm>
            <a:prstGeom prst="line">
              <a:avLst/>
            </a:prstGeom>
            <a:grpFill/>
            <a:ln w="25400">
              <a:solidFill>
                <a:schemeClr val="accent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9" name="Rectangle 93"/>
            <p:cNvSpPr>
              <a:spLocks noChangeArrowheads="1"/>
            </p:cNvSpPr>
            <p:nvPr/>
          </p:nvSpPr>
          <p:spPr bwMode="auto">
            <a:xfrm>
              <a:off x="5854926" y="3328988"/>
              <a:ext cx="68263" cy="66675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0" name="Rectangle 94"/>
            <p:cNvSpPr>
              <a:spLocks noChangeArrowheads="1"/>
            </p:cNvSpPr>
            <p:nvPr/>
          </p:nvSpPr>
          <p:spPr bwMode="auto">
            <a:xfrm>
              <a:off x="5854926" y="3328988"/>
              <a:ext cx="68263" cy="66675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1" name="Rectangle 95"/>
            <p:cNvSpPr>
              <a:spLocks noChangeArrowheads="1"/>
            </p:cNvSpPr>
            <p:nvPr/>
          </p:nvSpPr>
          <p:spPr bwMode="auto">
            <a:xfrm>
              <a:off x="5889851" y="3325813"/>
              <a:ext cx="68263" cy="68263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2" name="Rectangle 96"/>
            <p:cNvSpPr>
              <a:spLocks noChangeArrowheads="1"/>
            </p:cNvSpPr>
            <p:nvPr/>
          </p:nvSpPr>
          <p:spPr bwMode="auto">
            <a:xfrm>
              <a:off x="5889851" y="3325813"/>
              <a:ext cx="68263" cy="68263"/>
            </a:xfrm>
            <a:prstGeom prst="rect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3" name="Line 97"/>
            <p:cNvSpPr>
              <a:spLocks noChangeShapeType="1"/>
            </p:cNvSpPr>
            <p:nvPr/>
          </p:nvSpPr>
          <p:spPr bwMode="auto">
            <a:xfrm flipV="1">
              <a:off x="6572476" y="3390901"/>
              <a:ext cx="0" cy="107950"/>
            </a:xfrm>
            <a:prstGeom prst="line">
              <a:avLst/>
            </a:prstGeom>
            <a:grpFill/>
            <a:ln w="25400">
              <a:solidFill>
                <a:srgbClr val="C8568A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4" name="Line 98"/>
            <p:cNvSpPr>
              <a:spLocks noChangeShapeType="1"/>
            </p:cNvSpPr>
            <p:nvPr/>
          </p:nvSpPr>
          <p:spPr bwMode="auto">
            <a:xfrm flipV="1">
              <a:off x="6607401" y="3465513"/>
              <a:ext cx="0" cy="107950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5" name="Rectangle 99"/>
            <p:cNvSpPr>
              <a:spLocks noChangeArrowheads="1"/>
            </p:cNvSpPr>
            <p:nvPr/>
          </p:nvSpPr>
          <p:spPr bwMode="auto">
            <a:xfrm>
              <a:off x="6542314" y="3413126"/>
              <a:ext cx="61913" cy="61913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6" name="Rectangle 100"/>
            <p:cNvSpPr>
              <a:spLocks noChangeArrowheads="1"/>
            </p:cNvSpPr>
            <p:nvPr/>
          </p:nvSpPr>
          <p:spPr bwMode="auto">
            <a:xfrm>
              <a:off x="6542314" y="3413126"/>
              <a:ext cx="61913" cy="61913"/>
            </a:xfrm>
            <a:prstGeom prst="rect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7" name="Rectangle 101"/>
            <p:cNvSpPr>
              <a:spLocks noChangeArrowheads="1"/>
            </p:cNvSpPr>
            <p:nvPr/>
          </p:nvSpPr>
          <p:spPr bwMode="auto">
            <a:xfrm>
              <a:off x="6575651" y="3489326"/>
              <a:ext cx="61913" cy="60325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8" name="Rectangle 102"/>
            <p:cNvSpPr>
              <a:spLocks noChangeArrowheads="1"/>
            </p:cNvSpPr>
            <p:nvPr/>
          </p:nvSpPr>
          <p:spPr bwMode="auto">
            <a:xfrm>
              <a:off x="6575651" y="3489326"/>
              <a:ext cx="61913" cy="60325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9" name="Line 103"/>
            <p:cNvSpPr>
              <a:spLocks noChangeShapeType="1"/>
            </p:cNvSpPr>
            <p:nvPr/>
          </p:nvSpPr>
          <p:spPr bwMode="auto">
            <a:xfrm flipV="1">
              <a:off x="7256689" y="3489326"/>
              <a:ext cx="0" cy="128588"/>
            </a:xfrm>
            <a:prstGeom prst="line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0" name="Line 104"/>
            <p:cNvSpPr>
              <a:spLocks noChangeShapeType="1"/>
            </p:cNvSpPr>
            <p:nvPr/>
          </p:nvSpPr>
          <p:spPr bwMode="auto">
            <a:xfrm flipV="1">
              <a:off x="7290026" y="3609976"/>
              <a:ext cx="0" cy="128588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1" name="Rectangle 105"/>
            <p:cNvSpPr>
              <a:spLocks noChangeArrowheads="1"/>
            </p:cNvSpPr>
            <p:nvPr/>
          </p:nvSpPr>
          <p:spPr bwMode="auto">
            <a:xfrm>
              <a:off x="7228114" y="3524251"/>
              <a:ext cx="55563" cy="57150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2" name="Rectangle 106"/>
            <p:cNvSpPr>
              <a:spLocks noChangeArrowheads="1"/>
            </p:cNvSpPr>
            <p:nvPr/>
          </p:nvSpPr>
          <p:spPr bwMode="auto">
            <a:xfrm>
              <a:off x="7228114" y="3524251"/>
              <a:ext cx="55563" cy="57150"/>
            </a:xfrm>
            <a:prstGeom prst="rect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3" name="Rectangle 107"/>
            <p:cNvSpPr>
              <a:spLocks noChangeArrowheads="1"/>
            </p:cNvSpPr>
            <p:nvPr/>
          </p:nvSpPr>
          <p:spPr bwMode="auto">
            <a:xfrm>
              <a:off x="7261451" y="3646488"/>
              <a:ext cx="57150" cy="55563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4" name="Rectangle 108"/>
            <p:cNvSpPr>
              <a:spLocks noChangeArrowheads="1"/>
            </p:cNvSpPr>
            <p:nvPr/>
          </p:nvSpPr>
          <p:spPr bwMode="auto">
            <a:xfrm>
              <a:off x="7261451" y="3646488"/>
              <a:ext cx="57150" cy="55563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5" name="Line 109"/>
            <p:cNvSpPr>
              <a:spLocks noChangeShapeType="1"/>
            </p:cNvSpPr>
            <p:nvPr/>
          </p:nvSpPr>
          <p:spPr bwMode="auto">
            <a:xfrm flipV="1">
              <a:off x="7939314" y="3559176"/>
              <a:ext cx="0" cy="203200"/>
            </a:xfrm>
            <a:prstGeom prst="line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6" name="Line 110"/>
            <p:cNvSpPr>
              <a:spLocks noChangeShapeType="1"/>
            </p:cNvSpPr>
            <p:nvPr/>
          </p:nvSpPr>
          <p:spPr bwMode="auto">
            <a:xfrm flipV="1">
              <a:off x="7972651" y="3754438"/>
              <a:ext cx="0" cy="204788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7" name="Rectangle 111"/>
            <p:cNvSpPr>
              <a:spLocks noChangeArrowheads="1"/>
            </p:cNvSpPr>
            <p:nvPr/>
          </p:nvSpPr>
          <p:spPr bwMode="auto">
            <a:xfrm>
              <a:off x="7917089" y="3638551"/>
              <a:ext cx="44450" cy="44450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8" name="Rectangle 112"/>
            <p:cNvSpPr>
              <a:spLocks noChangeArrowheads="1"/>
            </p:cNvSpPr>
            <p:nvPr/>
          </p:nvSpPr>
          <p:spPr bwMode="auto">
            <a:xfrm>
              <a:off x="7917089" y="3638551"/>
              <a:ext cx="44450" cy="44450"/>
            </a:xfrm>
            <a:prstGeom prst="rect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9" name="Rectangle 113"/>
            <p:cNvSpPr>
              <a:spLocks noChangeArrowheads="1"/>
            </p:cNvSpPr>
            <p:nvPr/>
          </p:nvSpPr>
          <p:spPr bwMode="auto">
            <a:xfrm>
              <a:off x="7950426" y="3833813"/>
              <a:ext cx="44450" cy="44450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20" name="Rectangle 114"/>
            <p:cNvSpPr>
              <a:spLocks noChangeArrowheads="1"/>
            </p:cNvSpPr>
            <p:nvPr/>
          </p:nvSpPr>
          <p:spPr bwMode="auto">
            <a:xfrm>
              <a:off x="7950426" y="3833813"/>
              <a:ext cx="44450" cy="4445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21" name="Line 115"/>
            <p:cNvSpPr>
              <a:spLocks noChangeShapeType="1"/>
            </p:cNvSpPr>
            <p:nvPr/>
          </p:nvSpPr>
          <p:spPr bwMode="auto">
            <a:xfrm flipV="1">
              <a:off x="7270618" y="2201721"/>
              <a:ext cx="1946" cy="153321"/>
            </a:xfrm>
            <a:prstGeom prst="line">
              <a:avLst/>
            </a:prstGeom>
            <a:grpFill/>
            <a:ln w="25400">
              <a:solidFill>
                <a:srgbClr val="A87693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2" name="Line 116"/>
            <p:cNvSpPr>
              <a:spLocks noChangeShapeType="1"/>
            </p:cNvSpPr>
            <p:nvPr/>
          </p:nvSpPr>
          <p:spPr bwMode="auto">
            <a:xfrm flipV="1">
              <a:off x="7272564" y="2530333"/>
              <a:ext cx="0" cy="163513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3" name="Rectangle 117"/>
            <p:cNvSpPr>
              <a:spLocks noChangeArrowheads="1"/>
            </p:cNvSpPr>
            <p:nvPr/>
          </p:nvSpPr>
          <p:spPr bwMode="auto">
            <a:xfrm>
              <a:off x="7221764" y="2231883"/>
              <a:ext cx="101600" cy="101600"/>
            </a:xfrm>
            <a:prstGeom prst="rect">
              <a:avLst/>
            </a:prstGeom>
            <a:grpFill/>
            <a:ln w="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4" name="Rectangle 118"/>
            <p:cNvSpPr>
              <a:spLocks noChangeArrowheads="1"/>
            </p:cNvSpPr>
            <p:nvPr/>
          </p:nvSpPr>
          <p:spPr bwMode="auto">
            <a:xfrm>
              <a:off x="7221764" y="2231883"/>
              <a:ext cx="101600" cy="101600"/>
            </a:xfrm>
            <a:prstGeom prst="rect">
              <a:avLst/>
            </a:prstGeom>
            <a:solidFill>
              <a:srgbClr val="CE08A8"/>
            </a:solidFill>
            <a:ln w="1588">
              <a:solidFill>
                <a:srgbClr val="CE08A8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5" name="Rectangle 119"/>
            <p:cNvSpPr>
              <a:spLocks noChangeArrowheads="1"/>
            </p:cNvSpPr>
            <p:nvPr/>
          </p:nvSpPr>
          <p:spPr bwMode="auto">
            <a:xfrm>
              <a:off x="7221764" y="2562083"/>
              <a:ext cx="101600" cy="100013"/>
            </a:xfrm>
            <a:prstGeom prst="rect">
              <a:avLst/>
            </a:prstGeom>
            <a:grpFill/>
            <a:ln w="25400">
              <a:solidFill>
                <a:srgbClr val="4A064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6" name="Rectangle 120"/>
            <p:cNvSpPr>
              <a:spLocks noChangeArrowheads="1"/>
            </p:cNvSpPr>
            <p:nvPr/>
          </p:nvSpPr>
          <p:spPr bwMode="auto">
            <a:xfrm>
              <a:off x="7221764" y="2562083"/>
              <a:ext cx="101600" cy="100013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7" name="Rectangle 121"/>
            <p:cNvSpPr>
              <a:spLocks noChangeArrowheads="1"/>
            </p:cNvSpPr>
            <p:nvPr/>
          </p:nvSpPr>
          <p:spPr bwMode="auto">
            <a:xfrm>
              <a:off x="7444014" y="2146301"/>
              <a:ext cx="1037693" cy="1849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dirty="0" smtClean="0">
                  <a:ln>
                    <a:noFill/>
                  </a:ln>
                  <a:solidFill>
                    <a:srgbClr val="CE08A8"/>
                  </a:solidFill>
                  <a:effectLst/>
                  <a:latin typeface="Mulish" pitchFamily="2" charset="0"/>
                </a:rPr>
                <a:t>Empagliflozin</a:t>
              </a:r>
            </a:p>
          </p:txBody>
        </p:sp>
        <p:sp>
          <p:nvSpPr>
            <p:cNvPr id="128" name="Rectangle 122"/>
            <p:cNvSpPr>
              <a:spLocks noChangeArrowheads="1"/>
            </p:cNvSpPr>
            <p:nvPr/>
          </p:nvSpPr>
          <p:spPr bwMode="auto">
            <a:xfrm>
              <a:off x="7444014" y="2487613"/>
              <a:ext cx="614972" cy="184921"/>
            </a:xfrm>
            <a:prstGeom prst="rect">
              <a:avLst/>
            </a:prstGeom>
            <a:solidFill>
              <a:srgbClr val="FFFFFF"/>
            </a:solidFill>
            <a:ln w="25400">
              <a:solidFill>
                <a:schemeClr val="bg1"/>
              </a:solidFill>
              <a:miter lim="800000"/>
              <a:headEnd/>
              <a:tailEnd/>
            </a:ln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dirty="0" smtClean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latin typeface="Mulish" pitchFamily="2" charset="0"/>
                </a:rPr>
                <a:t>Placebo</a:t>
              </a:r>
            </a:p>
          </p:txBody>
        </p:sp>
        <p:sp>
          <p:nvSpPr>
            <p:cNvPr id="144" name="Rectangle 143"/>
            <p:cNvSpPr>
              <a:spLocks noChangeArrowheads="1"/>
            </p:cNvSpPr>
            <p:nvPr/>
          </p:nvSpPr>
          <p:spPr bwMode="auto">
            <a:xfrm rot="16200000">
              <a:off x="1936920" y="3254391"/>
              <a:ext cx="2189776" cy="20012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b="1" dirty="0" err="1" smtClean="0">
                  <a:solidFill>
                    <a:srgbClr val="000000"/>
                  </a:solidFill>
                  <a:latin typeface="Mulish" pitchFamily="2" charset="0"/>
                </a:rPr>
                <a:t>eGFR</a:t>
              </a:r>
              <a:r>
                <a:rPr lang="en-US" altLang="en-US" b="1" dirty="0" smtClean="0">
                  <a:solidFill>
                    <a:srgbClr val="000000"/>
                  </a:solidFill>
                  <a:latin typeface="Mulish" pitchFamily="2" charset="0"/>
                </a:rPr>
                <a:t>, mL/min/1.73m</a:t>
              </a:r>
              <a:r>
                <a:rPr lang="en-US" altLang="en-US" b="1" baseline="30000" dirty="0" smtClean="0">
                  <a:solidFill>
                    <a:srgbClr val="000000"/>
                  </a:solidFill>
                  <a:latin typeface="Mulish" pitchFamily="2" charset="0"/>
                </a:rPr>
                <a:t>2</a:t>
              </a:r>
              <a:endParaRPr kumimoji="0" lang="en-US" altLang="en-US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</p:grpSp>
      <p:sp>
        <p:nvSpPr>
          <p:cNvPr id="129" name="Rectangle 128"/>
          <p:cNvSpPr/>
          <p:nvPr/>
        </p:nvSpPr>
        <p:spPr>
          <a:xfrm>
            <a:off x="3442025" y="4517691"/>
            <a:ext cx="6112571" cy="4623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274">
              <a:lnSpc>
                <a:spcPct val="107000"/>
              </a:lnSpc>
              <a:spcBef>
                <a:spcPts val="110"/>
              </a:spcBef>
              <a:spcAft>
                <a:spcPts val="110"/>
              </a:spcAft>
              <a:defRPr/>
            </a:pPr>
            <a:r>
              <a:rPr lang="en-GB" sz="2400" b="1" dirty="0" smtClean="0">
                <a:latin typeface="Mulish" pitchFamily="2" charset="0"/>
              </a:rPr>
              <a:t>Chronic slope in mL/min/1.73m² </a:t>
            </a:r>
            <a:r>
              <a:rPr lang="en-GB" sz="2400" b="1" dirty="0">
                <a:latin typeface="Mulish" pitchFamily="2" charset="0"/>
              </a:rPr>
              <a:t>per year</a:t>
            </a:r>
            <a:endParaRPr lang="en-GB" sz="2400" b="1" dirty="0">
              <a:latin typeface="Mulish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0" name="Geschweifte Klammer rechts 5">
            <a:extLst>
              <a:ext uri="{FF2B5EF4-FFF2-40B4-BE49-F238E27FC236}">
                <a16:creationId xmlns:a16="http://schemas.microsoft.com/office/drawing/2014/main" id="{0EA85460-6385-484E-A72F-127AEC732DAA}"/>
              </a:ext>
            </a:extLst>
          </p:cNvPr>
          <p:cNvSpPr/>
          <p:nvPr/>
        </p:nvSpPr>
        <p:spPr>
          <a:xfrm rot="5400000">
            <a:off x="6196653" y="1752832"/>
            <a:ext cx="281967" cy="5389950"/>
          </a:xfrm>
          <a:prstGeom prst="rightBrace">
            <a:avLst/>
          </a:prstGeom>
          <a:ln w="25400">
            <a:solidFill>
              <a:srgbClr val="CE0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8598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Annual rate of change of </a:t>
            </a:r>
            <a:r>
              <a:rPr lang="en-GB" dirty="0" err="1" smtClean="0"/>
              <a:t>eGFR</a:t>
            </a:r>
            <a:endParaRPr lang="en-GB" dirty="0"/>
          </a:p>
        </p:txBody>
      </p:sp>
      <p:sp>
        <p:nvSpPr>
          <p:cNvPr id="143" name="Rectangle 137"/>
          <p:cNvSpPr>
            <a:spLocks noChangeArrowheads="1"/>
          </p:cNvSpPr>
          <p:nvPr/>
        </p:nvSpPr>
        <p:spPr bwMode="auto">
          <a:xfrm>
            <a:off x="3923819" y="6964364"/>
            <a:ext cx="6091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v</a:t>
            </a:r>
            <a:endParaRPr kumimoji="0" lang="en-US" alt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sp>
        <p:nvSpPr>
          <p:cNvPr id="145" name="Rectangle 139"/>
          <p:cNvSpPr>
            <a:spLocks noChangeArrowheads="1"/>
          </p:cNvSpPr>
          <p:nvPr/>
        </p:nvSpPr>
        <p:spPr bwMode="auto">
          <a:xfrm>
            <a:off x="4100032" y="6964364"/>
            <a:ext cx="5610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. </a:t>
            </a:r>
            <a:endParaRPr kumimoji="0" lang="en-US" alt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sp>
        <p:nvSpPr>
          <p:cNvPr id="146" name="Rectangle 140"/>
          <p:cNvSpPr>
            <a:spLocks noChangeArrowheads="1"/>
          </p:cNvSpPr>
          <p:nvPr/>
        </p:nvSpPr>
        <p:spPr bwMode="auto">
          <a:xfrm>
            <a:off x="1834669" y="1385889"/>
            <a:ext cx="65" cy="30777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sp>
        <p:nvSpPr>
          <p:cNvPr id="147" name="Rectangle 141"/>
          <p:cNvSpPr>
            <a:spLocks noChangeArrowheads="1"/>
          </p:cNvSpPr>
          <p:nvPr/>
        </p:nvSpPr>
        <p:spPr bwMode="auto">
          <a:xfrm>
            <a:off x="2945919" y="1385889"/>
            <a:ext cx="65" cy="30777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sp>
        <p:nvSpPr>
          <p:cNvPr id="148" name="Rectangle 142"/>
          <p:cNvSpPr>
            <a:spLocks noChangeArrowheads="1"/>
          </p:cNvSpPr>
          <p:nvPr/>
        </p:nvSpPr>
        <p:spPr bwMode="auto">
          <a:xfrm>
            <a:off x="5181119" y="1385889"/>
            <a:ext cx="6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Mulish" pitchFamily="2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3315269" y="5025142"/>
          <a:ext cx="6683170" cy="929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28226">
                  <a:extLst>
                    <a:ext uri="{9D8B030D-6E8A-4147-A177-3AD203B41FA5}">
                      <a16:colId xmlns:a16="http://schemas.microsoft.com/office/drawing/2014/main" val="2748816243"/>
                    </a:ext>
                  </a:extLst>
                </a:gridCol>
                <a:gridCol w="1778854">
                  <a:extLst>
                    <a:ext uri="{9D8B030D-6E8A-4147-A177-3AD203B41FA5}">
                      <a16:colId xmlns:a16="http://schemas.microsoft.com/office/drawing/2014/main" val="1057604756"/>
                    </a:ext>
                  </a:extLst>
                </a:gridCol>
                <a:gridCol w="2876090">
                  <a:extLst>
                    <a:ext uri="{9D8B030D-6E8A-4147-A177-3AD203B41FA5}">
                      <a16:colId xmlns:a16="http://schemas.microsoft.com/office/drawing/2014/main" val="519583928"/>
                    </a:ext>
                  </a:extLst>
                </a:gridCol>
              </a:tblGrid>
              <a:tr h="299276"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 smtClean="0">
                          <a:solidFill>
                            <a:schemeClr val="bg1"/>
                          </a:solidFill>
                          <a:effectLst/>
                          <a:latin typeface="Mulish" pitchFamily="2" charset="0"/>
                        </a:rPr>
                        <a:t>Empagliflozin Mean (SE)</a:t>
                      </a:r>
                      <a:endParaRPr lang="en-GB" sz="1800" b="1" i="0" u="none" strike="noStrike" dirty="0">
                        <a:solidFill>
                          <a:schemeClr val="bg1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 smtClean="0">
                          <a:solidFill>
                            <a:schemeClr val="bg1"/>
                          </a:solidFill>
                          <a:effectLst/>
                          <a:latin typeface="Mulish" pitchFamily="2" charset="0"/>
                        </a:rPr>
                        <a:t>Placebo</a:t>
                      </a:r>
                    </a:p>
                    <a:p>
                      <a:pPr marL="0" marR="0" lvl="0" indent="0" algn="ctr" defTabSz="91427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u="none" strike="noStrike" dirty="0" smtClean="0">
                          <a:solidFill>
                            <a:schemeClr val="bg1"/>
                          </a:solidFill>
                          <a:effectLst/>
                          <a:latin typeface="Mulish" pitchFamily="2" charset="0"/>
                        </a:rPr>
                        <a:t>Mean (SE)</a:t>
                      </a:r>
                      <a:endParaRPr lang="en-GB" sz="1800" b="1" i="0" u="none" strike="noStrike" dirty="0" smtClean="0">
                        <a:solidFill>
                          <a:schemeClr val="bg1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effectLst/>
                          <a:latin typeface="Mulish" pitchFamily="2" charset="0"/>
                        </a:rPr>
                        <a:t>Difference (95% CI)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4793826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solidFill>
                            <a:srgbClr val="CE08A8"/>
                          </a:solidFill>
                          <a:effectLst/>
                          <a:latin typeface="Mulish" pitchFamily="2" charset="0"/>
                        </a:rPr>
                        <a:t>-1.37 (0.08)</a:t>
                      </a:r>
                      <a:endParaRPr lang="en-US" sz="2400" b="0" i="0" u="none" strike="noStrike" dirty="0">
                        <a:solidFill>
                          <a:srgbClr val="CE08A8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u="none" strike="noStrike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Mulish" pitchFamily="2" charset="0"/>
                        </a:rPr>
                        <a:t>-2.75 (0.08)</a:t>
                      </a:r>
                      <a:endParaRPr lang="en-US" sz="2400" b="0" i="0" u="none" strike="noStrike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1" u="none" strike="noStrike" dirty="0">
                          <a:effectLst/>
                          <a:latin typeface="Mulish" pitchFamily="2" charset="0"/>
                        </a:rPr>
                        <a:t>1.37 (1.16, 1.59)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Mulish" pitchFamily="2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2205739"/>
                  </a:ext>
                </a:extLst>
              </a:tr>
            </a:tbl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2050661" y="1524002"/>
            <a:ext cx="7681810" cy="5440362"/>
            <a:chOff x="2931744" y="2146301"/>
            <a:chExt cx="5549963" cy="3631915"/>
          </a:xfrm>
          <a:solidFill>
            <a:srgbClr val="C8568A"/>
          </a:solidFill>
        </p:grpSpPr>
        <p:sp>
          <p:nvSpPr>
            <p:cNvPr id="8" name="Line 5"/>
            <p:cNvSpPr>
              <a:spLocks noChangeShapeType="1"/>
            </p:cNvSpPr>
            <p:nvPr/>
          </p:nvSpPr>
          <p:spPr bwMode="auto">
            <a:xfrm flipV="1">
              <a:off x="3684815" y="2227263"/>
              <a:ext cx="1586" cy="2897716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3" name="Line 7"/>
            <p:cNvSpPr>
              <a:spLocks noChangeShapeType="1"/>
            </p:cNvSpPr>
            <p:nvPr/>
          </p:nvSpPr>
          <p:spPr bwMode="auto">
            <a:xfrm flipH="1">
              <a:off x="3610201" y="4691063"/>
              <a:ext cx="76200" cy="0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auto">
            <a:xfrm flipH="1">
              <a:off x="3610201" y="3870326"/>
              <a:ext cx="76200" cy="0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5" name="Line 9"/>
            <p:cNvSpPr>
              <a:spLocks noChangeShapeType="1"/>
            </p:cNvSpPr>
            <p:nvPr/>
          </p:nvSpPr>
          <p:spPr bwMode="auto">
            <a:xfrm flipH="1">
              <a:off x="3610201" y="3049588"/>
              <a:ext cx="76200" cy="0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6" name="Line 10"/>
            <p:cNvSpPr>
              <a:spLocks noChangeShapeType="1"/>
            </p:cNvSpPr>
            <p:nvPr/>
          </p:nvSpPr>
          <p:spPr bwMode="auto">
            <a:xfrm flipH="1">
              <a:off x="3610201" y="2227263"/>
              <a:ext cx="76200" cy="0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3275331" y="4616451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5</a:t>
              </a:r>
              <a:endParaRPr kumimoji="0" lang="en-US" altLang="en-US" sz="3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19" name="Rectangle 13"/>
            <p:cNvSpPr>
              <a:spLocks noChangeArrowheads="1"/>
            </p:cNvSpPr>
            <p:nvPr/>
          </p:nvSpPr>
          <p:spPr bwMode="auto">
            <a:xfrm>
              <a:off x="3275331" y="3795713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</a:t>
              </a:r>
              <a:endParaRPr kumimoji="0" lang="en-US" altLang="en-US" sz="3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20" name="Rectangle 14"/>
            <p:cNvSpPr>
              <a:spLocks noChangeArrowheads="1"/>
            </p:cNvSpPr>
            <p:nvPr/>
          </p:nvSpPr>
          <p:spPr bwMode="auto">
            <a:xfrm>
              <a:off x="3275331" y="2973388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5</a:t>
              </a:r>
              <a:endParaRPr kumimoji="0" lang="en-US" altLang="en-US" sz="3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21" name="Rectangle 15"/>
            <p:cNvSpPr>
              <a:spLocks noChangeArrowheads="1"/>
            </p:cNvSpPr>
            <p:nvPr/>
          </p:nvSpPr>
          <p:spPr bwMode="auto">
            <a:xfrm>
              <a:off x="3275331" y="2152651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40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35" name="Line 29"/>
            <p:cNvSpPr>
              <a:spLocks noChangeShapeType="1"/>
            </p:cNvSpPr>
            <p:nvPr/>
          </p:nvSpPr>
          <p:spPr bwMode="auto">
            <a:xfrm flipV="1">
              <a:off x="3686401" y="4837642"/>
              <a:ext cx="57150" cy="82550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36" name="Line 30"/>
            <p:cNvSpPr>
              <a:spLocks noChangeShapeType="1"/>
            </p:cNvSpPr>
            <p:nvPr/>
          </p:nvSpPr>
          <p:spPr bwMode="auto">
            <a:xfrm flipH="1">
              <a:off x="3627664" y="4920192"/>
              <a:ext cx="58738" cy="80963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37" name="Line 31"/>
            <p:cNvSpPr>
              <a:spLocks noChangeShapeType="1"/>
            </p:cNvSpPr>
            <p:nvPr/>
          </p:nvSpPr>
          <p:spPr bwMode="auto">
            <a:xfrm flipV="1">
              <a:off x="3686401" y="4755092"/>
              <a:ext cx="57150" cy="82550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38" name="Line 32"/>
            <p:cNvSpPr>
              <a:spLocks noChangeShapeType="1"/>
            </p:cNvSpPr>
            <p:nvPr/>
          </p:nvSpPr>
          <p:spPr bwMode="auto">
            <a:xfrm flipH="1">
              <a:off x="3627664" y="4837642"/>
              <a:ext cx="58738" cy="82550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39" name="Line 33"/>
            <p:cNvSpPr>
              <a:spLocks noChangeShapeType="1"/>
            </p:cNvSpPr>
            <p:nvPr/>
          </p:nvSpPr>
          <p:spPr bwMode="auto">
            <a:xfrm flipV="1">
              <a:off x="3686401" y="4632854"/>
              <a:ext cx="0" cy="204788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0" name="Line 34"/>
            <p:cNvSpPr>
              <a:spLocks noChangeShapeType="1"/>
            </p:cNvSpPr>
            <p:nvPr/>
          </p:nvSpPr>
          <p:spPr bwMode="auto">
            <a:xfrm flipV="1">
              <a:off x="3686401" y="4920192"/>
              <a:ext cx="0" cy="204788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1" name="Line 35"/>
            <p:cNvSpPr>
              <a:spLocks noChangeShapeType="1"/>
            </p:cNvSpPr>
            <p:nvPr/>
          </p:nvSpPr>
          <p:spPr bwMode="auto">
            <a:xfrm>
              <a:off x="3856264" y="5124979"/>
              <a:ext cx="4100513" cy="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2" name="Line 36"/>
            <p:cNvSpPr>
              <a:spLocks noChangeShapeType="1"/>
            </p:cNvSpPr>
            <p:nvPr/>
          </p:nvSpPr>
          <p:spPr bwMode="auto">
            <a:xfrm>
              <a:off x="3856264" y="5124979"/>
              <a:ext cx="0" cy="7620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3" name="Line 37"/>
            <p:cNvSpPr>
              <a:spLocks noChangeShapeType="1"/>
            </p:cNvSpPr>
            <p:nvPr/>
          </p:nvSpPr>
          <p:spPr bwMode="auto">
            <a:xfrm>
              <a:off x="4084864" y="5124979"/>
              <a:ext cx="0" cy="7620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4" name="Line 38"/>
            <p:cNvSpPr>
              <a:spLocks noChangeShapeType="1"/>
            </p:cNvSpPr>
            <p:nvPr/>
          </p:nvSpPr>
          <p:spPr bwMode="auto">
            <a:xfrm>
              <a:off x="4540476" y="5124979"/>
              <a:ext cx="0" cy="7620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5" name="Line 39"/>
            <p:cNvSpPr>
              <a:spLocks noChangeShapeType="1"/>
            </p:cNvSpPr>
            <p:nvPr/>
          </p:nvSpPr>
          <p:spPr bwMode="auto">
            <a:xfrm>
              <a:off x="5223101" y="5124979"/>
              <a:ext cx="0" cy="7620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6" name="Line 40"/>
            <p:cNvSpPr>
              <a:spLocks noChangeShapeType="1"/>
            </p:cNvSpPr>
            <p:nvPr/>
          </p:nvSpPr>
          <p:spPr bwMode="auto">
            <a:xfrm>
              <a:off x="5905726" y="5124979"/>
              <a:ext cx="0" cy="7620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7" name="Line 41"/>
            <p:cNvSpPr>
              <a:spLocks noChangeShapeType="1"/>
            </p:cNvSpPr>
            <p:nvPr/>
          </p:nvSpPr>
          <p:spPr bwMode="auto">
            <a:xfrm>
              <a:off x="6589939" y="5124979"/>
              <a:ext cx="0" cy="7620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8" name="Line 42"/>
            <p:cNvSpPr>
              <a:spLocks noChangeShapeType="1"/>
            </p:cNvSpPr>
            <p:nvPr/>
          </p:nvSpPr>
          <p:spPr bwMode="auto">
            <a:xfrm>
              <a:off x="7272564" y="5124979"/>
              <a:ext cx="0" cy="7620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49" name="Line 43"/>
            <p:cNvSpPr>
              <a:spLocks noChangeShapeType="1"/>
            </p:cNvSpPr>
            <p:nvPr/>
          </p:nvSpPr>
          <p:spPr bwMode="auto">
            <a:xfrm>
              <a:off x="7956776" y="5124979"/>
              <a:ext cx="0" cy="7620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50" name="Rectangle 44"/>
            <p:cNvSpPr>
              <a:spLocks noChangeArrowheads="1"/>
            </p:cNvSpPr>
            <p:nvPr/>
          </p:nvSpPr>
          <p:spPr bwMode="auto">
            <a:xfrm>
              <a:off x="3816576" y="5272617"/>
              <a:ext cx="137858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1" name="Rectangle 45"/>
            <p:cNvSpPr>
              <a:spLocks noChangeArrowheads="1"/>
            </p:cNvSpPr>
            <p:nvPr/>
          </p:nvSpPr>
          <p:spPr bwMode="auto">
            <a:xfrm>
              <a:off x="4045176" y="5272617"/>
              <a:ext cx="137858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2" name="Rectangle 46"/>
            <p:cNvSpPr>
              <a:spLocks noChangeArrowheads="1"/>
            </p:cNvSpPr>
            <p:nvPr/>
          </p:nvSpPr>
          <p:spPr bwMode="auto">
            <a:xfrm>
              <a:off x="4500789" y="5272617"/>
              <a:ext cx="137858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6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3" name="Rectangle 47"/>
            <p:cNvSpPr>
              <a:spLocks noChangeArrowheads="1"/>
            </p:cNvSpPr>
            <p:nvPr/>
          </p:nvSpPr>
          <p:spPr bwMode="auto">
            <a:xfrm>
              <a:off x="5145314" y="5272617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2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4" name="Rectangle 48"/>
            <p:cNvSpPr>
              <a:spLocks noChangeArrowheads="1"/>
            </p:cNvSpPr>
            <p:nvPr/>
          </p:nvSpPr>
          <p:spPr bwMode="auto">
            <a:xfrm>
              <a:off x="5827939" y="5272617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8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5" name="Rectangle 49"/>
            <p:cNvSpPr>
              <a:spLocks noChangeArrowheads="1"/>
            </p:cNvSpPr>
            <p:nvPr/>
          </p:nvSpPr>
          <p:spPr bwMode="auto">
            <a:xfrm>
              <a:off x="6512151" y="5272617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4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6" name="Rectangle 50"/>
            <p:cNvSpPr>
              <a:spLocks noChangeArrowheads="1"/>
            </p:cNvSpPr>
            <p:nvPr/>
          </p:nvSpPr>
          <p:spPr bwMode="auto">
            <a:xfrm>
              <a:off x="7194776" y="5272617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7" name="Rectangle 51"/>
            <p:cNvSpPr>
              <a:spLocks noChangeArrowheads="1"/>
            </p:cNvSpPr>
            <p:nvPr/>
          </p:nvSpPr>
          <p:spPr bwMode="auto">
            <a:xfrm>
              <a:off x="7878989" y="5272617"/>
              <a:ext cx="27571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6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8" name="Rectangle 52"/>
            <p:cNvSpPr>
              <a:spLocks noChangeArrowheads="1"/>
            </p:cNvSpPr>
            <p:nvPr/>
          </p:nvSpPr>
          <p:spPr bwMode="auto">
            <a:xfrm>
              <a:off x="5705701" y="5501217"/>
              <a:ext cx="793487" cy="27699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Months</a:t>
              </a:r>
              <a:endParaRPr kumimoji="0" lang="en-US" altLang="en-US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  <p:sp>
          <p:nvSpPr>
            <p:cNvPr id="59" name="Line 53"/>
            <p:cNvSpPr>
              <a:spLocks noChangeShapeType="1"/>
            </p:cNvSpPr>
            <p:nvPr/>
          </p:nvSpPr>
          <p:spPr bwMode="auto">
            <a:xfrm>
              <a:off x="3686401" y="5124979"/>
              <a:ext cx="169863" cy="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0" name="Line 54"/>
            <p:cNvSpPr>
              <a:spLocks noChangeShapeType="1"/>
            </p:cNvSpPr>
            <p:nvPr/>
          </p:nvSpPr>
          <p:spPr bwMode="auto">
            <a:xfrm>
              <a:off x="7956776" y="5124979"/>
              <a:ext cx="227013" cy="0"/>
            </a:xfrm>
            <a:prstGeom prst="line">
              <a:avLst/>
            </a:prstGeom>
            <a:grpFill/>
            <a:ln w="254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1" name="Line 55"/>
            <p:cNvSpPr>
              <a:spLocks noChangeShapeType="1"/>
            </p:cNvSpPr>
            <p:nvPr/>
          </p:nvSpPr>
          <p:spPr bwMode="auto">
            <a:xfrm>
              <a:off x="3856264" y="2687638"/>
              <a:ext cx="228600" cy="428625"/>
            </a:xfrm>
            <a:prstGeom prst="line">
              <a:avLst/>
            </a:prstGeom>
            <a:grpFill/>
            <a:ln w="25400">
              <a:solidFill>
                <a:srgbClr val="CE08A8"/>
              </a:solidFill>
              <a:prstDash val="sysDash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2" name="Line 56"/>
            <p:cNvSpPr>
              <a:spLocks noChangeShapeType="1"/>
            </p:cNvSpPr>
            <p:nvPr/>
          </p:nvSpPr>
          <p:spPr bwMode="auto">
            <a:xfrm>
              <a:off x="4084864" y="3116263"/>
              <a:ext cx="455613" cy="30163"/>
            </a:xfrm>
            <a:prstGeom prst="line">
              <a:avLst/>
            </a:prstGeom>
            <a:grpFill/>
            <a:ln w="25400">
              <a:solidFill>
                <a:srgbClr val="CE08A8"/>
              </a:solidFill>
              <a:prstDash val="sysDash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3" name="Line 57"/>
            <p:cNvSpPr>
              <a:spLocks noChangeShapeType="1"/>
            </p:cNvSpPr>
            <p:nvPr/>
          </p:nvSpPr>
          <p:spPr bwMode="auto">
            <a:xfrm>
              <a:off x="4540476" y="3146426"/>
              <a:ext cx="682625" cy="66675"/>
            </a:xfrm>
            <a:prstGeom prst="line">
              <a:avLst/>
            </a:prstGeom>
            <a:grpFill/>
            <a:ln w="25400">
              <a:solidFill>
                <a:srgbClr val="CE08A8"/>
              </a:solidFill>
              <a:prstDash val="sysDash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4" name="Line 58"/>
            <p:cNvSpPr>
              <a:spLocks noChangeShapeType="1"/>
            </p:cNvSpPr>
            <p:nvPr/>
          </p:nvSpPr>
          <p:spPr bwMode="auto">
            <a:xfrm>
              <a:off x="5223101" y="3213101"/>
              <a:ext cx="682625" cy="149225"/>
            </a:xfrm>
            <a:prstGeom prst="line">
              <a:avLst/>
            </a:prstGeom>
            <a:grpFill/>
            <a:ln w="25400">
              <a:solidFill>
                <a:srgbClr val="CE08A8"/>
              </a:solidFill>
              <a:prstDash val="sysDash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5" name="Line 59"/>
            <p:cNvSpPr>
              <a:spLocks noChangeShapeType="1"/>
            </p:cNvSpPr>
            <p:nvPr/>
          </p:nvSpPr>
          <p:spPr bwMode="auto">
            <a:xfrm>
              <a:off x="5905726" y="3362326"/>
              <a:ext cx="684213" cy="82550"/>
            </a:xfrm>
            <a:prstGeom prst="line">
              <a:avLst/>
            </a:prstGeom>
            <a:grpFill/>
            <a:ln w="25400">
              <a:solidFill>
                <a:srgbClr val="CE08A8"/>
              </a:solidFill>
              <a:prstDash val="sysDash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6" name="Line 60"/>
            <p:cNvSpPr>
              <a:spLocks noChangeShapeType="1"/>
            </p:cNvSpPr>
            <p:nvPr/>
          </p:nvSpPr>
          <p:spPr bwMode="auto">
            <a:xfrm>
              <a:off x="6589939" y="3444876"/>
              <a:ext cx="682625" cy="107950"/>
            </a:xfrm>
            <a:prstGeom prst="line">
              <a:avLst/>
            </a:prstGeom>
            <a:grpFill/>
            <a:ln w="25400">
              <a:solidFill>
                <a:srgbClr val="CE08A8"/>
              </a:solidFill>
              <a:prstDash val="sysDash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7" name="Line 61"/>
            <p:cNvSpPr>
              <a:spLocks noChangeShapeType="1"/>
            </p:cNvSpPr>
            <p:nvPr/>
          </p:nvSpPr>
          <p:spPr bwMode="auto">
            <a:xfrm>
              <a:off x="7272564" y="3552826"/>
              <a:ext cx="684213" cy="107950"/>
            </a:xfrm>
            <a:prstGeom prst="line">
              <a:avLst/>
            </a:prstGeom>
            <a:grpFill/>
            <a:ln w="25400">
              <a:solidFill>
                <a:srgbClr val="CE08A8"/>
              </a:solidFill>
              <a:prstDash val="sysDash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8" name="Line 62"/>
            <p:cNvSpPr>
              <a:spLocks noChangeShapeType="1"/>
            </p:cNvSpPr>
            <p:nvPr/>
          </p:nvSpPr>
          <p:spPr bwMode="auto">
            <a:xfrm>
              <a:off x="3856264" y="2700338"/>
              <a:ext cx="228600" cy="66675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69" name="Line 63"/>
            <p:cNvSpPr>
              <a:spLocks noChangeShapeType="1"/>
            </p:cNvSpPr>
            <p:nvPr/>
          </p:nvSpPr>
          <p:spPr bwMode="auto">
            <a:xfrm>
              <a:off x="4084864" y="2767013"/>
              <a:ext cx="455613" cy="187325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0" name="Line 64"/>
            <p:cNvSpPr>
              <a:spLocks noChangeShapeType="1"/>
            </p:cNvSpPr>
            <p:nvPr/>
          </p:nvSpPr>
          <p:spPr bwMode="auto">
            <a:xfrm>
              <a:off x="4540476" y="2954338"/>
              <a:ext cx="682625" cy="157163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1" name="Line 65"/>
            <p:cNvSpPr>
              <a:spLocks noChangeShapeType="1"/>
            </p:cNvSpPr>
            <p:nvPr/>
          </p:nvSpPr>
          <p:spPr bwMode="auto">
            <a:xfrm>
              <a:off x="5223101" y="3111501"/>
              <a:ext cx="682625" cy="249238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2" name="Line 66"/>
            <p:cNvSpPr>
              <a:spLocks noChangeShapeType="1"/>
            </p:cNvSpPr>
            <p:nvPr/>
          </p:nvSpPr>
          <p:spPr bwMode="auto">
            <a:xfrm>
              <a:off x="5905726" y="3360738"/>
              <a:ext cx="684213" cy="158750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3" name="Line 67"/>
            <p:cNvSpPr>
              <a:spLocks noChangeShapeType="1"/>
            </p:cNvSpPr>
            <p:nvPr/>
          </p:nvSpPr>
          <p:spPr bwMode="auto">
            <a:xfrm>
              <a:off x="6589939" y="3519488"/>
              <a:ext cx="682625" cy="153988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4" name="Line 68"/>
            <p:cNvSpPr>
              <a:spLocks noChangeShapeType="1"/>
            </p:cNvSpPr>
            <p:nvPr/>
          </p:nvSpPr>
          <p:spPr bwMode="auto">
            <a:xfrm>
              <a:off x="7272564" y="3673476"/>
              <a:ext cx="684213" cy="182563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ysDot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5" name="Freeform 69"/>
            <p:cNvSpPr>
              <a:spLocks/>
            </p:cNvSpPr>
            <p:nvPr/>
          </p:nvSpPr>
          <p:spPr bwMode="auto">
            <a:xfrm>
              <a:off x="3783239" y="2630488"/>
              <a:ext cx="112713" cy="112713"/>
            </a:xfrm>
            <a:custGeom>
              <a:avLst/>
              <a:gdLst>
                <a:gd name="T0" fmla="*/ 0 w 71"/>
                <a:gd name="T1" fmla="*/ 36 h 71"/>
                <a:gd name="T2" fmla="*/ 0 w 71"/>
                <a:gd name="T3" fmla="*/ 32 h 71"/>
                <a:gd name="T4" fmla="*/ 3 w 71"/>
                <a:gd name="T5" fmla="*/ 22 h 71"/>
                <a:gd name="T6" fmla="*/ 10 w 71"/>
                <a:gd name="T7" fmla="*/ 11 h 71"/>
                <a:gd name="T8" fmla="*/ 21 w 71"/>
                <a:gd name="T9" fmla="*/ 3 h 71"/>
                <a:gd name="T10" fmla="*/ 32 w 71"/>
                <a:gd name="T11" fmla="*/ 0 h 71"/>
                <a:gd name="T12" fmla="*/ 35 w 71"/>
                <a:gd name="T13" fmla="*/ 0 h 71"/>
                <a:gd name="T14" fmla="*/ 39 w 71"/>
                <a:gd name="T15" fmla="*/ 0 h 71"/>
                <a:gd name="T16" fmla="*/ 49 w 71"/>
                <a:gd name="T17" fmla="*/ 3 h 71"/>
                <a:gd name="T18" fmla="*/ 61 w 71"/>
                <a:gd name="T19" fmla="*/ 11 h 71"/>
                <a:gd name="T20" fmla="*/ 68 w 71"/>
                <a:gd name="T21" fmla="*/ 22 h 71"/>
                <a:gd name="T22" fmla="*/ 71 w 71"/>
                <a:gd name="T23" fmla="*/ 32 h 71"/>
                <a:gd name="T24" fmla="*/ 71 w 71"/>
                <a:gd name="T25" fmla="*/ 36 h 71"/>
                <a:gd name="T26" fmla="*/ 71 w 71"/>
                <a:gd name="T27" fmla="*/ 39 h 71"/>
                <a:gd name="T28" fmla="*/ 68 w 71"/>
                <a:gd name="T29" fmla="*/ 49 h 71"/>
                <a:gd name="T30" fmla="*/ 61 w 71"/>
                <a:gd name="T31" fmla="*/ 61 h 71"/>
                <a:gd name="T32" fmla="*/ 49 w 71"/>
                <a:gd name="T33" fmla="*/ 69 h 71"/>
                <a:gd name="T34" fmla="*/ 39 w 71"/>
                <a:gd name="T35" fmla="*/ 71 h 71"/>
                <a:gd name="T36" fmla="*/ 35 w 71"/>
                <a:gd name="T37" fmla="*/ 71 h 71"/>
                <a:gd name="T38" fmla="*/ 32 w 71"/>
                <a:gd name="T39" fmla="*/ 71 h 71"/>
                <a:gd name="T40" fmla="*/ 21 w 71"/>
                <a:gd name="T41" fmla="*/ 69 h 71"/>
                <a:gd name="T42" fmla="*/ 10 w 71"/>
                <a:gd name="T43" fmla="*/ 61 h 71"/>
                <a:gd name="T44" fmla="*/ 3 w 71"/>
                <a:gd name="T45" fmla="*/ 49 h 71"/>
                <a:gd name="T46" fmla="*/ 0 w 71"/>
                <a:gd name="T47" fmla="*/ 39 h 71"/>
                <a:gd name="T48" fmla="*/ 0 w 71"/>
                <a:gd name="T49" fmla="*/ 36 h 71"/>
                <a:gd name="T50" fmla="*/ 0 w 71"/>
                <a:gd name="T51" fmla="*/ 3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1" h="71">
                  <a:moveTo>
                    <a:pt x="0" y="36"/>
                  </a:moveTo>
                  <a:lnTo>
                    <a:pt x="0" y="32"/>
                  </a:lnTo>
                  <a:lnTo>
                    <a:pt x="3" y="22"/>
                  </a:lnTo>
                  <a:lnTo>
                    <a:pt x="10" y="11"/>
                  </a:lnTo>
                  <a:lnTo>
                    <a:pt x="21" y="3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9" y="3"/>
                  </a:lnTo>
                  <a:lnTo>
                    <a:pt x="61" y="11"/>
                  </a:lnTo>
                  <a:lnTo>
                    <a:pt x="68" y="22"/>
                  </a:lnTo>
                  <a:lnTo>
                    <a:pt x="71" y="32"/>
                  </a:lnTo>
                  <a:lnTo>
                    <a:pt x="71" y="36"/>
                  </a:lnTo>
                  <a:lnTo>
                    <a:pt x="71" y="39"/>
                  </a:lnTo>
                  <a:lnTo>
                    <a:pt x="68" y="49"/>
                  </a:lnTo>
                  <a:lnTo>
                    <a:pt x="61" y="61"/>
                  </a:lnTo>
                  <a:lnTo>
                    <a:pt x="49" y="69"/>
                  </a:lnTo>
                  <a:lnTo>
                    <a:pt x="39" y="71"/>
                  </a:lnTo>
                  <a:lnTo>
                    <a:pt x="35" y="71"/>
                  </a:lnTo>
                  <a:lnTo>
                    <a:pt x="32" y="71"/>
                  </a:lnTo>
                  <a:lnTo>
                    <a:pt x="21" y="69"/>
                  </a:lnTo>
                  <a:lnTo>
                    <a:pt x="10" y="61"/>
                  </a:lnTo>
                  <a:lnTo>
                    <a:pt x="3" y="49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2540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6" name="Freeform 70"/>
            <p:cNvSpPr>
              <a:spLocks/>
            </p:cNvSpPr>
            <p:nvPr/>
          </p:nvSpPr>
          <p:spPr bwMode="auto">
            <a:xfrm>
              <a:off x="3783239" y="2630488"/>
              <a:ext cx="112713" cy="112713"/>
            </a:xfrm>
            <a:custGeom>
              <a:avLst/>
              <a:gdLst>
                <a:gd name="T0" fmla="*/ 0 w 178"/>
                <a:gd name="T1" fmla="*/ 89 h 178"/>
                <a:gd name="T2" fmla="*/ 0 w 178"/>
                <a:gd name="T3" fmla="*/ 80 h 178"/>
                <a:gd name="T4" fmla="*/ 7 w 178"/>
                <a:gd name="T5" fmla="*/ 54 h 178"/>
                <a:gd name="T6" fmla="*/ 26 w 178"/>
                <a:gd name="T7" fmla="*/ 26 h 178"/>
                <a:gd name="T8" fmla="*/ 54 w 178"/>
                <a:gd name="T9" fmla="*/ 7 h 178"/>
                <a:gd name="T10" fmla="*/ 80 w 178"/>
                <a:gd name="T11" fmla="*/ 0 h 178"/>
                <a:gd name="T12" fmla="*/ 89 w 178"/>
                <a:gd name="T13" fmla="*/ 0 h 178"/>
                <a:gd name="T14" fmla="*/ 97 w 178"/>
                <a:gd name="T15" fmla="*/ 0 h 178"/>
                <a:gd name="T16" fmla="*/ 123 w 178"/>
                <a:gd name="T17" fmla="*/ 7 h 178"/>
                <a:gd name="T18" fmla="*/ 152 w 178"/>
                <a:gd name="T19" fmla="*/ 26 h 178"/>
                <a:gd name="T20" fmla="*/ 171 w 178"/>
                <a:gd name="T21" fmla="*/ 54 h 178"/>
                <a:gd name="T22" fmla="*/ 178 w 178"/>
                <a:gd name="T23" fmla="*/ 80 h 178"/>
                <a:gd name="T24" fmla="*/ 178 w 178"/>
                <a:gd name="T25" fmla="*/ 89 h 178"/>
                <a:gd name="T26" fmla="*/ 178 w 178"/>
                <a:gd name="T27" fmla="*/ 97 h 178"/>
                <a:gd name="T28" fmla="*/ 171 w 178"/>
                <a:gd name="T29" fmla="*/ 123 h 178"/>
                <a:gd name="T30" fmla="*/ 152 w 178"/>
                <a:gd name="T31" fmla="*/ 152 h 178"/>
                <a:gd name="T32" fmla="*/ 123 w 178"/>
                <a:gd name="T33" fmla="*/ 171 h 178"/>
                <a:gd name="T34" fmla="*/ 97 w 178"/>
                <a:gd name="T35" fmla="*/ 178 h 178"/>
                <a:gd name="T36" fmla="*/ 89 w 178"/>
                <a:gd name="T37" fmla="*/ 178 h 178"/>
                <a:gd name="T38" fmla="*/ 80 w 178"/>
                <a:gd name="T39" fmla="*/ 178 h 178"/>
                <a:gd name="T40" fmla="*/ 54 w 178"/>
                <a:gd name="T41" fmla="*/ 171 h 178"/>
                <a:gd name="T42" fmla="*/ 26 w 178"/>
                <a:gd name="T43" fmla="*/ 152 h 178"/>
                <a:gd name="T44" fmla="*/ 7 w 178"/>
                <a:gd name="T45" fmla="*/ 123 h 178"/>
                <a:gd name="T46" fmla="*/ 0 w 178"/>
                <a:gd name="T47" fmla="*/ 97 h 178"/>
                <a:gd name="T48" fmla="*/ 0 w 178"/>
                <a:gd name="T49" fmla="*/ 8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8" h="178">
                  <a:moveTo>
                    <a:pt x="0" y="89"/>
                  </a:moveTo>
                  <a:lnTo>
                    <a:pt x="0" y="80"/>
                  </a:lnTo>
                  <a:lnTo>
                    <a:pt x="7" y="54"/>
                  </a:lnTo>
                  <a:lnTo>
                    <a:pt x="26" y="26"/>
                  </a:lnTo>
                  <a:lnTo>
                    <a:pt x="54" y="7"/>
                  </a:lnTo>
                  <a:lnTo>
                    <a:pt x="80" y="0"/>
                  </a:lnTo>
                  <a:lnTo>
                    <a:pt x="89" y="0"/>
                  </a:lnTo>
                  <a:lnTo>
                    <a:pt x="97" y="0"/>
                  </a:lnTo>
                  <a:lnTo>
                    <a:pt x="123" y="7"/>
                  </a:lnTo>
                  <a:lnTo>
                    <a:pt x="152" y="26"/>
                  </a:lnTo>
                  <a:lnTo>
                    <a:pt x="171" y="54"/>
                  </a:lnTo>
                  <a:lnTo>
                    <a:pt x="178" y="80"/>
                  </a:lnTo>
                  <a:lnTo>
                    <a:pt x="178" y="89"/>
                  </a:lnTo>
                  <a:lnTo>
                    <a:pt x="178" y="97"/>
                  </a:lnTo>
                  <a:lnTo>
                    <a:pt x="171" y="123"/>
                  </a:lnTo>
                  <a:lnTo>
                    <a:pt x="152" y="152"/>
                  </a:lnTo>
                  <a:lnTo>
                    <a:pt x="123" y="171"/>
                  </a:lnTo>
                  <a:lnTo>
                    <a:pt x="97" y="178"/>
                  </a:lnTo>
                  <a:lnTo>
                    <a:pt x="89" y="178"/>
                  </a:lnTo>
                  <a:lnTo>
                    <a:pt x="80" y="178"/>
                  </a:lnTo>
                  <a:lnTo>
                    <a:pt x="54" y="171"/>
                  </a:lnTo>
                  <a:lnTo>
                    <a:pt x="26" y="152"/>
                  </a:lnTo>
                  <a:lnTo>
                    <a:pt x="7" y="123"/>
                  </a:lnTo>
                  <a:lnTo>
                    <a:pt x="0" y="97"/>
                  </a:lnTo>
                  <a:lnTo>
                    <a:pt x="0" y="89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7" name="Freeform 71"/>
            <p:cNvSpPr>
              <a:spLocks/>
            </p:cNvSpPr>
            <p:nvPr/>
          </p:nvSpPr>
          <p:spPr bwMode="auto">
            <a:xfrm>
              <a:off x="3816576" y="2644776"/>
              <a:ext cx="112713" cy="112713"/>
            </a:xfrm>
            <a:custGeom>
              <a:avLst/>
              <a:gdLst>
                <a:gd name="T0" fmla="*/ 0 w 71"/>
                <a:gd name="T1" fmla="*/ 35 h 71"/>
                <a:gd name="T2" fmla="*/ 0 w 71"/>
                <a:gd name="T3" fmla="*/ 32 h 71"/>
                <a:gd name="T4" fmla="*/ 3 w 71"/>
                <a:gd name="T5" fmla="*/ 21 h 71"/>
                <a:gd name="T6" fmla="*/ 10 w 71"/>
                <a:gd name="T7" fmla="*/ 10 h 71"/>
                <a:gd name="T8" fmla="*/ 22 w 71"/>
                <a:gd name="T9" fmla="*/ 2 h 71"/>
                <a:gd name="T10" fmla="*/ 33 w 71"/>
                <a:gd name="T11" fmla="*/ 0 h 71"/>
                <a:gd name="T12" fmla="*/ 36 w 71"/>
                <a:gd name="T13" fmla="*/ 0 h 71"/>
                <a:gd name="T14" fmla="*/ 39 w 71"/>
                <a:gd name="T15" fmla="*/ 0 h 71"/>
                <a:gd name="T16" fmla="*/ 50 w 71"/>
                <a:gd name="T17" fmla="*/ 2 h 71"/>
                <a:gd name="T18" fmla="*/ 61 w 71"/>
                <a:gd name="T19" fmla="*/ 10 h 71"/>
                <a:gd name="T20" fmla="*/ 69 w 71"/>
                <a:gd name="T21" fmla="*/ 21 h 71"/>
                <a:gd name="T22" fmla="*/ 71 w 71"/>
                <a:gd name="T23" fmla="*/ 32 h 71"/>
                <a:gd name="T24" fmla="*/ 71 w 71"/>
                <a:gd name="T25" fmla="*/ 35 h 71"/>
                <a:gd name="T26" fmla="*/ 71 w 71"/>
                <a:gd name="T27" fmla="*/ 39 h 71"/>
                <a:gd name="T28" fmla="*/ 69 w 71"/>
                <a:gd name="T29" fmla="*/ 49 h 71"/>
                <a:gd name="T30" fmla="*/ 61 w 71"/>
                <a:gd name="T31" fmla="*/ 60 h 71"/>
                <a:gd name="T32" fmla="*/ 50 w 71"/>
                <a:gd name="T33" fmla="*/ 68 h 71"/>
                <a:gd name="T34" fmla="*/ 39 w 71"/>
                <a:gd name="T35" fmla="*/ 71 h 71"/>
                <a:gd name="T36" fmla="*/ 36 w 71"/>
                <a:gd name="T37" fmla="*/ 71 h 71"/>
                <a:gd name="T38" fmla="*/ 33 w 71"/>
                <a:gd name="T39" fmla="*/ 71 h 71"/>
                <a:gd name="T40" fmla="*/ 22 w 71"/>
                <a:gd name="T41" fmla="*/ 68 h 71"/>
                <a:gd name="T42" fmla="*/ 10 w 71"/>
                <a:gd name="T43" fmla="*/ 60 h 71"/>
                <a:gd name="T44" fmla="*/ 3 w 71"/>
                <a:gd name="T45" fmla="*/ 49 h 71"/>
                <a:gd name="T46" fmla="*/ 0 w 71"/>
                <a:gd name="T47" fmla="*/ 39 h 71"/>
                <a:gd name="T48" fmla="*/ 0 w 71"/>
                <a:gd name="T49" fmla="*/ 35 h 71"/>
                <a:gd name="T50" fmla="*/ 0 w 71"/>
                <a:gd name="T51" fmla="*/ 35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1" h="71">
                  <a:moveTo>
                    <a:pt x="0" y="35"/>
                  </a:moveTo>
                  <a:lnTo>
                    <a:pt x="0" y="32"/>
                  </a:lnTo>
                  <a:lnTo>
                    <a:pt x="3" y="21"/>
                  </a:lnTo>
                  <a:lnTo>
                    <a:pt x="10" y="10"/>
                  </a:lnTo>
                  <a:lnTo>
                    <a:pt x="22" y="2"/>
                  </a:lnTo>
                  <a:lnTo>
                    <a:pt x="33" y="0"/>
                  </a:lnTo>
                  <a:lnTo>
                    <a:pt x="36" y="0"/>
                  </a:lnTo>
                  <a:lnTo>
                    <a:pt x="39" y="0"/>
                  </a:lnTo>
                  <a:lnTo>
                    <a:pt x="50" y="2"/>
                  </a:lnTo>
                  <a:lnTo>
                    <a:pt x="61" y="10"/>
                  </a:lnTo>
                  <a:lnTo>
                    <a:pt x="69" y="21"/>
                  </a:lnTo>
                  <a:lnTo>
                    <a:pt x="71" y="32"/>
                  </a:lnTo>
                  <a:lnTo>
                    <a:pt x="71" y="35"/>
                  </a:lnTo>
                  <a:lnTo>
                    <a:pt x="71" y="39"/>
                  </a:lnTo>
                  <a:lnTo>
                    <a:pt x="69" y="49"/>
                  </a:lnTo>
                  <a:lnTo>
                    <a:pt x="61" y="60"/>
                  </a:lnTo>
                  <a:lnTo>
                    <a:pt x="50" y="68"/>
                  </a:lnTo>
                  <a:lnTo>
                    <a:pt x="39" y="71"/>
                  </a:lnTo>
                  <a:lnTo>
                    <a:pt x="36" y="71"/>
                  </a:lnTo>
                  <a:lnTo>
                    <a:pt x="33" y="71"/>
                  </a:lnTo>
                  <a:lnTo>
                    <a:pt x="22" y="68"/>
                  </a:lnTo>
                  <a:lnTo>
                    <a:pt x="10" y="60"/>
                  </a:lnTo>
                  <a:lnTo>
                    <a:pt x="3" y="49"/>
                  </a:lnTo>
                  <a:lnTo>
                    <a:pt x="0" y="39"/>
                  </a:lnTo>
                  <a:lnTo>
                    <a:pt x="0" y="35"/>
                  </a:lnTo>
                  <a:lnTo>
                    <a:pt x="0" y="35"/>
                  </a:lnTo>
                  <a:close/>
                </a:path>
              </a:pathLst>
            </a:custGeom>
            <a:grpFill/>
            <a:ln w="25400">
              <a:solidFill>
                <a:srgbClr val="A8769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8" name="Freeform 72"/>
            <p:cNvSpPr>
              <a:spLocks/>
            </p:cNvSpPr>
            <p:nvPr/>
          </p:nvSpPr>
          <p:spPr bwMode="auto">
            <a:xfrm>
              <a:off x="3816576" y="2644776"/>
              <a:ext cx="112713" cy="112713"/>
            </a:xfrm>
            <a:custGeom>
              <a:avLst/>
              <a:gdLst>
                <a:gd name="T0" fmla="*/ 0 w 178"/>
                <a:gd name="T1" fmla="*/ 89 h 178"/>
                <a:gd name="T2" fmla="*/ 0 w 178"/>
                <a:gd name="T3" fmla="*/ 80 h 178"/>
                <a:gd name="T4" fmla="*/ 7 w 178"/>
                <a:gd name="T5" fmla="*/ 54 h 178"/>
                <a:gd name="T6" fmla="*/ 26 w 178"/>
                <a:gd name="T7" fmla="*/ 26 h 178"/>
                <a:gd name="T8" fmla="*/ 55 w 178"/>
                <a:gd name="T9" fmla="*/ 7 h 178"/>
                <a:gd name="T10" fmla="*/ 81 w 178"/>
                <a:gd name="T11" fmla="*/ 0 h 178"/>
                <a:gd name="T12" fmla="*/ 89 w 178"/>
                <a:gd name="T13" fmla="*/ 0 h 178"/>
                <a:gd name="T14" fmla="*/ 98 w 178"/>
                <a:gd name="T15" fmla="*/ 0 h 178"/>
                <a:gd name="T16" fmla="*/ 124 w 178"/>
                <a:gd name="T17" fmla="*/ 7 h 178"/>
                <a:gd name="T18" fmla="*/ 152 w 178"/>
                <a:gd name="T19" fmla="*/ 26 h 178"/>
                <a:gd name="T20" fmla="*/ 171 w 178"/>
                <a:gd name="T21" fmla="*/ 54 h 178"/>
                <a:gd name="T22" fmla="*/ 178 w 178"/>
                <a:gd name="T23" fmla="*/ 80 h 178"/>
                <a:gd name="T24" fmla="*/ 178 w 178"/>
                <a:gd name="T25" fmla="*/ 89 h 178"/>
                <a:gd name="T26" fmla="*/ 178 w 178"/>
                <a:gd name="T27" fmla="*/ 98 h 178"/>
                <a:gd name="T28" fmla="*/ 171 w 178"/>
                <a:gd name="T29" fmla="*/ 123 h 178"/>
                <a:gd name="T30" fmla="*/ 152 w 178"/>
                <a:gd name="T31" fmla="*/ 152 h 178"/>
                <a:gd name="T32" fmla="*/ 124 w 178"/>
                <a:gd name="T33" fmla="*/ 171 h 178"/>
                <a:gd name="T34" fmla="*/ 98 w 178"/>
                <a:gd name="T35" fmla="*/ 178 h 178"/>
                <a:gd name="T36" fmla="*/ 89 w 178"/>
                <a:gd name="T37" fmla="*/ 178 h 178"/>
                <a:gd name="T38" fmla="*/ 81 w 178"/>
                <a:gd name="T39" fmla="*/ 178 h 178"/>
                <a:gd name="T40" fmla="*/ 55 w 178"/>
                <a:gd name="T41" fmla="*/ 171 h 178"/>
                <a:gd name="T42" fmla="*/ 26 w 178"/>
                <a:gd name="T43" fmla="*/ 152 h 178"/>
                <a:gd name="T44" fmla="*/ 7 w 178"/>
                <a:gd name="T45" fmla="*/ 123 h 178"/>
                <a:gd name="T46" fmla="*/ 0 w 178"/>
                <a:gd name="T47" fmla="*/ 98 h 178"/>
                <a:gd name="T48" fmla="*/ 0 w 178"/>
                <a:gd name="T49" fmla="*/ 8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8" h="178">
                  <a:moveTo>
                    <a:pt x="0" y="89"/>
                  </a:moveTo>
                  <a:lnTo>
                    <a:pt x="0" y="80"/>
                  </a:lnTo>
                  <a:lnTo>
                    <a:pt x="7" y="54"/>
                  </a:lnTo>
                  <a:lnTo>
                    <a:pt x="26" y="26"/>
                  </a:lnTo>
                  <a:lnTo>
                    <a:pt x="55" y="7"/>
                  </a:lnTo>
                  <a:lnTo>
                    <a:pt x="81" y="0"/>
                  </a:lnTo>
                  <a:lnTo>
                    <a:pt x="89" y="0"/>
                  </a:lnTo>
                  <a:lnTo>
                    <a:pt x="98" y="0"/>
                  </a:lnTo>
                  <a:lnTo>
                    <a:pt x="124" y="7"/>
                  </a:lnTo>
                  <a:lnTo>
                    <a:pt x="152" y="26"/>
                  </a:lnTo>
                  <a:lnTo>
                    <a:pt x="171" y="54"/>
                  </a:lnTo>
                  <a:lnTo>
                    <a:pt x="178" y="80"/>
                  </a:lnTo>
                  <a:lnTo>
                    <a:pt x="178" y="89"/>
                  </a:lnTo>
                  <a:lnTo>
                    <a:pt x="178" y="98"/>
                  </a:lnTo>
                  <a:lnTo>
                    <a:pt x="171" y="123"/>
                  </a:lnTo>
                  <a:lnTo>
                    <a:pt x="152" y="152"/>
                  </a:lnTo>
                  <a:lnTo>
                    <a:pt x="124" y="171"/>
                  </a:lnTo>
                  <a:lnTo>
                    <a:pt x="98" y="178"/>
                  </a:lnTo>
                  <a:lnTo>
                    <a:pt x="89" y="178"/>
                  </a:lnTo>
                  <a:lnTo>
                    <a:pt x="81" y="178"/>
                  </a:lnTo>
                  <a:lnTo>
                    <a:pt x="55" y="171"/>
                  </a:lnTo>
                  <a:lnTo>
                    <a:pt x="26" y="152"/>
                  </a:lnTo>
                  <a:lnTo>
                    <a:pt x="7" y="123"/>
                  </a:lnTo>
                  <a:lnTo>
                    <a:pt x="0" y="98"/>
                  </a:lnTo>
                  <a:lnTo>
                    <a:pt x="0" y="89"/>
                  </a:lnTo>
                </a:path>
              </a:pathLst>
            </a:cu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79" name="Rectangle 73"/>
            <p:cNvSpPr>
              <a:spLocks noChangeArrowheads="1"/>
            </p:cNvSpPr>
            <p:nvPr/>
          </p:nvSpPr>
          <p:spPr bwMode="auto">
            <a:xfrm>
              <a:off x="4026126" y="3074988"/>
              <a:ext cx="82550" cy="80963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0" name="Rectangle 74"/>
            <p:cNvSpPr>
              <a:spLocks noChangeArrowheads="1"/>
            </p:cNvSpPr>
            <p:nvPr/>
          </p:nvSpPr>
          <p:spPr bwMode="auto">
            <a:xfrm>
              <a:off x="4026126" y="3074988"/>
              <a:ext cx="82550" cy="80963"/>
            </a:xfrm>
            <a:prstGeom prst="rect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1" name="Rectangle 75"/>
            <p:cNvSpPr>
              <a:spLocks noChangeArrowheads="1"/>
            </p:cNvSpPr>
            <p:nvPr/>
          </p:nvSpPr>
          <p:spPr bwMode="auto">
            <a:xfrm>
              <a:off x="4059464" y="2725738"/>
              <a:ext cx="82550" cy="80963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2" name="Rectangle 76"/>
            <p:cNvSpPr>
              <a:spLocks noChangeArrowheads="1"/>
            </p:cNvSpPr>
            <p:nvPr/>
          </p:nvSpPr>
          <p:spPr bwMode="auto">
            <a:xfrm>
              <a:off x="4059464" y="2725738"/>
              <a:ext cx="82550" cy="80963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3" name="Line 77"/>
            <p:cNvSpPr>
              <a:spLocks noChangeShapeType="1"/>
            </p:cNvSpPr>
            <p:nvPr/>
          </p:nvSpPr>
          <p:spPr bwMode="auto">
            <a:xfrm flipV="1">
              <a:off x="4067401" y="3086101"/>
              <a:ext cx="0" cy="60325"/>
            </a:xfrm>
            <a:prstGeom prst="line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4" name="Line 78"/>
            <p:cNvSpPr>
              <a:spLocks noChangeShapeType="1"/>
            </p:cNvSpPr>
            <p:nvPr/>
          </p:nvSpPr>
          <p:spPr bwMode="auto">
            <a:xfrm flipV="1">
              <a:off x="4102326" y="2736851"/>
              <a:ext cx="0" cy="60325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5" name="Rectangle 79"/>
            <p:cNvSpPr>
              <a:spLocks noChangeArrowheads="1"/>
            </p:cNvSpPr>
            <p:nvPr/>
          </p:nvSpPr>
          <p:spPr bwMode="auto">
            <a:xfrm>
              <a:off x="4483326" y="3106738"/>
              <a:ext cx="77788" cy="77788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6" name="Rectangle 80"/>
            <p:cNvSpPr>
              <a:spLocks noChangeArrowheads="1"/>
            </p:cNvSpPr>
            <p:nvPr/>
          </p:nvSpPr>
          <p:spPr bwMode="auto">
            <a:xfrm>
              <a:off x="4483326" y="3106738"/>
              <a:ext cx="77788" cy="77788"/>
            </a:xfrm>
            <a:prstGeom prst="rect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7" name="Rectangle 81"/>
            <p:cNvSpPr>
              <a:spLocks noChangeArrowheads="1"/>
            </p:cNvSpPr>
            <p:nvPr/>
          </p:nvSpPr>
          <p:spPr bwMode="auto">
            <a:xfrm>
              <a:off x="4518251" y="2916238"/>
              <a:ext cx="77788" cy="76200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8" name="Rectangle 82"/>
            <p:cNvSpPr>
              <a:spLocks noChangeArrowheads="1"/>
            </p:cNvSpPr>
            <p:nvPr/>
          </p:nvSpPr>
          <p:spPr bwMode="auto">
            <a:xfrm>
              <a:off x="4518251" y="2916238"/>
              <a:ext cx="77788" cy="762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89" name="Line 83"/>
            <p:cNvSpPr>
              <a:spLocks noChangeShapeType="1"/>
            </p:cNvSpPr>
            <p:nvPr/>
          </p:nvSpPr>
          <p:spPr bwMode="auto">
            <a:xfrm flipV="1">
              <a:off x="4523014" y="3111501"/>
              <a:ext cx="0" cy="68263"/>
            </a:xfrm>
            <a:prstGeom prst="line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0" name="Line 84"/>
            <p:cNvSpPr>
              <a:spLocks noChangeShapeType="1"/>
            </p:cNvSpPr>
            <p:nvPr/>
          </p:nvSpPr>
          <p:spPr bwMode="auto">
            <a:xfrm flipV="1">
              <a:off x="4556351" y="2919413"/>
              <a:ext cx="0" cy="69850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1" name="Rectangle 85"/>
            <p:cNvSpPr>
              <a:spLocks noChangeArrowheads="1"/>
            </p:cNvSpPr>
            <p:nvPr/>
          </p:nvSpPr>
          <p:spPr bwMode="auto">
            <a:xfrm>
              <a:off x="5170714" y="3176588"/>
              <a:ext cx="71438" cy="73025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2" name="Rectangle 86"/>
            <p:cNvSpPr>
              <a:spLocks noChangeArrowheads="1"/>
            </p:cNvSpPr>
            <p:nvPr/>
          </p:nvSpPr>
          <p:spPr bwMode="auto">
            <a:xfrm>
              <a:off x="5170714" y="3176588"/>
              <a:ext cx="71438" cy="73025"/>
            </a:xfrm>
            <a:prstGeom prst="rect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3" name="Rectangle 87"/>
            <p:cNvSpPr>
              <a:spLocks noChangeArrowheads="1"/>
            </p:cNvSpPr>
            <p:nvPr/>
          </p:nvSpPr>
          <p:spPr bwMode="auto">
            <a:xfrm>
              <a:off x="5204051" y="3074988"/>
              <a:ext cx="71438" cy="73025"/>
            </a:xfrm>
            <a:prstGeom prst="rect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4" name="Rectangle 88"/>
            <p:cNvSpPr>
              <a:spLocks noChangeArrowheads="1"/>
            </p:cNvSpPr>
            <p:nvPr/>
          </p:nvSpPr>
          <p:spPr bwMode="auto">
            <a:xfrm>
              <a:off x="5204051" y="3074988"/>
              <a:ext cx="71438" cy="73025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5" name="Line 89"/>
            <p:cNvSpPr>
              <a:spLocks noChangeShapeType="1"/>
            </p:cNvSpPr>
            <p:nvPr/>
          </p:nvSpPr>
          <p:spPr bwMode="auto">
            <a:xfrm flipV="1">
              <a:off x="5205639" y="3173413"/>
              <a:ext cx="0" cy="79375"/>
            </a:xfrm>
            <a:prstGeom prst="line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6" name="Line 90"/>
            <p:cNvSpPr>
              <a:spLocks noChangeShapeType="1"/>
            </p:cNvSpPr>
            <p:nvPr/>
          </p:nvSpPr>
          <p:spPr bwMode="auto">
            <a:xfrm flipV="1">
              <a:off x="5240564" y="3071813"/>
              <a:ext cx="0" cy="79375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7" name="Line 91"/>
            <p:cNvSpPr>
              <a:spLocks noChangeShapeType="1"/>
            </p:cNvSpPr>
            <p:nvPr/>
          </p:nvSpPr>
          <p:spPr bwMode="auto">
            <a:xfrm flipV="1">
              <a:off x="5889851" y="3317876"/>
              <a:ext cx="0" cy="88900"/>
            </a:xfrm>
            <a:prstGeom prst="line">
              <a:avLst/>
            </a:prstGeom>
            <a:grpFill/>
            <a:ln w="25400">
              <a:solidFill>
                <a:schemeClr val="accent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8" name="Line 92"/>
            <p:cNvSpPr>
              <a:spLocks noChangeShapeType="1"/>
            </p:cNvSpPr>
            <p:nvPr/>
          </p:nvSpPr>
          <p:spPr bwMode="auto">
            <a:xfrm flipV="1">
              <a:off x="5923189" y="3316288"/>
              <a:ext cx="0" cy="88900"/>
            </a:xfrm>
            <a:prstGeom prst="line">
              <a:avLst/>
            </a:prstGeom>
            <a:grpFill/>
            <a:ln w="25400">
              <a:solidFill>
                <a:schemeClr val="accent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99" name="Rectangle 93"/>
            <p:cNvSpPr>
              <a:spLocks noChangeArrowheads="1"/>
            </p:cNvSpPr>
            <p:nvPr/>
          </p:nvSpPr>
          <p:spPr bwMode="auto">
            <a:xfrm>
              <a:off x="5854926" y="3328988"/>
              <a:ext cx="68263" cy="66675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0" name="Rectangle 94"/>
            <p:cNvSpPr>
              <a:spLocks noChangeArrowheads="1"/>
            </p:cNvSpPr>
            <p:nvPr/>
          </p:nvSpPr>
          <p:spPr bwMode="auto">
            <a:xfrm>
              <a:off x="5854926" y="3328988"/>
              <a:ext cx="68263" cy="66675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1" name="Rectangle 95"/>
            <p:cNvSpPr>
              <a:spLocks noChangeArrowheads="1"/>
            </p:cNvSpPr>
            <p:nvPr/>
          </p:nvSpPr>
          <p:spPr bwMode="auto">
            <a:xfrm>
              <a:off x="5889851" y="3325813"/>
              <a:ext cx="68263" cy="68263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2" name="Rectangle 96"/>
            <p:cNvSpPr>
              <a:spLocks noChangeArrowheads="1"/>
            </p:cNvSpPr>
            <p:nvPr/>
          </p:nvSpPr>
          <p:spPr bwMode="auto">
            <a:xfrm>
              <a:off x="5889851" y="3325813"/>
              <a:ext cx="68263" cy="68263"/>
            </a:xfrm>
            <a:prstGeom prst="rect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3" name="Line 97"/>
            <p:cNvSpPr>
              <a:spLocks noChangeShapeType="1"/>
            </p:cNvSpPr>
            <p:nvPr/>
          </p:nvSpPr>
          <p:spPr bwMode="auto">
            <a:xfrm flipV="1">
              <a:off x="6572476" y="3390901"/>
              <a:ext cx="0" cy="107950"/>
            </a:xfrm>
            <a:prstGeom prst="line">
              <a:avLst/>
            </a:prstGeom>
            <a:grpFill/>
            <a:ln w="25400">
              <a:solidFill>
                <a:srgbClr val="C8568A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4" name="Line 98"/>
            <p:cNvSpPr>
              <a:spLocks noChangeShapeType="1"/>
            </p:cNvSpPr>
            <p:nvPr/>
          </p:nvSpPr>
          <p:spPr bwMode="auto">
            <a:xfrm flipV="1">
              <a:off x="6607401" y="3465513"/>
              <a:ext cx="0" cy="107950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5" name="Rectangle 99"/>
            <p:cNvSpPr>
              <a:spLocks noChangeArrowheads="1"/>
            </p:cNvSpPr>
            <p:nvPr/>
          </p:nvSpPr>
          <p:spPr bwMode="auto">
            <a:xfrm>
              <a:off x="6542314" y="3413126"/>
              <a:ext cx="61913" cy="61913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6" name="Rectangle 100"/>
            <p:cNvSpPr>
              <a:spLocks noChangeArrowheads="1"/>
            </p:cNvSpPr>
            <p:nvPr/>
          </p:nvSpPr>
          <p:spPr bwMode="auto">
            <a:xfrm>
              <a:off x="6542314" y="3413126"/>
              <a:ext cx="61913" cy="61913"/>
            </a:xfrm>
            <a:prstGeom prst="rect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7" name="Rectangle 101"/>
            <p:cNvSpPr>
              <a:spLocks noChangeArrowheads="1"/>
            </p:cNvSpPr>
            <p:nvPr/>
          </p:nvSpPr>
          <p:spPr bwMode="auto">
            <a:xfrm>
              <a:off x="6575651" y="3489326"/>
              <a:ext cx="61913" cy="60325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8" name="Rectangle 102"/>
            <p:cNvSpPr>
              <a:spLocks noChangeArrowheads="1"/>
            </p:cNvSpPr>
            <p:nvPr/>
          </p:nvSpPr>
          <p:spPr bwMode="auto">
            <a:xfrm>
              <a:off x="6575651" y="3489326"/>
              <a:ext cx="61913" cy="60325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09" name="Line 103"/>
            <p:cNvSpPr>
              <a:spLocks noChangeShapeType="1"/>
            </p:cNvSpPr>
            <p:nvPr/>
          </p:nvSpPr>
          <p:spPr bwMode="auto">
            <a:xfrm flipV="1">
              <a:off x="7256689" y="3489326"/>
              <a:ext cx="0" cy="128588"/>
            </a:xfrm>
            <a:prstGeom prst="line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0" name="Line 104"/>
            <p:cNvSpPr>
              <a:spLocks noChangeShapeType="1"/>
            </p:cNvSpPr>
            <p:nvPr/>
          </p:nvSpPr>
          <p:spPr bwMode="auto">
            <a:xfrm flipV="1">
              <a:off x="7290026" y="3609976"/>
              <a:ext cx="0" cy="128588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1" name="Rectangle 105"/>
            <p:cNvSpPr>
              <a:spLocks noChangeArrowheads="1"/>
            </p:cNvSpPr>
            <p:nvPr/>
          </p:nvSpPr>
          <p:spPr bwMode="auto">
            <a:xfrm>
              <a:off x="7228114" y="3524251"/>
              <a:ext cx="55563" cy="57150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2" name="Rectangle 106"/>
            <p:cNvSpPr>
              <a:spLocks noChangeArrowheads="1"/>
            </p:cNvSpPr>
            <p:nvPr/>
          </p:nvSpPr>
          <p:spPr bwMode="auto">
            <a:xfrm>
              <a:off x="7228114" y="3524251"/>
              <a:ext cx="55563" cy="57150"/>
            </a:xfrm>
            <a:prstGeom prst="rect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3" name="Rectangle 107"/>
            <p:cNvSpPr>
              <a:spLocks noChangeArrowheads="1"/>
            </p:cNvSpPr>
            <p:nvPr/>
          </p:nvSpPr>
          <p:spPr bwMode="auto">
            <a:xfrm>
              <a:off x="7261451" y="3646488"/>
              <a:ext cx="57150" cy="55563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4" name="Rectangle 108"/>
            <p:cNvSpPr>
              <a:spLocks noChangeArrowheads="1"/>
            </p:cNvSpPr>
            <p:nvPr/>
          </p:nvSpPr>
          <p:spPr bwMode="auto">
            <a:xfrm>
              <a:off x="7261451" y="3646488"/>
              <a:ext cx="57150" cy="55563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5" name="Line 109"/>
            <p:cNvSpPr>
              <a:spLocks noChangeShapeType="1"/>
            </p:cNvSpPr>
            <p:nvPr/>
          </p:nvSpPr>
          <p:spPr bwMode="auto">
            <a:xfrm flipV="1">
              <a:off x="7939314" y="3559176"/>
              <a:ext cx="0" cy="203200"/>
            </a:xfrm>
            <a:prstGeom prst="line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6" name="Line 110"/>
            <p:cNvSpPr>
              <a:spLocks noChangeShapeType="1"/>
            </p:cNvSpPr>
            <p:nvPr/>
          </p:nvSpPr>
          <p:spPr bwMode="auto">
            <a:xfrm flipV="1">
              <a:off x="7972651" y="3754438"/>
              <a:ext cx="0" cy="204788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7" name="Rectangle 111"/>
            <p:cNvSpPr>
              <a:spLocks noChangeArrowheads="1"/>
            </p:cNvSpPr>
            <p:nvPr/>
          </p:nvSpPr>
          <p:spPr bwMode="auto">
            <a:xfrm>
              <a:off x="7917089" y="3638551"/>
              <a:ext cx="44450" cy="44450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8" name="Rectangle 112"/>
            <p:cNvSpPr>
              <a:spLocks noChangeArrowheads="1"/>
            </p:cNvSpPr>
            <p:nvPr/>
          </p:nvSpPr>
          <p:spPr bwMode="auto">
            <a:xfrm>
              <a:off x="7917089" y="3638551"/>
              <a:ext cx="44450" cy="44450"/>
            </a:xfrm>
            <a:prstGeom prst="rect">
              <a:avLst/>
            </a:prstGeom>
            <a:solidFill>
              <a:srgbClr val="CE08A8"/>
            </a:solidFill>
            <a:ln w="25400">
              <a:solidFill>
                <a:srgbClr val="CE08A8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19" name="Rectangle 113"/>
            <p:cNvSpPr>
              <a:spLocks noChangeArrowheads="1"/>
            </p:cNvSpPr>
            <p:nvPr/>
          </p:nvSpPr>
          <p:spPr bwMode="auto">
            <a:xfrm>
              <a:off x="7950426" y="3833813"/>
              <a:ext cx="44450" cy="44450"/>
            </a:xfrm>
            <a:prstGeom prst="rect">
              <a:avLst/>
            </a:prstGeom>
            <a:grpFill/>
            <a:ln w="25400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20" name="Rectangle 114"/>
            <p:cNvSpPr>
              <a:spLocks noChangeArrowheads="1"/>
            </p:cNvSpPr>
            <p:nvPr/>
          </p:nvSpPr>
          <p:spPr bwMode="auto">
            <a:xfrm>
              <a:off x="7950426" y="3833813"/>
              <a:ext cx="44450" cy="4445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latin typeface="Mulish" pitchFamily="2" charset="0"/>
              </a:endParaRPr>
            </a:p>
          </p:txBody>
        </p:sp>
        <p:sp>
          <p:nvSpPr>
            <p:cNvPr id="121" name="Line 115"/>
            <p:cNvSpPr>
              <a:spLocks noChangeShapeType="1"/>
            </p:cNvSpPr>
            <p:nvPr/>
          </p:nvSpPr>
          <p:spPr bwMode="auto">
            <a:xfrm flipV="1">
              <a:off x="7270618" y="2201721"/>
              <a:ext cx="1946" cy="153321"/>
            </a:xfrm>
            <a:prstGeom prst="line">
              <a:avLst/>
            </a:prstGeom>
            <a:grpFill/>
            <a:ln w="25400">
              <a:solidFill>
                <a:srgbClr val="A87693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2" name="Line 116"/>
            <p:cNvSpPr>
              <a:spLocks noChangeShapeType="1"/>
            </p:cNvSpPr>
            <p:nvPr/>
          </p:nvSpPr>
          <p:spPr bwMode="auto">
            <a:xfrm flipV="1">
              <a:off x="7272564" y="2530333"/>
              <a:ext cx="0" cy="163513"/>
            </a:xfrm>
            <a:prstGeom prst="line">
              <a:avLst/>
            </a:prstGeom>
            <a:grpFill/>
            <a:ln w="25400">
              <a:solidFill>
                <a:schemeClr val="tx2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3" name="Rectangle 117"/>
            <p:cNvSpPr>
              <a:spLocks noChangeArrowheads="1"/>
            </p:cNvSpPr>
            <p:nvPr/>
          </p:nvSpPr>
          <p:spPr bwMode="auto">
            <a:xfrm>
              <a:off x="7221764" y="2231883"/>
              <a:ext cx="101600" cy="101600"/>
            </a:xfrm>
            <a:prstGeom prst="rect">
              <a:avLst/>
            </a:prstGeom>
            <a:grpFill/>
            <a:ln w="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4" name="Rectangle 118"/>
            <p:cNvSpPr>
              <a:spLocks noChangeArrowheads="1"/>
            </p:cNvSpPr>
            <p:nvPr/>
          </p:nvSpPr>
          <p:spPr bwMode="auto">
            <a:xfrm>
              <a:off x="7221764" y="2231883"/>
              <a:ext cx="101600" cy="101600"/>
            </a:xfrm>
            <a:prstGeom prst="rect">
              <a:avLst/>
            </a:prstGeom>
            <a:solidFill>
              <a:srgbClr val="CE08A8"/>
            </a:solidFill>
            <a:ln w="1588">
              <a:solidFill>
                <a:srgbClr val="CE08A8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5" name="Rectangle 119"/>
            <p:cNvSpPr>
              <a:spLocks noChangeArrowheads="1"/>
            </p:cNvSpPr>
            <p:nvPr/>
          </p:nvSpPr>
          <p:spPr bwMode="auto">
            <a:xfrm>
              <a:off x="7221764" y="2562083"/>
              <a:ext cx="101600" cy="100013"/>
            </a:xfrm>
            <a:prstGeom prst="rect">
              <a:avLst/>
            </a:prstGeom>
            <a:grpFill/>
            <a:ln w="25400">
              <a:solidFill>
                <a:srgbClr val="4A064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6" name="Rectangle 120"/>
            <p:cNvSpPr>
              <a:spLocks noChangeArrowheads="1"/>
            </p:cNvSpPr>
            <p:nvPr/>
          </p:nvSpPr>
          <p:spPr bwMode="auto">
            <a:xfrm>
              <a:off x="7221764" y="2562083"/>
              <a:ext cx="101600" cy="100013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 w="25400">
              <a:solidFill>
                <a:schemeClr val="tx2">
                  <a:lumMod val="50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Mulish" pitchFamily="2" charset="0"/>
              </a:endParaRPr>
            </a:p>
          </p:txBody>
        </p:sp>
        <p:sp>
          <p:nvSpPr>
            <p:cNvPr id="127" name="Rectangle 121"/>
            <p:cNvSpPr>
              <a:spLocks noChangeArrowheads="1"/>
            </p:cNvSpPr>
            <p:nvPr/>
          </p:nvSpPr>
          <p:spPr bwMode="auto">
            <a:xfrm>
              <a:off x="7444014" y="2146301"/>
              <a:ext cx="1037693" cy="1849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dirty="0" smtClean="0">
                  <a:ln>
                    <a:noFill/>
                  </a:ln>
                  <a:solidFill>
                    <a:srgbClr val="CE08A8"/>
                  </a:solidFill>
                  <a:effectLst/>
                  <a:latin typeface="Mulish" pitchFamily="2" charset="0"/>
                </a:rPr>
                <a:t>Empagliflozin</a:t>
              </a:r>
            </a:p>
          </p:txBody>
        </p:sp>
        <p:sp>
          <p:nvSpPr>
            <p:cNvPr id="128" name="Rectangle 122"/>
            <p:cNvSpPr>
              <a:spLocks noChangeArrowheads="1"/>
            </p:cNvSpPr>
            <p:nvPr/>
          </p:nvSpPr>
          <p:spPr bwMode="auto">
            <a:xfrm>
              <a:off x="7444014" y="2487613"/>
              <a:ext cx="614972" cy="184921"/>
            </a:xfrm>
            <a:prstGeom prst="rect">
              <a:avLst/>
            </a:prstGeom>
            <a:solidFill>
              <a:srgbClr val="FFFFFF"/>
            </a:solidFill>
            <a:ln w="25400">
              <a:solidFill>
                <a:schemeClr val="bg1"/>
              </a:solidFill>
              <a:miter lim="800000"/>
              <a:headEnd/>
              <a:tailEnd/>
            </a:ln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b="0" i="0" u="none" strike="noStrike" cap="none" normalizeH="0" baseline="0" dirty="0" smtClean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latin typeface="Mulish" pitchFamily="2" charset="0"/>
                </a:rPr>
                <a:t>Placebo</a:t>
              </a:r>
            </a:p>
          </p:txBody>
        </p:sp>
        <p:sp>
          <p:nvSpPr>
            <p:cNvPr id="144" name="Rectangle 143"/>
            <p:cNvSpPr>
              <a:spLocks noChangeArrowheads="1"/>
            </p:cNvSpPr>
            <p:nvPr/>
          </p:nvSpPr>
          <p:spPr bwMode="auto">
            <a:xfrm rot="16200000">
              <a:off x="1936920" y="3254391"/>
              <a:ext cx="2189776" cy="20012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b="1" dirty="0" err="1" smtClean="0">
                  <a:solidFill>
                    <a:srgbClr val="000000"/>
                  </a:solidFill>
                  <a:latin typeface="Mulish" pitchFamily="2" charset="0"/>
                </a:rPr>
                <a:t>eGFR</a:t>
              </a:r>
              <a:r>
                <a:rPr lang="en-US" altLang="en-US" b="1" dirty="0" smtClean="0">
                  <a:solidFill>
                    <a:srgbClr val="000000"/>
                  </a:solidFill>
                  <a:latin typeface="Mulish" pitchFamily="2" charset="0"/>
                </a:rPr>
                <a:t>, mL/min/1.73m</a:t>
              </a:r>
              <a:r>
                <a:rPr lang="en-US" altLang="en-US" b="1" baseline="30000" dirty="0" smtClean="0">
                  <a:solidFill>
                    <a:srgbClr val="000000"/>
                  </a:solidFill>
                  <a:latin typeface="Mulish" pitchFamily="2" charset="0"/>
                </a:rPr>
                <a:t>2</a:t>
              </a:r>
              <a:endParaRPr kumimoji="0" lang="en-US" altLang="en-US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Mulish" pitchFamily="2" charset="0"/>
              </a:endParaRPr>
            </a:p>
          </p:txBody>
        </p:sp>
      </p:grpSp>
      <p:sp>
        <p:nvSpPr>
          <p:cNvPr id="129" name="Rectangle 128"/>
          <p:cNvSpPr/>
          <p:nvPr/>
        </p:nvSpPr>
        <p:spPr>
          <a:xfrm>
            <a:off x="3442025" y="4517691"/>
            <a:ext cx="6112571" cy="4623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274">
              <a:lnSpc>
                <a:spcPct val="107000"/>
              </a:lnSpc>
              <a:spcBef>
                <a:spcPts val="110"/>
              </a:spcBef>
              <a:spcAft>
                <a:spcPts val="110"/>
              </a:spcAft>
              <a:defRPr/>
            </a:pPr>
            <a:r>
              <a:rPr lang="en-GB" sz="2400" b="1" dirty="0" smtClean="0">
                <a:latin typeface="Mulish" pitchFamily="2" charset="0"/>
              </a:rPr>
              <a:t>Chronic slope in mL/min/1.73m² </a:t>
            </a:r>
            <a:r>
              <a:rPr lang="en-GB" sz="2400" b="1" dirty="0">
                <a:latin typeface="Mulish" pitchFamily="2" charset="0"/>
              </a:rPr>
              <a:t>per year</a:t>
            </a:r>
            <a:endParaRPr lang="en-GB" sz="2400" b="1" dirty="0">
              <a:latin typeface="Mulish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0" name="Geschweifte Klammer rechts 5">
            <a:extLst>
              <a:ext uri="{FF2B5EF4-FFF2-40B4-BE49-F238E27FC236}">
                <a16:creationId xmlns:a16="http://schemas.microsoft.com/office/drawing/2014/main" id="{0EA85460-6385-484E-A72F-127AEC732DAA}"/>
              </a:ext>
            </a:extLst>
          </p:cNvPr>
          <p:cNvSpPr/>
          <p:nvPr/>
        </p:nvSpPr>
        <p:spPr>
          <a:xfrm rot="5400000">
            <a:off x="6196653" y="1752832"/>
            <a:ext cx="281967" cy="5389950"/>
          </a:xfrm>
          <a:prstGeom prst="rightBrace">
            <a:avLst/>
          </a:prstGeom>
          <a:ln w="25400">
            <a:solidFill>
              <a:srgbClr val="CE0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</p:txBody>
      </p:sp>
      <p:sp>
        <p:nvSpPr>
          <p:cNvPr id="4" name="Rounded Rectangle 3"/>
          <p:cNvSpPr/>
          <p:nvPr/>
        </p:nvSpPr>
        <p:spPr>
          <a:xfrm>
            <a:off x="7586456" y="2526416"/>
            <a:ext cx="4348927" cy="919401"/>
          </a:xfrm>
          <a:prstGeom prst="roundRect">
            <a:avLst/>
          </a:prstGeom>
          <a:ln w="28575">
            <a:solidFill>
              <a:schemeClr val="accent6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2400" dirty="0" smtClean="0">
                <a:latin typeface="Mulish" pitchFamily="2" charset="0"/>
              </a:rPr>
              <a:t>Difference of at least </a:t>
            </a:r>
            <a:r>
              <a:rPr lang="en-GB" sz="2400" b="1" dirty="0" smtClean="0">
                <a:latin typeface="Mulish" pitchFamily="2" charset="0"/>
              </a:rPr>
              <a:t>0.5 </a:t>
            </a:r>
            <a:r>
              <a:rPr lang="en-GB" sz="2400" dirty="0" smtClean="0">
                <a:latin typeface="Mulish" pitchFamily="2" charset="0"/>
              </a:rPr>
              <a:t>is considered effective</a:t>
            </a:r>
            <a:endParaRPr lang="en-GB" sz="2400" dirty="0">
              <a:latin typeface="Mulish" pitchFamily="2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7114038" y="5584924"/>
            <a:ext cx="2884401" cy="381057"/>
          </a:xfrm>
          <a:prstGeom prst="round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103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4" y="270197"/>
            <a:ext cx="11296650" cy="1143000"/>
          </a:xfrm>
        </p:spPr>
        <p:txBody>
          <a:bodyPr>
            <a:normAutofit/>
          </a:bodyPr>
          <a:lstStyle/>
          <a:p>
            <a:r>
              <a:rPr lang="en-GB" dirty="0" smtClean="0"/>
              <a:t>What does it mean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4" y="1556072"/>
            <a:ext cx="11744326" cy="530192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600" dirty="0" smtClean="0">
                <a:latin typeface="Mulish" pitchFamily="2" charset="0"/>
              </a:rPr>
              <a:t>In chronic kidney disease, kidney function (eGFR) declines each year, at different rates depending on various factors</a:t>
            </a:r>
          </a:p>
          <a:p>
            <a:r>
              <a:rPr lang="en-GB" sz="2600" dirty="0" smtClean="0">
                <a:latin typeface="Mulish" pitchFamily="2" charset="0"/>
              </a:rPr>
              <a:t>This may be around 1 unit of eGFR per year</a:t>
            </a:r>
          </a:p>
          <a:p>
            <a:r>
              <a:rPr lang="en-GB" sz="2600" dirty="0" smtClean="0">
                <a:latin typeface="Mulish" pitchFamily="2" charset="0"/>
              </a:rPr>
              <a:t>Or as fast as 5 units of eGFR per year in those progressing rapidly</a:t>
            </a:r>
          </a:p>
          <a:p>
            <a:pPr marL="0" indent="0">
              <a:buNone/>
            </a:pPr>
            <a:endParaRPr lang="en-GB" sz="2600" dirty="0" smtClean="0">
              <a:latin typeface="Mulish" pitchFamily="2" charset="0"/>
            </a:endParaRPr>
          </a:p>
          <a:p>
            <a:pPr marL="0" indent="0">
              <a:buNone/>
            </a:pPr>
            <a:r>
              <a:rPr lang="en-GB" sz="2600" b="1" dirty="0" smtClean="0">
                <a:solidFill>
                  <a:srgbClr val="CE08A8"/>
                </a:solidFill>
                <a:latin typeface="Mulish" pitchFamily="2" charset="0"/>
              </a:rPr>
              <a:t>Empagliflozin prevented loss of 1.4 units of eGFR per year</a:t>
            </a:r>
          </a:p>
          <a:p>
            <a:r>
              <a:rPr lang="en-GB" sz="2600" dirty="0" smtClean="0">
                <a:latin typeface="Mulish" pitchFamily="2" charset="0"/>
              </a:rPr>
              <a:t>Which effectively means halting progression in those progressing slowly</a:t>
            </a:r>
          </a:p>
          <a:p>
            <a:r>
              <a:rPr lang="en-GB" sz="2600" dirty="0" smtClean="0">
                <a:latin typeface="Mulish" pitchFamily="2" charset="0"/>
              </a:rPr>
              <a:t>And considerably delaying progression and increasing the time until dialysis is required for those progressing more quickly</a:t>
            </a:r>
          </a:p>
          <a:p>
            <a:endParaRPr lang="en-GB" sz="2600" dirty="0">
              <a:latin typeface="Mulish" pitchFamily="2" charset="0"/>
            </a:endParaRPr>
          </a:p>
          <a:p>
            <a:endParaRPr lang="en-GB" sz="2600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1034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8458" y="4509120"/>
            <a:ext cx="6821919" cy="1752600"/>
          </a:xfrm>
        </p:spPr>
        <p:txBody>
          <a:bodyPr>
            <a:normAutofit/>
          </a:bodyPr>
          <a:lstStyle/>
          <a:p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eGFR slope analyses:</a:t>
            </a:r>
          </a:p>
          <a:p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Key subgroup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08"/>
          <a:stretch/>
        </p:blipFill>
        <p:spPr>
          <a:xfrm>
            <a:off x="119798" y="548680"/>
            <a:ext cx="11952404" cy="371241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06283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oal</a:t>
            </a:r>
            <a:endParaRPr lang="en-GB" dirty="0"/>
          </a:p>
        </p:txBody>
      </p:sp>
      <p:pic>
        <p:nvPicPr>
          <p:cNvPr id="5" name="Picture 2" descr="https://cdn-icons.flaticon.com/png/512/3974/premium/3974915.png?token=exp=1660217616~hmac=7f4cc16f5a1a7fb1cd2e97c4ec7650a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9433" y="1859343"/>
            <a:ext cx="810219" cy="810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Connector 5"/>
          <p:cNvCxnSpPr/>
          <p:nvPr/>
        </p:nvCxnSpPr>
        <p:spPr>
          <a:xfrm>
            <a:off x="3866688" y="2448482"/>
            <a:ext cx="7599598" cy="443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5850855" y="2640646"/>
            <a:ext cx="1087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2021</a:t>
            </a:r>
            <a:endParaRPr lang="en-GB" b="1" dirty="0">
              <a:latin typeface="Mulish" pitchFamily="2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49648" y="1714408"/>
            <a:ext cx="115847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err="1" smtClean="0">
                <a:latin typeface="Mulish" pitchFamily="2" charset="0"/>
              </a:rPr>
              <a:t>eGFR</a:t>
            </a:r>
            <a:r>
              <a:rPr lang="en-GB" dirty="0" smtClean="0">
                <a:latin typeface="Mulish" pitchFamily="2" charset="0"/>
              </a:rPr>
              <a:t> 21</a:t>
            </a:r>
            <a:endParaRPr lang="en-GB" dirty="0">
              <a:latin typeface="Mulish" pitchFamily="2" charset="0"/>
            </a:endParaRPr>
          </a:p>
        </p:txBody>
      </p:sp>
      <p:pic>
        <p:nvPicPr>
          <p:cNvPr id="10" name="Picture 8" descr="https://cdn-icons.flaticon.com/png/512/2117/premium/2117067.png?token=exp=1660217672~hmac=6d9f90e6144bb500d5c8ad3b417b29c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1085" y="2083740"/>
            <a:ext cx="675603" cy="675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https://cdn-icons.flaticon.com/png/512/3974/premium/3974915.png?token=exp=1660217616~hmac=7f4cc16f5a1a7fb1cd2e97c4ec7650a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9683" y="3571376"/>
            <a:ext cx="810219" cy="810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7131105" y="4352679"/>
            <a:ext cx="1087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2022</a:t>
            </a:r>
            <a:endParaRPr lang="en-GB" b="1" dirty="0">
              <a:latin typeface="Mulish" pitchFamily="2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959198" y="3398577"/>
            <a:ext cx="115847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err="1" smtClean="0">
                <a:latin typeface="Mulish" pitchFamily="2" charset="0"/>
              </a:rPr>
              <a:t>eGFR</a:t>
            </a:r>
            <a:r>
              <a:rPr lang="en-GB" dirty="0" smtClean="0">
                <a:latin typeface="Mulish" pitchFamily="2" charset="0"/>
              </a:rPr>
              <a:t> 26</a:t>
            </a:r>
            <a:endParaRPr lang="en-GB" dirty="0">
              <a:latin typeface="Mulish" pitchFamily="2" charset="0"/>
            </a:endParaRPr>
          </a:p>
        </p:txBody>
      </p:sp>
      <p:pic>
        <p:nvPicPr>
          <p:cNvPr id="16" name="Picture 8" descr="https://cdn-icons.flaticon.com/png/512/2117/premium/2117067.png?token=exp=1660217672~hmac=6d9f90e6144bb500d5c8ad3b417b29c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635" y="3767909"/>
            <a:ext cx="675603" cy="675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https://cdn-icons.flaticon.com/png/512/3974/premium/3974915.png?token=exp=1660217616~hmac=7f4cc16f5a1a7fb1cd2e97c4ec7650a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8241" y="5172430"/>
            <a:ext cx="810219" cy="810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2959198" y="6228732"/>
            <a:ext cx="1087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2019</a:t>
            </a:r>
            <a:endParaRPr lang="en-GB" b="1" dirty="0">
              <a:latin typeface="Mulish" pitchFamily="2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619663" y="5953733"/>
            <a:ext cx="1087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2024</a:t>
            </a:r>
            <a:endParaRPr lang="en-GB" b="1" dirty="0">
              <a:latin typeface="Mulish" pitchFamily="2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49648" y="4998565"/>
            <a:ext cx="115847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err="1" smtClean="0">
                <a:latin typeface="Mulish" pitchFamily="2" charset="0"/>
              </a:rPr>
              <a:t>eGFR</a:t>
            </a:r>
            <a:r>
              <a:rPr lang="en-GB" dirty="0" smtClean="0">
                <a:latin typeface="Mulish" pitchFamily="2" charset="0"/>
              </a:rPr>
              <a:t> 35</a:t>
            </a:r>
            <a:endParaRPr lang="en-GB" dirty="0">
              <a:latin typeface="Mulish" pitchFamily="2" charset="0"/>
            </a:endParaRPr>
          </a:p>
        </p:txBody>
      </p:sp>
      <p:pic>
        <p:nvPicPr>
          <p:cNvPr id="22" name="Picture 8" descr="https://cdn-icons.flaticon.com/png/512/2117/premium/2117067.png?token=exp=1660217672~hmac=6d9f90e6144bb500d5c8ad3b417b29c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1085" y="5367897"/>
            <a:ext cx="675603" cy="675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Straight Connector 28"/>
          <p:cNvCxnSpPr/>
          <p:nvPr/>
        </p:nvCxnSpPr>
        <p:spPr>
          <a:xfrm>
            <a:off x="3982802" y="4139911"/>
            <a:ext cx="7599598" cy="443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108124" y="5740829"/>
            <a:ext cx="7599598" cy="443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 descr="https://cdn-icons-png.flaticon.com/512/3001/3001768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917" y="1859343"/>
            <a:ext cx="900000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4" descr="https://cdn-icons-png.flaticon.com/512/3001/3001797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917" y="3452679"/>
            <a:ext cx="900000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6" descr="https://cdn-icons-png.flaticon.com/512/3001/3001799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917" y="5194015"/>
            <a:ext cx="900000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1164578" y="1761552"/>
            <a:ext cx="185968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 smtClean="0">
                <a:latin typeface="Mulish" pitchFamily="2" charset="0"/>
              </a:rPr>
              <a:t>Age 52</a:t>
            </a:r>
          </a:p>
          <a:p>
            <a:pPr algn="ctr"/>
            <a:endParaRPr lang="en-GB" sz="800" dirty="0" smtClean="0">
              <a:latin typeface="Mulish" pitchFamily="2" charset="0"/>
            </a:endParaRPr>
          </a:p>
          <a:p>
            <a:pPr algn="ctr"/>
            <a:r>
              <a:rPr lang="en-GB" sz="1600" dirty="0" smtClean="0">
                <a:latin typeface="Mulish" pitchFamily="2" charset="0"/>
              </a:rPr>
              <a:t>Kidney disease </a:t>
            </a:r>
          </a:p>
          <a:p>
            <a:pPr algn="ctr"/>
            <a:r>
              <a:rPr lang="en-GB" sz="1600" dirty="0" smtClean="0">
                <a:latin typeface="Mulish" pitchFamily="2" charset="0"/>
              </a:rPr>
              <a:t>due to </a:t>
            </a:r>
            <a:r>
              <a:rPr lang="en-GB" sz="1600" b="1" dirty="0" smtClean="0">
                <a:latin typeface="Mulish" pitchFamily="2" charset="0"/>
              </a:rPr>
              <a:t>diabetes</a:t>
            </a:r>
          </a:p>
          <a:p>
            <a:pPr algn="ctr"/>
            <a:endParaRPr lang="en-GB" sz="1600" dirty="0">
              <a:latin typeface="Mulish" pitchFamily="2" charset="0"/>
            </a:endParaRPr>
          </a:p>
          <a:p>
            <a:pPr algn="ctr"/>
            <a:endParaRPr lang="en-GB" sz="1600" dirty="0">
              <a:latin typeface="Mulish" pitchFamily="2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164578" y="3253298"/>
            <a:ext cx="1859684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 smtClean="0">
                <a:latin typeface="Mulish" pitchFamily="2" charset="0"/>
              </a:rPr>
              <a:t>Age 65</a:t>
            </a:r>
          </a:p>
          <a:p>
            <a:pPr algn="ctr"/>
            <a:endParaRPr lang="en-GB" sz="800" dirty="0" smtClean="0">
              <a:latin typeface="Mulish" pitchFamily="2" charset="0"/>
            </a:endParaRPr>
          </a:p>
          <a:p>
            <a:pPr algn="ctr"/>
            <a:r>
              <a:rPr lang="en-GB" sz="1600" dirty="0" smtClean="0">
                <a:latin typeface="Mulish" pitchFamily="2" charset="0"/>
              </a:rPr>
              <a:t>Kidney disease </a:t>
            </a:r>
          </a:p>
          <a:p>
            <a:pPr algn="ctr"/>
            <a:r>
              <a:rPr lang="en-GB" sz="1600" dirty="0" smtClean="0">
                <a:latin typeface="Mulish" pitchFamily="2" charset="0"/>
              </a:rPr>
              <a:t>due to </a:t>
            </a:r>
            <a:r>
              <a:rPr lang="en-GB" sz="1600" b="1" dirty="0" smtClean="0">
                <a:latin typeface="Mulish" pitchFamily="2" charset="0"/>
              </a:rPr>
              <a:t>high  blood pressure</a:t>
            </a:r>
          </a:p>
          <a:p>
            <a:pPr algn="ctr"/>
            <a:endParaRPr lang="en-GB" sz="1600" dirty="0">
              <a:latin typeface="Mulish" pitchFamily="2" charset="0"/>
            </a:endParaRPr>
          </a:p>
          <a:p>
            <a:pPr algn="ctr"/>
            <a:endParaRPr lang="en-GB" sz="1600" dirty="0">
              <a:latin typeface="Mulish" pitchFamily="2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923143" y="4998565"/>
            <a:ext cx="2342553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 smtClean="0">
                <a:latin typeface="Mulish" pitchFamily="2" charset="0"/>
              </a:rPr>
              <a:t>Age 41</a:t>
            </a:r>
          </a:p>
          <a:p>
            <a:pPr algn="ctr"/>
            <a:endParaRPr lang="en-GB" sz="800" dirty="0" smtClean="0">
              <a:latin typeface="Mulish" pitchFamily="2" charset="0"/>
            </a:endParaRPr>
          </a:p>
          <a:p>
            <a:pPr algn="ctr"/>
            <a:r>
              <a:rPr lang="en-GB" sz="1600" dirty="0" smtClean="0">
                <a:latin typeface="Mulish" pitchFamily="2" charset="0"/>
              </a:rPr>
              <a:t>Kidney disease </a:t>
            </a:r>
          </a:p>
          <a:p>
            <a:pPr algn="ctr"/>
            <a:r>
              <a:rPr lang="en-GB" sz="1600" dirty="0" smtClean="0">
                <a:latin typeface="Mulish" pitchFamily="2" charset="0"/>
              </a:rPr>
              <a:t>due to </a:t>
            </a:r>
            <a:r>
              <a:rPr lang="en-GB" sz="1600" b="1" dirty="0" smtClean="0">
                <a:latin typeface="Mulish" pitchFamily="2" charset="0"/>
              </a:rPr>
              <a:t>glomerulonephritis</a:t>
            </a:r>
          </a:p>
          <a:p>
            <a:pPr algn="ctr"/>
            <a:endParaRPr lang="en-GB" sz="1600" dirty="0">
              <a:latin typeface="Mulish" pitchFamily="2" charset="0"/>
            </a:endParaRPr>
          </a:p>
          <a:p>
            <a:pPr algn="ctr"/>
            <a:endParaRPr lang="en-GB" sz="1600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624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ronic </a:t>
            </a:r>
            <a:r>
              <a:rPr lang="en-GB" dirty="0" err="1"/>
              <a:t>eGFR</a:t>
            </a:r>
            <a:r>
              <a:rPr lang="en-GB" dirty="0"/>
              <a:t> slopes by albuminuria</a:t>
            </a: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609600" y="1603376"/>
            <a:ext cx="11458575" cy="4648200"/>
            <a:chOff x="384" y="1010"/>
            <a:chExt cx="7218" cy="2928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384" y="1052"/>
              <a:ext cx="7218" cy="2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Line 6"/>
            <p:cNvSpPr>
              <a:spLocks noChangeShapeType="1"/>
            </p:cNvSpPr>
            <p:nvPr/>
          </p:nvSpPr>
          <p:spPr bwMode="auto">
            <a:xfrm>
              <a:off x="4348" y="3264"/>
              <a:ext cx="1435" cy="0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Line 7"/>
            <p:cNvSpPr>
              <a:spLocks noChangeShapeType="1"/>
            </p:cNvSpPr>
            <p:nvPr/>
          </p:nvSpPr>
          <p:spPr bwMode="auto">
            <a:xfrm>
              <a:off x="4348" y="3264"/>
              <a:ext cx="0" cy="11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Line 8"/>
            <p:cNvSpPr>
              <a:spLocks noChangeShapeType="1"/>
            </p:cNvSpPr>
            <p:nvPr/>
          </p:nvSpPr>
          <p:spPr bwMode="auto">
            <a:xfrm>
              <a:off x="4828" y="3264"/>
              <a:ext cx="0" cy="11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Line 9"/>
            <p:cNvSpPr>
              <a:spLocks noChangeShapeType="1"/>
            </p:cNvSpPr>
            <p:nvPr/>
          </p:nvSpPr>
          <p:spPr bwMode="auto">
            <a:xfrm>
              <a:off x="5303" y="3264"/>
              <a:ext cx="0" cy="11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Line 10"/>
            <p:cNvSpPr>
              <a:spLocks noChangeShapeType="1"/>
            </p:cNvSpPr>
            <p:nvPr/>
          </p:nvSpPr>
          <p:spPr bwMode="auto">
            <a:xfrm>
              <a:off x="5783" y="3264"/>
              <a:ext cx="0" cy="11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4141" y="3355"/>
              <a:ext cx="299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1.0</a:t>
              </a:r>
              <a:endParaRPr kumimoji="0" lang="en-US" altLang="en-US" sz="1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4726" y="3355"/>
              <a:ext cx="97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5138" y="3355"/>
              <a:ext cx="230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.0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6" name="Rectangle 14"/>
            <p:cNvSpPr>
              <a:spLocks noChangeArrowheads="1"/>
            </p:cNvSpPr>
            <p:nvPr/>
          </p:nvSpPr>
          <p:spPr bwMode="auto">
            <a:xfrm>
              <a:off x="5618" y="3355"/>
              <a:ext cx="230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.0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7" name="Line 15"/>
            <p:cNvSpPr>
              <a:spLocks noChangeShapeType="1"/>
            </p:cNvSpPr>
            <p:nvPr/>
          </p:nvSpPr>
          <p:spPr bwMode="auto">
            <a:xfrm flipH="1">
              <a:off x="4828" y="1725"/>
              <a:ext cx="0" cy="1539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Rectangle 16"/>
            <p:cNvSpPr>
              <a:spLocks noChangeArrowheads="1"/>
            </p:cNvSpPr>
            <p:nvPr/>
          </p:nvSpPr>
          <p:spPr bwMode="auto">
            <a:xfrm>
              <a:off x="3069" y="3553"/>
              <a:ext cx="1316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Placebo Better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9" name="Rectangle 17"/>
            <p:cNvSpPr>
              <a:spLocks noChangeArrowheads="1"/>
            </p:cNvSpPr>
            <p:nvPr/>
          </p:nvSpPr>
          <p:spPr bwMode="auto">
            <a:xfrm>
              <a:off x="5110" y="3553"/>
              <a:ext cx="1811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Empagliflozin Better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0" name="Line 18"/>
            <p:cNvSpPr>
              <a:spLocks noChangeShapeType="1"/>
            </p:cNvSpPr>
            <p:nvPr/>
          </p:nvSpPr>
          <p:spPr bwMode="auto">
            <a:xfrm>
              <a:off x="5483" y="1990"/>
              <a:ext cx="0" cy="98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auto">
            <a:xfrm>
              <a:off x="5381" y="2958"/>
              <a:ext cx="204" cy="168"/>
            </a:xfrm>
            <a:custGeom>
              <a:avLst/>
              <a:gdLst>
                <a:gd name="T0" fmla="*/ 0 w 204"/>
                <a:gd name="T1" fmla="*/ 84 h 168"/>
                <a:gd name="T2" fmla="*/ 102 w 204"/>
                <a:gd name="T3" fmla="*/ 168 h 168"/>
                <a:gd name="T4" fmla="*/ 204 w 204"/>
                <a:gd name="T5" fmla="*/ 84 h 168"/>
                <a:gd name="T6" fmla="*/ 102 w 204"/>
                <a:gd name="T7" fmla="*/ 0 h 168"/>
                <a:gd name="T8" fmla="*/ 0 w 204"/>
                <a:gd name="T9" fmla="*/ 8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" h="168">
                  <a:moveTo>
                    <a:pt x="0" y="84"/>
                  </a:moveTo>
                  <a:lnTo>
                    <a:pt x="102" y="168"/>
                  </a:lnTo>
                  <a:lnTo>
                    <a:pt x="204" y="84"/>
                  </a:lnTo>
                  <a:lnTo>
                    <a:pt x="102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FFFFFF"/>
            </a:solidFill>
            <a:ln w="28575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Rectangle 33"/>
            <p:cNvSpPr>
              <a:spLocks noChangeArrowheads="1"/>
            </p:cNvSpPr>
            <p:nvPr/>
          </p:nvSpPr>
          <p:spPr bwMode="auto">
            <a:xfrm>
              <a:off x="5898" y="2916"/>
              <a:ext cx="504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.37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/>
          </p:nvSpPr>
          <p:spPr bwMode="auto">
            <a:xfrm>
              <a:off x="6444" y="2916"/>
              <a:ext cx="1033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(1.16, 1.59)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9" name="Rectangle 37"/>
            <p:cNvSpPr>
              <a:spLocks noChangeArrowheads="1"/>
            </p:cNvSpPr>
            <p:nvPr/>
          </p:nvSpPr>
          <p:spPr bwMode="auto">
            <a:xfrm>
              <a:off x="2273" y="1010"/>
              <a:ext cx="1485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Mean slope (SE)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Rectangle 38"/>
            <p:cNvSpPr>
              <a:spLocks noChangeArrowheads="1"/>
            </p:cNvSpPr>
            <p:nvPr/>
          </p:nvSpPr>
          <p:spPr bwMode="auto">
            <a:xfrm>
              <a:off x="2050" y="1239"/>
              <a:ext cx="1932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mL/min/1.73m²/year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" name="Rectangle 39"/>
            <p:cNvSpPr>
              <a:spLocks noChangeArrowheads="1"/>
            </p:cNvSpPr>
            <p:nvPr/>
          </p:nvSpPr>
          <p:spPr bwMode="auto">
            <a:xfrm>
              <a:off x="1822" y="1467"/>
              <a:ext cx="2265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r>
                <a:rPr kumimoji="0" lang="en-US" altLang="en-US" sz="2400" b="1" i="0" u="none" strike="noStrike" cap="none" normalizeH="0" baseline="0" dirty="0" err="1" smtClean="0">
                  <a:ln>
                    <a:noFill/>
                  </a:ln>
                  <a:solidFill>
                    <a:srgbClr val="D436B8"/>
                  </a:solidFill>
                  <a:effectLst/>
                  <a:latin typeface="Mulish" pitchFamily="2" charset="0"/>
                </a:rPr>
                <a:t>Empagliflozin</a:t>
              </a: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   Placebo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40"/>
            <p:cNvSpPr>
              <a:spLocks noChangeArrowheads="1"/>
            </p:cNvSpPr>
            <p:nvPr/>
          </p:nvSpPr>
          <p:spPr bwMode="auto">
            <a:xfrm>
              <a:off x="2945" y="1696"/>
              <a:ext cx="114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" name="Rectangle 41"/>
            <p:cNvSpPr>
              <a:spLocks noChangeArrowheads="1"/>
            </p:cNvSpPr>
            <p:nvPr/>
          </p:nvSpPr>
          <p:spPr bwMode="auto">
            <a:xfrm>
              <a:off x="498" y="1696"/>
              <a:ext cx="168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" name="Rectangle 49"/>
            <p:cNvSpPr>
              <a:spLocks noChangeArrowheads="1"/>
            </p:cNvSpPr>
            <p:nvPr/>
          </p:nvSpPr>
          <p:spPr bwMode="auto">
            <a:xfrm>
              <a:off x="2048" y="2916"/>
              <a:ext cx="1069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D436B8"/>
                  </a:solidFill>
                  <a:effectLst/>
                  <a:latin typeface="Mulish" pitchFamily="2" charset="0"/>
                </a:rPr>
                <a:t>-1.37 (0.08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rgbClr val="D436B8"/>
                </a:solidFill>
                <a:effectLst/>
              </a:endParaRPr>
            </a:p>
          </p:txBody>
        </p:sp>
        <p:sp>
          <p:nvSpPr>
            <p:cNvPr id="55" name="Rectangle 53"/>
            <p:cNvSpPr>
              <a:spLocks noChangeArrowheads="1"/>
            </p:cNvSpPr>
            <p:nvPr/>
          </p:nvSpPr>
          <p:spPr bwMode="auto">
            <a:xfrm>
              <a:off x="3267" y="2916"/>
              <a:ext cx="1171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2.75 (0.08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8" name="Rectangle 56"/>
            <p:cNvSpPr>
              <a:spLocks noChangeArrowheads="1"/>
            </p:cNvSpPr>
            <p:nvPr/>
          </p:nvSpPr>
          <p:spPr bwMode="auto">
            <a:xfrm>
              <a:off x="2048" y="1010"/>
              <a:ext cx="168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9" name="Rectangle 57"/>
            <p:cNvSpPr>
              <a:spLocks noChangeArrowheads="1"/>
            </p:cNvSpPr>
            <p:nvPr/>
          </p:nvSpPr>
          <p:spPr bwMode="auto">
            <a:xfrm>
              <a:off x="3267" y="1010"/>
              <a:ext cx="168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0" name="Rectangle 58"/>
            <p:cNvSpPr>
              <a:spLocks noChangeArrowheads="1"/>
            </p:cNvSpPr>
            <p:nvPr/>
          </p:nvSpPr>
          <p:spPr bwMode="auto">
            <a:xfrm>
              <a:off x="7411" y="1010"/>
              <a:ext cx="168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63" name="Line 60"/>
          <p:cNvSpPr>
            <a:spLocks noChangeShapeType="1"/>
          </p:cNvSpPr>
          <p:nvPr/>
        </p:nvSpPr>
        <p:spPr bwMode="auto">
          <a:xfrm flipV="1">
            <a:off x="638175" y="2738778"/>
            <a:ext cx="11102975" cy="9526"/>
          </a:xfrm>
          <a:prstGeom prst="line">
            <a:avLst/>
          </a:prstGeom>
          <a:noFill/>
          <a:ln w="2540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00">
              <a:latin typeface="Mulish" pitchFamily="2" charset="0"/>
            </a:endParaRPr>
          </a:p>
        </p:txBody>
      </p:sp>
      <p:sp>
        <p:nvSpPr>
          <p:cNvPr id="65" name="Rectangle 45"/>
          <p:cNvSpPr>
            <a:spLocks noChangeArrowheads="1"/>
          </p:cNvSpPr>
          <p:nvPr/>
        </p:nvSpPr>
        <p:spPr bwMode="auto">
          <a:xfrm>
            <a:off x="942975" y="4629151"/>
            <a:ext cx="3905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All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6" name="Rectangle 34"/>
          <p:cNvSpPr>
            <a:spLocks noChangeArrowheads="1"/>
          </p:cNvSpPr>
          <p:nvPr/>
        </p:nvSpPr>
        <p:spPr bwMode="auto">
          <a:xfrm>
            <a:off x="8718550" y="1958976"/>
            <a:ext cx="3022600" cy="496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Difference between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Rectangle 35"/>
          <p:cNvSpPr>
            <a:spLocks noChangeArrowheads="1"/>
          </p:cNvSpPr>
          <p:nvPr/>
        </p:nvSpPr>
        <p:spPr bwMode="auto">
          <a:xfrm>
            <a:off x="8561388" y="2322514"/>
            <a:ext cx="3336925" cy="496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mean slopes (95% CI)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751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hronic </a:t>
            </a:r>
            <a:r>
              <a:rPr lang="en-GB" dirty="0" err="1" smtClean="0"/>
              <a:t>eGFR</a:t>
            </a:r>
            <a:r>
              <a:rPr lang="en-GB" dirty="0" smtClean="0"/>
              <a:t> slopes </a:t>
            </a:r>
            <a:r>
              <a:rPr lang="en-GB" dirty="0"/>
              <a:t>by </a:t>
            </a:r>
            <a:r>
              <a:rPr lang="en-GB" dirty="0" smtClean="0"/>
              <a:t>albuminuria</a:t>
            </a:r>
            <a:endParaRPr lang="en-GB" dirty="0"/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609600" y="1603376"/>
            <a:ext cx="11458575" cy="4648200"/>
            <a:chOff x="384" y="1010"/>
            <a:chExt cx="7218" cy="2928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384" y="1052"/>
              <a:ext cx="7218" cy="2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Line 6"/>
            <p:cNvSpPr>
              <a:spLocks noChangeShapeType="1"/>
            </p:cNvSpPr>
            <p:nvPr/>
          </p:nvSpPr>
          <p:spPr bwMode="auto">
            <a:xfrm>
              <a:off x="4348" y="3264"/>
              <a:ext cx="1435" cy="0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Line 7"/>
            <p:cNvSpPr>
              <a:spLocks noChangeShapeType="1"/>
            </p:cNvSpPr>
            <p:nvPr/>
          </p:nvSpPr>
          <p:spPr bwMode="auto">
            <a:xfrm>
              <a:off x="4348" y="3264"/>
              <a:ext cx="0" cy="11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Line 8"/>
            <p:cNvSpPr>
              <a:spLocks noChangeShapeType="1"/>
            </p:cNvSpPr>
            <p:nvPr/>
          </p:nvSpPr>
          <p:spPr bwMode="auto">
            <a:xfrm>
              <a:off x="4828" y="3264"/>
              <a:ext cx="0" cy="11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Line 9"/>
            <p:cNvSpPr>
              <a:spLocks noChangeShapeType="1"/>
            </p:cNvSpPr>
            <p:nvPr/>
          </p:nvSpPr>
          <p:spPr bwMode="auto">
            <a:xfrm>
              <a:off x="5303" y="3264"/>
              <a:ext cx="0" cy="11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Line 10"/>
            <p:cNvSpPr>
              <a:spLocks noChangeShapeType="1"/>
            </p:cNvSpPr>
            <p:nvPr/>
          </p:nvSpPr>
          <p:spPr bwMode="auto">
            <a:xfrm>
              <a:off x="5783" y="3264"/>
              <a:ext cx="0" cy="11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4141" y="3355"/>
              <a:ext cx="299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1.0</a:t>
              </a:r>
              <a:endParaRPr kumimoji="0" lang="en-US" altLang="en-US" sz="1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4726" y="3355"/>
              <a:ext cx="97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5138" y="3355"/>
              <a:ext cx="230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.0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6" name="Rectangle 14"/>
            <p:cNvSpPr>
              <a:spLocks noChangeArrowheads="1"/>
            </p:cNvSpPr>
            <p:nvPr/>
          </p:nvSpPr>
          <p:spPr bwMode="auto">
            <a:xfrm>
              <a:off x="5618" y="3355"/>
              <a:ext cx="230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.0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7" name="Line 15"/>
            <p:cNvSpPr>
              <a:spLocks noChangeShapeType="1"/>
            </p:cNvSpPr>
            <p:nvPr/>
          </p:nvSpPr>
          <p:spPr bwMode="auto">
            <a:xfrm>
              <a:off x="4828" y="1725"/>
              <a:ext cx="0" cy="1539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Rectangle 16"/>
            <p:cNvSpPr>
              <a:spLocks noChangeArrowheads="1"/>
            </p:cNvSpPr>
            <p:nvPr/>
          </p:nvSpPr>
          <p:spPr bwMode="auto">
            <a:xfrm>
              <a:off x="3069" y="3553"/>
              <a:ext cx="1316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Placebo Better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9" name="Rectangle 17"/>
            <p:cNvSpPr>
              <a:spLocks noChangeArrowheads="1"/>
            </p:cNvSpPr>
            <p:nvPr/>
          </p:nvSpPr>
          <p:spPr bwMode="auto">
            <a:xfrm>
              <a:off x="5110" y="3553"/>
              <a:ext cx="1811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Empagliflozin Better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0" name="Line 18"/>
            <p:cNvSpPr>
              <a:spLocks noChangeShapeType="1"/>
            </p:cNvSpPr>
            <p:nvPr/>
          </p:nvSpPr>
          <p:spPr bwMode="auto">
            <a:xfrm>
              <a:off x="5483" y="1990"/>
              <a:ext cx="0" cy="98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auto">
            <a:xfrm>
              <a:off x="5381" y="2958"/>
              <a:ext cx="204" cy="168"/>
            </a:xfrm>
            <a:custGeom>
              <a:avLst/>
              <a:gdLst>
                <a:gd name="T0" fmla="*/ 0 w 204"/>
                <a:gd name="T1" fmla="*/ 84 h 168"/>
                <a:gd name="T2" fmla="*/ 102 w 204"/>
                <a:gd name="T3" fmla="*/ 168 h 168"/>
                <a:gd name="T4" fmla="*/ 204 w 204"/>
                <a:gd name="T5" fmla="*/ 84 h 168"/>
                <a:gd name="T6" fmla="*/ 102 w 204"/>
                <a:gd name="T7" fmla="*/ 0 h 168"/>
                <a:gd name="T8" fmla="*/ 0 w 204"/>
                <a:gd name="T9" fmla="*/ 8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" h="168">
                  <a:moveTo>
                    <a:pt x="0" y="84"/>
                  </a:moveTo>
                  <a:lnTo>
                    <a:pt x="102" y="168"/>
                  </a:lnTo>
                  <a:lnTo>
                    <a:pt x="204" y="84"/>
                  </a:lnTo>
                  <a:lnTo>
                    <a:pt x="102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FFFFFF"/>
            </a:solidFill>
            <a:ln w="28575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Rectangle 33"/>
            <p:cNvSpPr>
              <a:spLocks noChangeArrowheads="1"/>
            </p:cNvSpPr>
            <p:nvPr/>
          </p:nvSpPr>
          <p:spPr bwMode="auto">
            <a:xfrm>
              <a:off x="5898" y="2916"/>
              <a:ext cx="504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.37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/>
          </p:nvSpPr>
          <p:spPr bwMode="auto">
            <a:xfrm>
              <a:off x="6444" y="2916"/>
              <a:ext cx="1033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(1.16, 1.59)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40"/>
            <p:cNvSpPr>
              <a:spLocks noChangeArrowheads="1"/>
            </p:cNvSpPr>
            <p:nvPr/>
          </p:nvSpPr>
          <p:spPr bwMode="auto">
            <a:xfrm>
              <a:off x="2945" y="1696"/>
              <a:ext cx="114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" name="Rectangle 41"/>
            <p:cNvSpPr>
              <a:spLocks noChangeArrowheads="1"/>
            </p:cNvSpPr>
            <p:nvPr/>
          </p:nvSpPr>
          <p:spPr bwMode="auto">
            <a:xfrm>
              <a:off x="498" y="1696"/>
              <a:ext cx="168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" name="Rectangle 42"/>
            <p:cNvSpPr>
              <a:spLocks noChangeArrowheads="1"/>
            </p:cNvSpPr>
            <p:nvPr/>
          </p:nvSpPr>
          <p:spPr bwMode="auto">
            <a:xfrm>
              <a:off x="594" y="1972"/>
              <a:ext cx="456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&lt;30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" name="Rectangle 43"/>
            <p:cNvSpPr>
              <a:spLocks noChangeArrowheads="1"/>
            </p:cNvSpPr>
            <p:nvPr/>
          </p:nvSpPr>
          <p:spPr bwMode="auto">
            <a:xfrm>
              <a:off x="594" y="2249"/>
              <a:ext cx="863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2400" dirty="0">
                  <a:solidFill>
                    <a:srgbClr val="000000"/>
                  </a:solidFill>
                  <a:latin typeface="Mulish" pitchFamily="2" charset="0"/>
                </a:rPr>
                <a:t>≥</a:t>
              </a:r>
              <a:r>
                <a:rPr kumimoji="0" lang="en-US" altLang="en-US" sz="2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 &lt;300</a:t>
              </a:r>
              <a:endPara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46" name="Rectangle 44"/>
            <p:cNvSpPr>
              <a:spLocks noChangeArrowheads="1"/>
            </p:cNvSpPr>
            <p:nvPr/>
          </p:nvSpPr>
          <p:spPr bwMode="auto">
            <a:xfrm>
              <a:off x="594" y="2519"/>
              <a:ext cx="464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0" defTabSz="914400"/>
              <a:r>
                <a:rPr lang="en-US" altLang="en-US" sz="2400" dirty="0" smtClean="0">
                  <a:solidFill>
                    <a:srgbClr val="000000"/>
                  </a:solidFill>
                  <a:latin typeface="Mulish" pitchFamily="2" charset="0"/>
                </a:rPr>
                <a:t>≥</a:t>
              </a:r>
              <a:r>
                <a:rPr kumimoji="0" lang="en-US" altLang="en-US" sz="2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0</a:t>
              </a:r>
              <a:endPara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52" name="Rectangle 50"/>
            <p:cNvSpPr>
              <a:spLocks noChangeArrowheads="1"/>
            </p:cNvSpPr>
            <p:nvPr/>
          </p:nvSpPr>
          <p:spPr bwMode="auto">
            <a:xfrm>
              <a:off x="3267" y="1972"/>
              <a:ext cx="1147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0.89 (0.16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3" name="Rectangle 51"/>
            <p:cNvSpPr>
              <a:spLocks noChangeArrowheads="1"/>
            </p:cNvSpPr>
            <p:nvPr/>
          </p:nvSpPr>
          <p:spPr bwMode="auto">
            <a:xfrm>
              <a:off x="3267" y="2249"/>
              <a:ext cx="1147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1.69 (0.14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" name="Rectangle 52"/>
            <p:cNvSpPr>
              <a:spLocks noChangeArrowheads="1"/>
            </p:cNvSpPr>
            <p:nvPr/>
          </p:nvSpPr>
          <p:spPr bwMode="auto">
            <a:xfrm>
              <a:off x="3267" y="2519"/>
              <a:ext cx="1147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4.11 (0.11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" name="Rectangle 53"/>
            <p:cNvSpPr>
              <a:spLocks noChangeArrowheads="1"/>
            </p:cNvSpPr>
            <p:nvPr/>
          </p:nvSpPr>
          <p:spPr bwMode="auto">
            <a:xfrm>
              <a:off x="3267" y="2916"/>
              <a:ext cx="1171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2.75 (0.08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8" name="Rectangle 56"/>
            <p:cNvSpPr>
              <a:spLocks noChangeArrowheads="1"/>
            </p:cNvSpPr>
            <p:nvPr/>
          </p:nvSpPr>
          <p:spPr bwMode="auto">
            <a:xfrm>
              <a:off x="2048" y="1010"/>
              <a:ext cx="168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9" name="Rectangle 57"/>
            <p:cNvSpPr>
              <a:spLocks noChangeArrowheads="1"/>
            </p:cNvSpPr>
            <p:nvPr/>
          </p:nvSpPr>
          <p:spPr bwMode="auto">
            <a:xfrm>
              <a:off x="3267" y="1010"/>
              <a:ext cx="168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0" name="Rectangle 58"/>
            <p:cNvSpPr>
              <a:spLocks noChangeArrowheads="1"/>
            </p:cNvSpPr>
            <p:nvPr/>
          </p:nvSpPr>
          <p:spPr bwMode="auto">
            <a:xfrm>
              <a:off x="7411" y="1010"/>
              <a:ext cx="168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62" name="Line 60"/>
          <p:cNvSpPr>
            <a:spLocks noChangeShapeType="1"/>
          </p:cNvSpPr>
          <p:nvPr/>
        </p:nvSpPr>
        <p:spPr bwMode="auto">
          <a:xfrm flipV="1">
            <a:off x="638175" y="2738778"/>
            <a:ext cx="11102975" cy="9526"/>
          </a:xfrm>
          <a:prstGeom prst="line">
            <a:avLst/>
          </a:prstGeom>
          <a:noFill/>
          <a:ln w="2540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00">
              <a:latin typeface="Mulish" pitchFamily="2" charset="0"/>
            </a:endParaRPr>
          </a:p>
        </p:txBody>
      </p:sp>
      <p:sp>
        <p:nvSpPr>
          <p:cNvPr id="64" name="Rectangle 53"/>
          <p:cNvSpPr>
            <a:spLocks noChangeArrowheads="1"/>
          </p:cNvSpPr>
          <p:nvPr/>
        </p:nvSpPr>
        <p:spPr bwMode="auto">
          <a:xfrm>
            <a:off x="592138" y="1962906"/>
            <a:ext cx="3184525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defTabSz="914400"/>
            <a:r>
              <a:rPr lang="en-US" altLang="en-US" b="1" dirty="0" err="1" smtClean="0">
                <a:solidFill>
                  <a:srgbClr val="000000"/>
                </a:solidFill>
                <a:latin typeface="Mulish" pitchFamily="2" charset="0"/>
              </a:rPr>
              <a:t>uACR</a:t>
            </a:r>
            <a:r>
              <a:rPr lang="en-US" altLang="en-US" b="1" dirty="0" smtClean="0">
                <a:solidFill>
                  <a:srgbClr val="000000"/>
                </a:solidFill>
                <a:latin typeface="Mulish" pitchFamily="2" charset="0"/>
              </a:rPr>
              <a:t> </a:t>
            </a:r>
          </a:p>
          <a:p>
            <a:pPr lvl="0" defTabSz="914400"/>
            <a:r>
              <a:rPr lang="en-US" altLang="en-US" sz="1800" b="1" dirty="0" smtClean="0">
                <a:solidFill>
                  <a:srgbClr val="000000"/>
                </a:solidFill>
                <a:latin typeface="Mulish" pitchFamily="2" charset="0"/>
              </a:rPr>
              <a:t>(mg/g)</a:t>
            </a:r>
            <a:endParaRPr lang="en-US" altLang="en-US" sz="1800" b="1" dirty="0">
              <a:solidFill>
                <a:srgbClr val="000000"/>
              </a:solidFill>
              <a:latin typeface="Mulish" pitchFamily="2" charset="0"/>
            </a:endParaRPr>
          </a:p>
          <a:p>
            <a:pPr lvl="0" defTabSz="914400"/>
            <a:endParaRPr lang="en-US" altLang="en-US" sz="1800" dirty="0"/>
          </a:p>
        </p:txBody>
      </p:sp>
      <p:sp>
        <p:nvSpPr>
          <p:cNvPr id="65" name="Rectangle 45"/>
          <p:cNvSpPr>
            <a:spLocks noChangeArrowheads="1"/>
          </p:cNvSpPr>
          <p:nvPr/>
        </p:nvSpPr>
        <p:spPr bwMode="auto">
          <a:xfrm>
            <a:off x="942975" y="4629151"/>
            <a:ext cx="3905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All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6" name="Rectangle 34"/>
          <p:cNvSpPr>
            <a:spLocks noChangeArrowheads="1"/>
          </p:cNvSpPr>
          <p:nvPr/>
        </p:nvSpPr>
        <p:spPr bwMode="auto">
          <a:xfrm>
            <a:off x="8718550" y="1958976"/>
            <a:ext cx="3022600" cy="496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Difference between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Rectangle 35"/>
          <p:cNvSpPr>
            <a:spLocks noChangeArrowheads="1"/>
          </p:cNvSpPr>
          <p:nvPr/>
        </p:nvSpPr>
        <p:spPr bwMode="auto">
          <a:xfrm>
            <a:off x="8561388" y="2322514"/>
            <a:ext cx="3336925" cy="496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mean slopes (95% CI)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5082689" y="3041910"/>
            <a:ext cx="1922950" cy="1440493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" name="Rectangle 37"/>
          <p:cNvSpPr>
            <a:spLocks noChangeArrowheads="1"/>
          </p:cNvSpPr>
          <p:nvPr/>
        </p:nvSpPr>
        <p:spPr bwMode="auto">
          <a:xfrm>
            <a:off x="3608388" y="1603376"/>
            <a:ext cx="23574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Mean slope (SE)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Rectangle 38"/>
          <p:cNvSpPr>
            <a:spLocks noChangeArrowheads="1"/>
          </p:cNvSpPr>
          <p:nvPr/>
        </p:nvSpPr>
        <p:spPr bwMode="auto">
          <a:xfrm>
            <a:off x="3254375" y="1966914"/>
            <a:ext cx="30670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mL/min/1.73m²/year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5530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ronic </a:t>
            </a:r>
            <a:r>
              <a:rPr lang="en-GB" dirty="0" err="1"/>
              <a:t>eGFR</a:t>
            </a:r>
            <a:r>
              <a:rPr lang="en-GB" dirty="0"/>
              <a:t> slopes by albuminuria</a:t>
            </a: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609600" y="1603376"/>
            <a:ext cx="11458575" cy="4648200"/>
            <a:chOff x="384" y="1010"/>
            <a:chExt cx="7218" cy="2928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384" y="1052"/>
              <a:ext cx="7218" cy="2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Line 6"/>
            <p:cNvSpPr>
              <a:spLocks noChangeShapeType="1"/>
            </p:cNvSpPr>
            <p:nvPr/>
          </p:nvSpPr>
          <p:spPr bwMode="auto">
            <a:xfrm>
              <a:off x="4348" y="3264"/>
              <a:ext cx="1435" cy="0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Line 7"/>
            <p:cNvSpPr>
              <a:spLocks noChangeShapeType="1"/>
            </p:cNvSpPr>
            <p:nvPr/>
          </p:nvSpPr>
          <p:spPr bwMode="auto">
            <a:xfrm>
              <a:off x="4348" y="3264"/>
              <a:ext cx="0" cy="11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Line 8"/>
            <p:cNvSpPr>
              <a:spLocks noChangeShapeType="1"/>
            </p:cNvSpPr>
            <p:nvPr/>
          </p:nvSpPr>
          <p:spPr bwMode="auto">
            <a:xfrm>
              <a:off x="4828" y="3264"/>
              <a:ext cx="0" cy="11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Line 9"/>
            <p:cNvSpPr>
              <a:spLocks noChangeShapeType="1"/>
            </p:cNvSpPr>
            <p:nvPr/>
          </p:nvSpPr>
          <p:spPr bwMode="auto">
            <a:xfrm>
              <a:off x="5303" y="3264"/>
              <a:ext cx="0" cy="11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Line 10"/>
            <p:cNvSpPr>
              <a:spLocks noChangeShapeType="1"/>
            </p:cNvSpPr>
            <p:nvPr/>
          </p:nvSpPr>
          <p:spPr bwMode="auto">
            <a:xfrm>
              <a:off x="5783" y="3264"/>
              <a:ext cx="0" cy="11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4141" y="3355"/>
              <a:ext cx="299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1.0</a:t>
              </a:r>
              <a:endParaRPr kumimoji="0" lang="en-US" altLang="en-US" sz="1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4726" y="3355"/>
              <a:ext cx="97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5138" y="3355"/>
              <a:ext cx="230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.0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6" name="Rectangle 14"/>
            <p:cNvSpPr>
              <a:spLocks noChangeArrowheads="1"/>
            </p:cNvSpPr>
            <p:nvPr/>
          </p:nvSpPr>
          <p:spPr bwMode="auto">
            <a:xfrm>
              <a:off x="5618" y="3355"/>
              <a:ext cx="230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.0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7" name="Line 15"/>
            <p:cNvSpPr>
              <a:spLocks noChangeShapeType="1"/>
            </p:cNvSpPr>
            <p:nvPr/>
          </p:nvSpPr>
          <p:spPr bwMode="auto">
            <a:xfrm>
              <a:off x="4828" y="1725"/>
              <a:ext cx="0" cy="1539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Rectangle 16"/>
            <p:cNvSpPr>
              <a:spLocks noChangeArrowheads="1"/>
            </p:cNvSpPr>
            <p:nvPr/>
          </p:nvSpPr>
          <p:spPr bwMode="auto">
            <a:xfrm>
              <a:off x="3069" y="3553"/>
              <a:ext cx="1316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Placebo Better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9" name="Rectangle 17"/>
            <p:cNvSpPr>
              <a:spLocks noChangeArrowheads="1"/>
            </p:cNvSpPr>
            <p:nvPr/>
          </p:nvSpPr>
          <p:spPr bwMode="auto">
            <a:xfrm>
              <a:off x="5110" y="3553"/>
              <a:ext cx="1811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Empagliflozin Better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0" name="Line 18"/>
            <p:cNvSpPr>
              <a:spLocks noChangeShapeType="1"/>
            </p:cNvSpPr>
            <p:nvPr/>
          </p:nvSpPr>
          <p:spPr bwMode="auto">
            <a:xfrm>
              <a:off x="5483" y="1990"/>
              <a:ext cx="0" cy="98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Line 19"/>
            <p:cNvSpPr>
              <a:spLocks noChangeShapeType="1"/>
            </p:cNvSpPr>
            <p:nvPr/>
          </p:nvSpPr>
          <p:spPr bwMode="auto">
            <a:xfrm>
              <a:off x="4978" y="2098"/>
              <a:ext cx="439" cy="0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20"/>
            <p:cNvSpPr>
              <a:spLocks noChangeArrowheads="1"/>
            </p:cNvSpPr>
            <p:nvPr/>
          </p:nvSpPr>
          <p:spPr bwMode="auto">
            <a:xfrm>
              <a:off x="5182" y="2080"/>
              <a:ext cx="30" cy="36"/>
            </a:xfrm>
            <a:prstGeom prst="rect">
              <a:avLst/>
            </a:prstGeom>
            <a:solidFill>
              <a:srgbClr val="000000"/>
            </a:solidFill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Rectangle 21"/>
            <p:cNvSpPr>
              <a:spLocks noChangeArrowheads="1"/>
            </p:cNvSpPr>
            <p:nvPr/>
          </p:nvSpPr>
          <p:spPr bwMode="auto">
            <a:xfrm>
              <a:off x="5892" y="1972"/>
              <a:ext cx="393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i="0" u="none" strike="noStrike" cap="none" normalizeH="0" baseline="0" dirty="0" smtClean="0">
                  <a:ln>
                    <a:noFill/>
                  </a:ln>
                  <a:effectLst/>
                  <a:latin typeface="Mulish" pitchFamily="2" charset="0"/>
                </a:rPr>
                <a:t>0.78</a:t>
              </a:r>
              <a:endParaRPr kumimoji="0" lang="en-US" altLang="en-US" sz="1800" i="0" u="none" strike="noStrike" cap="none" normalizeH="0" baseline="0" dirty="0" smtClean="0">
                <a:ln>
                  <a:noFill/>
                </a:ln>
                <a:effectLst/>
              </a:endParaRPr>
            </a:p>
          </p:txBody>
        </p:sp>
        <p:sp>
          <p:nvSpPr>
            <p:cNvPr id="24" name="Rectangle 22"/>
            <p:cNvSpPr>
              <a:spLocks noChangeArrowheads="1"/>
            </p:cNvSpPr>
            <p:nvPr/>
          </p:nvSpPr>
          <p:spPr bwMode="auto">
            <a:xfrm>
              <a:off x="6444" y="1972"/>
              <a:ext cx="1004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(0.32, 1.23)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5" name="Line 23"/>
            <p:cNvSpPr>
              <a:spLocks noChangeShapeType="1"/>
            </p:cNvSpPr>
            <p:nvPr/>
          </p:nvSpPr>
          <p:spPr bwMode="auto">
            <a:xfrm>
              <a:off x="5212" y="2375"/>
              <a:ext cx="373" cy="0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Rectangle 24"/>
            <p:cNvSpPr>
              <a:spLocks noChangeArrowheads="1"/>
            </p:cNvSpPr>
            <p:nvPr/>
          </p:nvSpPr>
          <p:spPr bwMode="auto">
            <a:xfrm>
              <a:off x="5381" y="2351"/>
              <a:ext cx="36" cy="42"/>
            </a:xfrm>
            <a:prstGeom prst="rect">
              <a:avLst/>
            </a:prstGeom>
            <a:solidFill>
              <a:srgbClr val="000000"/>
            </a:solidFill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25"/>
            <p:cNvSpPr>
              <a:spLocks noChangeArrowheads="1"/>
            </p:cNvSpPr>
            <p:nvPr/>
          </p:nvSpPr>
          <p:spPr bwMode="auto">
            <a:xfrm>
              <a:off x="5892" y="2249"/>
              <a:ext cx="504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.20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8" name="Rectangle 26"/>
            <p:cNvSpPr>
              <a:spLocks noChangeArrowheads="1"/>
            </p:cNvSpPr>
            <p:nvPr/>
          </p:nvSpPr>
          <p:spPr bwMode="auto">
            <a:xfrm>
              <a:off x="6444" y="2249"/>
              <a:ext cx="1004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(0.81, 1.59)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9" name="Line 27"/>
            <p:cNvSpPr>
              <a:spLocks noChangeShapeType="1"/>
            </p:cNvSpPr>
            <p:nvPr/>
          </p:nvSpPr>
          <p:spPr bwMode="auto">
            <a:xfrm>
              <a:off x="5525" y="2645"/>
              <a:ext cx="258" cy="0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auto">
            <a:xfrm>
              <a:off x="5687" y="2591"/>
              <a:ext cx="96" cy="108"/>
            </a:xfrm>
            <a:custGeom>
              <a:avLst/>
              <a:gdLst>
                <a:gd name="T0" fmla="*/ 0 w 96"/>
                <a:gd name="T1" fmla="*/ 108 h 108"/>
                <a:gd name="T2" fmla="*/ 96 w 96"/>
                <a:gd name="T3" fmla="*/ 54 h 108"/>
                <a:gd name="T4" fmla="*/ 0 w 96"/>
                <a:gd name="T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6" h="108">
                  <a:moveTo>
                    <a:pt x="0" y="108"/>
                  </a:moveTo>
                  <a:lnTo>
                    <a:pt x="96" y="54"/>
                  </a:lnTo>
                  <a:lnTo>
                    <a:pt x="0" y="0"/>
                  </a:lnTo>
                </a:path>
              </a:pathLst>
            </a:cu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Rectangle 29"/>
            <p:cNvSpPr>
              <a:spLocks noChangeArrowheads="1"/>
            </p:cNvSpPr>
            <p:nvPr/>
          </p:nvSpPr>
          <p:spPr bwMode="auto">
            <a:xfrm>
              <a:off x="5639" y="2621"/>
              <a:ext cx="54" cy="48"/>
            </a:xfrm>
            <a:prstGeom prst="rect">
              <a:avLst/>
            </a:prstGeom>
            <a:solidFill>
              <a:srgbClr val="000000"/>
            </a:solidFill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Rectangle 30"/>
            <p:cNvSpPr>
              <a:spLocks noChangeArrowheads="1"/>
            </p:cNvSpPr>
            <p:nvPr/>
          </p:nvSpPr>
          <p:spPr bwMode="auto">
            <a:xfrm>
              <a:off x="5892" y="2519"/>
              <a:ext cx="504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.76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3" name="Rectangle 31"/>
            <p:cNvSpPr>
              <a:spLocks noChangeArrowheads="1"/>
            </p:cNvSpPr>
            <p:nvPr/>
          </p:nvSpPr>
          <p:spPr bwMode="auto">
            <a:xfrm>
              <a:off x="6444" y="2519"/>
              <a:ext cx="1004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(1.46, 2.05)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auto">
            <a:xfrm>
              <a:off x="5381" y="2958"/>
              <a:ext cx="204" cy="168"/>
            </a:xfrm>
            <a:custGeom>
              <a:avLst/>
              <a:gdLst>
                <a:gd name="T0" fmla="*/ 0 w 204"/>
                <a:gd name="T1" fmla="*/ 84 h 168"/>
                <a:gd name="T2" fmla="*/ 102 w 204"/>
                <a:gd name="T3" fmla="*/ 168 h 168"/>
                <a:gd name="T4" fmla="*/ 204 w 204"/>
                <a:gd name="T5" fmla="*/ 84 h 168"/>
                <a:gd name="T6" fmla="*/ 102 w 204"/>
                <a:gd name="T7" fmla="*/ 0 h 168"/>
                <a:gd name="T8" fmla="*/ 0 w 204"/>
                <a:gd name="T9" fmla="*/ 8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" h="168">
                  <a:moveTo>
                    <a:pt x="0" y="84"/>
                  </a:moveTo>
                  <a:lnTo>
                    <a:pt x="102" y="168"/>
                  </a:lnTo>
                  <a:lnTo>
                    <a:pt x="204" y="84"/>
                  </a:lnTo>
                  <a:lnTo>
                    <a:pt x="102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FFFFFF"/>
            </a:solidFill>
            <a:ln w="28575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Rectangle 33"/>
            <p:cNvSpPr>
              <a:spLocks noChangeArrowheads="1"/>
            </p:cNvSpPr>
            <p:nvPr/>
          </p:nvSpPr>
          <p:spPr bwMode="auto">
            <a:xfrm>
              <a:off x="5898" y="2916"/>
              <a:ext cx="504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.37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/>
          </p:nvSpPr>
          <p:spPr bwMode="auto">
            <a:xfrm>
              <a:off x="6444" y="2916"/>
              <a:ext cx="1033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(1.16, 1.59)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" name="Rectangle 39"/>
            <p:cNvSpPr>
              <a:spLocks noChangeArrowheads="1"/>
            </p:cNvSpPr>
            <p:nvPr/>
          </p:nvSpPr>
          <p:spPr bwMode="auto">
            <a:xfrm>
              <a:off x="1822" y="1467"/>
              <a:ext cx="2265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r>
                <a:rPr kumimoji="0" lang="en-US" altLang="en-US" sz="2400" b="1" i="0" u="none" strike="noStrike" cap="none" normalizeH="0" baseline="0" dirty="0" err="1" smtClean="0">
                  <a:ln>
                    <a:noFill/>
                  </a:ln>
                  <a:solidFill>
                    <a:srgbClr val="D436B8"/>
                  </a:solidFill>
                  <a:effectLst/>
                  <a:latin typeface="Mulish" pitchFamily="2" charset="0"/>
                </a:rPr>
                <a:t>Empagliflozin</a:t>
              </a: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   Placebo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40"/>
            <p:cNvSpPr>
              <a:spLocks noChangeArrowheads="1"/>
            </p:cNvSpPr>
            <p:nvPr/>
          </p:nvSpPr>
          <p:spPr bwMode="auto">
            <a:xfrm>
              <a:off x="2945" y="1696"/>
              <a:ext cx="114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" name="Rectangle 41"/>
            <p:cNvSpPr>
              <a:spLocks noChangeArrowheads="1"/>
            </p:cNvSpPr>
            <p:nvPr/>
          </p:nvSpPr>
          <p:spPr bwMode="auto">
            <a:xfrm>
              <a:off x="498" y="1696"/>
              <a:ext cx="168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" name="Rectangle 42"/>
            <p:cNvSpPr>
              <a:spLocks noChangeArrowheads="1"/>
            </p:cNvSpPr>
            <p:nvPr/>
          </p:nvSpPr>
          <p:spPr bwMode="auto">
            <a:xfrm>
              <a:off x="594" y="1972"/>
              <a:ext cx="456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&lt;30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" name="Rectangle 43"/>
            <p:cNvSpPr>
              <a:spLocks noChangeArrowheads="1"/>
            </p:cNvSpPr>
            <p:nvPr/>
          </p:nvSpPr>
          <p:spPr bwMode="auto">
            <a:xfrm>
              <a:off x="594" y="2249"/>
              <a:ext cx="863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2400" dirty="0">
                  <a:solidFill>
                    <a:srgbClr val="000000"/>
                  </a:solidFill>
                  <a:latin typeface="Mulish" pitchFamily="2" charset="0"/>
                </a:rPr>
                <a:t>≥</a:t>
              </a:r>
              <a:r>
                <a:rPr kumimoji="0" lang="en-US" altLang="en-US" sz="2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 &lt;300</a:t>
              </a:r>
              <a:endPara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46" name="Rectangle 44"/>
            <p:cNvSpPr>
              <a:spLocks noChangeArrowheads="1"/>
            </p:cNvSpPr>
            <p:nvPr/>
          </p:nvSpPr>
          <p:spPr bwMode="auto">
            <a:xfrm>
              <a:off x="594" y="2519"/>
              <a:ext cx="464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0" defTabSz="914400"/>
              <a:r>
                <a:rPr lang="en-US" altLang="en-US" sz="2400" dirty="0" smtClean="0">
                  <a:solidFill>
                    <a:srgbClr val="000000"/>
                  </a:solidFill>
                  <a:latin typeface="Mulish" pitchFamily="2" charset="0"/>
                </a:rPr>
                <a:t>≥</a:t>
              </a:r>
              <a:r>
                <a:rPr kumimoji="0" lang="en-US" altLang="en-US" sz="2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0</a:t>
              </a:r>
              <a:endPara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47" name="Rectangle 45"/>
            <p:cNvSpPr>
              <a:spLocks noChangeArrowheads="1"/>
            </p:cNvSpPr>
            <p:nvPr/>
          </p:nvSpPr>
          <p:spPr bwMode="auto">
            <a:xfrm>
              <a:off x="594" y="2916"/>
              <a:ext cx="246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All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" name="Rectangle 46"/>
            <p:cNvSpPr>
              <a:spLocks noChangeArrowheads="1"/>
            </p:cNvSpPr>
            <p:nvPr/>
          </p:nvSpPr>
          <p:spPr bwMode="auto">
            <a:xfrm>
              <a:off x="2048" y="1972"/>
              <a:ext cx="1042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dirty="0" smtClean="0">
                  <a:ln>
                    <a:noFill/>
                  </a:ln>
                  <a:solidFill>
                    <a:srgbClr val="D436B8"/>
                  </a:solidFill>
                  <a:effectLst/>
                  <a:latin typeface="Mulish" pitchFamily="2" charset="0"/>
                </a:rPr>
                <a:t>-0.11 (0.17)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rgbClr val="D436B8"/>
                </a:solidFill>
                <a:effectLst/>
              </a:endParaRPr>
            </a:p>
          </p:txBody>
        </p:sp>
        <p:sp>
          <p:nvSpPr>
            <p:cNvPr id="49" name="Rectangle 47"/>
            <p:cNvSpPr>
              <a:spLocks noChangeArrowheads="1"/>
            </p:cNvSpPr>
            <p:nvPr/>
          </p:nvSpPr>
          <p:spPr bwMode="auto">
            <a:xfrm>
              <a:off x="2048" y="2249"/>
              <a:ext cx="1042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D436B8"/>
                  </a:solidFill>
                  <a:effectLst/>
                  <a:latin typeface="Mulish" pitchFamily="2" charset="0"/>
                </a:rPr>
                <a:t>-0.49 (0.14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rgbClr val="D436B8"/>
                </a:solidFill>
                <a:effectLst/>
              </a:endParaRPr>
            </a:p>
          </p:txBody>
        </p:sp>
        <p:sp>
          <p:nvSpPr>
            <p:cNvPr id="50" name="Rectangle 48"/>
            <p:cNvSpPr>
              <a:spLocks noChangeArrowheads="1"/>
            </p:cNvSpPr>
            <p:nvPr/>
          </p:nvSpPr>
          <p:spPr bwMode="auto">
            <a:xfrm>
              <a:off x="2048" y="2519"/>
              <a:ext cx="1042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D436B8"/>
                  </a:solidFill>
                  <a:effectLst/>
                  <a:latin typeface="Mulish" pitchFamily="2" charset="0"/>
                </a:rPr>
                <a:t>-2.35 (0.11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rgbClr val="D436B8"/>
                </a:solidFill>
                <a:effectLst/>
              </a:endParaRPr>
            </a:p>
          </p:txBody>
        </p:sp>
        <p:sp>
          <p:nvSpPr>
            <p:cNvPr id="51" name="Rectangle 49"/>
            <p:cNvSpPr>
              <a:spLocks noChangeArrowheads="1"/>
            </p:cNvSpPr>
            <p:nvPr/>
          </p:nvSpPr>
          <p:spPr bwMode="auto">
            <a:xfrm>
              <a:off x="2048" y="2916"/>
              <a:ext cx="1069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D436B8"/>
                  </a:solidFill>
                  <a:effectLst/>
                  <a:latin typeface="Mulish" pitchFamily="2" charset="0"/>
                </a:rPr>
                <a:t>-1.37 (0.08)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rgbClr val="D436B8"/>
                </a:solidFill>
                <a:effectLst/>
              </a:endParaRPr>
            </a:p>
          </p:txBody>
        </p:sp>
        <p:sp>
          <p:nvSpPr>
            <p:cNvPr id="52" name="Rectangle 50"/>
            <p:cNvSpPr>
              <a:spLocks noChangeArrowheads="1"/>
            </p:cNvSpPr>
            <p:nvPr/>
          </p:nvSpPr>
          <p:spPr bwMode="auto">
            <a:xfrm>
              <a:off x="3267" y="1972"/>
              <a:ext cx="1147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0.89 (0.16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3" name="Rectangle 51"/>
            <p:cNvSpPr>
              <a:spLocks noChangeArrowheads="1"/>
            </p:cNvSpPr>
            <p:nvPr/>
          </p:nvSpPr>
          <p:spPr bwMode="auto">
            <a:xfrm>
              <a:off x="3267" y="2249"/>
              <a:ext cx="1147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1.69 (0.14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" name="Rectangle 52"/>
            <p:cNvSpPr>
              <a:spLocks noChangeArrowheads="1"/>
            </p:cNvSpPr>
            <p:nvPr/>
          </p:nvSpPr>
          <p:spPr bwMode="auto">
            <a:xfrm>
              <a:off x="3267" y="2519"/>
              <a:ext cx="1147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4.11 (0.11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" name="Rectangle 53"/>
            <p:cNvSpPr>
              <a:spLocks noChangeArrowheads="1"/>
            </p:cNvSpPr>
            <p:nvPr/>
          </p:nvSpPr>
          <p:spPr bwMode="auto">
            <a:xfrm>
              <a:off x="3267" y="2916"/>
              <a:ext cx="1171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2.75 (0.08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8" name="Rectangle 56"/>
            <p:cNvSpPr>
              <a:spLocks noChangeArrowheads="1"/>
            </p:cNvSpPr>
            <p:nvPr/>
          </p:nvSpPr>
          <p:spPr bwMode="auto">
            <a:xfrm>
              <a:off x="2048" y="1010"/>
              <a:ext cx="168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9" name="Rectangle 57"/>
            <p:cNvSpPr>
              <a:spLocks noChangeArrowheads="1"/>
            </p:cNvSpPr>
            <p:nvPr/>
          </p:nvSpPr>
          <p:spPr bwMode="auto">
            <a:xfrm>
              <a:off x="3267" y="1010"/>
              <a:ext cx="168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0" name="Rectangle 58"/>
            <p:cNvSpPr>
              <a:spLocks noChangeArrowheads="1"/>
            </p:cNvSpPr>
            <p:nvPr/>
          </p:nvSpPr>
          <p:spPr bwMode="auto">
            <a:xfrm>
              <a:off x="7411" y="1010"/>
              <a:ext cx="168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62" name="Line 60"/>
          <p:cNvSpPr>
            <a:spLocks noChangeShapeType="1"/>
          </p:cNvSpPr>
          <p:nvPr/>
        </p:nvSpPr>
        <p:spPr bwMode="auto">
          <a:xfrm flipV="1">
            <a:off x="638175" y="2738778"/>
            <a:ext cx="11102975" cy="9526"/>
          </a:xfrm>
          <a:prstGeom prst="line">
            <a:avLst/>
          </a:prstGeom>
          <a:noFill/>
          <a:ln w="2540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00">
              <a:latin typeface="Mulish" pitchFamily="2" charset="0"/>
            </a:endParaRPr>
          </a:p>
        </p:txBody>
      </p:sp>
      <p:sp>
        <p:nvSpPr>
          <p:cNvPr id="64" name="Rectangle 53"/>
          <p:cNvSpPr>
            <a:spLocks noChangeArrowheads="1"/>
          </p:cNvSpPr>
          <p:nvPr/>
        </p:nvSpPr>
        <p:spPr bwMode="auto">
          <a:xfrm>
            <a:off x="592138" y="1962906"/>
            <a:ext cx="3184525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defTabSz="914400"/>
            <a:r>
              <a:rPr lang="en-US" altLang="en-US" b="1" dirty="0" err="1" smtClean="0">
                <a:solidFill>
                  <a:srgbClr val="000000"/>
                </a:solidFill>
                <a:latin typeface="Mulish" pitchFamily="2" charset="0"/>
              </a:rPr>
              <a:t>uACR</a:t>
            </a:r>
            <a:r>
              <a:rPr lang="en-US" altLang="en-US" b="1" dirty="0" smtClean="0">
                <a:solidFill>
                  <a:srgbClr val="000000"/>
                </a:solidFill>
                <a:latin typeface="Mulish" pitchFamily="2" charset="0"/>
              </a:rPr>
              <a:t> </a:t>
            </a:r>
          </a:p>
          <a:p>
            <a:pPr lvl="0" defTabSz="914400"/>
            <a:r>
              <a:rPr lang="en-US" altLang="en-US" sz="1800" b="1" dirty="0" smtClean="0">
                <a:solidFill>
                  <a:srgbClr val="000000"/>
                </a:solidFill>
                <a:latin typeface="Mulish" pitchFamily="2" charset="0"/>
              </a:rPr>
              <a:t>(mg/g)</a:t>
            </a:r>
            <a:endParaRPr lang="en-US" altLang="en-US" sz="1800" b="1" dirty="0">
              <a:solidFill>
                <a:srgbClr val="000000"/>
              </a:solidFill>
              <a:latin typeface="Mulish" pitchFamily="2" charset="0"/>
            </a:endParaRPr>
          </a:p>
          <a:p>
            <a:pPr lvl="0" defTabSz="914400"/>
            <a:endParaRPr lang="en-US" altLang="en-US" sz="1800" dirty="0"/>
          </a:p>
        </p:txBody>
      </p:sp>
      <p:sp>
        <p:nvSpPr>
          <p:cNvPr id="67" name="Rectangle 34"/>
          <p:cNvSpPr>
            <a:spLocks noChangeArrowheads="1"/>
          </p:cNvSpPr>
          <p:nvPr/>
        </p:nvSpPr>
        <p:spPr bwMode="auto">
          <a:xfrm>
            <a:off x="8718550" y="1958976"/>
            <a:ext cx="3022600" cy="496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Difference between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" name="Rectangle 35"/>
          <p:cNvSpPr>
            <a:spLocks noChangeArrowheads="1"/>
          </p:cNvSpPr>
          <p:nvPr/>
        </p:nvSpPr>
        <p:spPr bwMode="auto">
          <a:xfrm>
            <a:off x="8561388" y="2322514"/>
            <a:ext cx="3336925" cy="496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mean slopes (95% CI)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1" name="Rectangle 37"/>
          <p:cNvSpPr>
            <a:spLocks noChangeArrowheads="1"/>
          </p:cNvSpPr>
          <p:nvPr/>
        </p:nvSpPr>
        <p:spPr bwMode="auto">
          <a:xfrm>
            <a:off x="3608388" y="1603376"/>
            <a:ext cx="23574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Mean slope (SE)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3" name="Rectangle 38"/>
          <p:cNvSpPr>
            <a:spLocks noChangeArrowheads="1"/>
          </p:cNvSpPr>
          <p:nvPr/>
        </p:nvSpPr>
        <p:spPr bwMode="auto">
          <a:xfrm>
            <a:off x="3254375" y="1966914"/>
            <a:ext cx="30670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mL/min/1.73m²/year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5095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ronic </a:t>
            </a:r>
            <a:r>
              <a:rPr lang="en-GB" dirty="0" err="1"/>
              <a:t>eGFR</a:t>
            </a:r>
            <a:r>
              <a:rPr lang="en-GB" dirty="0"/>
              <a:t> slopes by albuminuria</a:t>
            </a: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609600" y="1603376"/>
            <a:ext cx="11458575" cy="4648200"/>
            <a:chOff x="384" y="1010"/>
            <a:chExt cx="7218" cy="2928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384" y="1052"/>
              <a:ext cx="7218" cy="2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Line 6"/>
            <p:cNvSpPr>
              <a:spLocks noChangeShapeType="1"/>
            </p:cNvSpPr>
            <p:nvPr/>
          </p:nvSpPr>
          <p:spPr bwMode="auto">
            <a:xfrm>
              <a:off x="4348" y="3264"/>
              <a:ext cx="1435" cy="0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Line 7"/>
            <p:cNvSpPr>
              <a:spLocks noChangeShapeType="1"/>
            </p:cNvSpPr>
            <p:nvPr/>
          </p:nvSpPr>
          <p:spPr bwMode="auto">
            <a:xfrm>
              <a:off x="4348" y="3264"/>
              <a:ext cx="0" cy="11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Line 8"/>
            <p:cNvSpPr>
              <a:spLocks noChangeShapeType="1"/>
            </p:cNvSpPr>
            <p:nvPr/>
          </p:nvSpPr>
          <p:spPr bwMode="auto">
            <a:xfrm>
              <a:off x="4828" y="3264"/>
              <a:ext cx="0" cy="11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Line 9"/>
            <p:cNvSpPr>
              <a:spLocks noChangeShapeType="1"/>
            </p:cNvSpPr>
            <p:nvPr/>
          </p:nvSpPr>
          <p:spPr bwMode="auto">
            <a:xfrm>
              <a:off x="5303" y="3264"/>
              <a:ext cx="0" cy="11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Line 10"/>
            <p:cNvSpPr>
              <a:spLocks noChangeShapeType="1"/>
            </p:cNvSpPr>
            <p:nvPr/>
          </p:nvSpPr>
          <p:spPr bwMode="auto">
            <a:xfrm>
              <a:off x="5783" y="3264"/>
              <a:ext cx="0" cy="11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4141" y="3355"/>
              <a:ext cx="299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1.0</a:t>
              </a:r>
              <a:endParaRPr kumimoji="0" lang="en-US" altLang="en-US" sz="1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4726" y="3355"/>
              <a:ext cx="97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0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5138" y="3355"/>
              <a:ext cx="230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.0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6" name="Rectangle 14"/>
            <p:cNvSpPr>
              <a:spLocks noChangeArrowheads="1"/>
            </p:cNvSpPr>
            <p:nvPr/>
          </p:nvSpPr>
          <p:spPr bwMode="auto">
            <a:xfrm>
              <a:off x="5618" y="3355"/>
              <a:ext cx="230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2.0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7" name="Line 15"/>
            <p:cNvSpPr>
              <a:spLocks noChangeShapeType="1"/>
            </p:cNvSpPr>
            <p:nvPr/>
          </p:nvSpPr>
          <p:spPr bwMode="auto">
            <a:xfrm>
              <a:off x="4828" y="1725"/>
              <a:ext cx="0" cy="1539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Rectangle 16"/>
            <p:cNvSpPr>
              <a:spLocks noChangeArrowheads="1"/>
            </p:cNvSpPr>
            <p:nvPr/>
          </p:nvSpPr>
          <p:spPr bwMode="auto">
            <a:xfrm>
              <a:off x="3069" y="3553"/>
              <a:ext cx="1316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Placebo Better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9" name="Rectangle 17"/>
            <p:cNvSpPr>
              <a:spLocks noChangeArrowheads="1"/>
            </p:cNvSpPr>
            <p:nvPr/>
          </p:nvSpPr>
          <p:spPr bwMode="auto">
            <a:xfrm>
              <a:off x="5110" y="3553"/>
              <a:ext cx="1811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Empagliflozin Better</a:t>
              </a:r>
              <a:endParaRPr kumimoji="0" lang="en-US" altLang="en-US" sz="180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0" name="Line 18"/>
            <p:cNvSpPr>
              <a:spLocks noChangeShapeType="1"/>
            </p:cNvSpPr>
            <p:nvPr/>
          </p:nvSpPr>
          <p:spPr bwMode="auto">
            <a:xfrm>
              <a:off x="5483" y="1990"/>
              <a:ext cx="0" cy="985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Line 19"/>
            <p:cNvSpPr>
              <a:spLocks noChangeShapeType="1"/>
            </p:cNvSpPr>
            <p:nvPr/>
          </p:nvSpPr>
          <p:spPr bwMode="auto">
            <a:xfrm>
              <a:off x="4978" y="2098"/>
              <a:ext cx="439" cy="0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20"/>
            <p:cNvSpPr>
              <a:spLocks noChangeArrowheads="1"/>
            </p:cNvSpPr>
            <p:nvPr/>
          </p:nvSpPr>
          <p:spPr bwMode="auto">
            <a:xfrm>
              <a:off x="5182" y="2080"/>
              <a:ext cx="30" cy="36"/>
            </a:xfrm>
            <a:prstGeom prst="rect">
              <a:avLst/>
            </a:prstGeom>
            <a:solidFill>
              <a:srgbClr val="000000"/>
            </a:solidFill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Rectangle 21"/>
            <p:cNvSpPr>
              <a:spLocks noChangeArrowheads="1"/>
            </p:cNvSpPr>
            <p:nvPr/>
          </p:nvSpPr>
          <p:spPr bwMode="auto">
            <a:xfrm>
              <a:off x="5892" y="1972"/>
              <a:ext cx="393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chemeClr val="accent6"/>
                  </a:solidFill>
                  <a:effectLst/>
                  <a:latin typeface="Mulish" pitchFamily="2" charset="0"/>
                </a:rPr>
                <a:t>0.78</a:t>
              </a:r>
              <a:endParaRPr kumimoji="0" lang="en-US" altLang="en-US" sz="1800" b="1" i="0" u="none" strike="noStrike" cap="none" normalizeH="0" baseline="0" dirty="0" smtClean="0">
                <a:ln>
                  <a:noFill/>
                </a:ln>
                <a:solidFill>
                  <a:schemeClr val="accent6"/>
                </a:solidFill>
                <a:effectLst/>
              </a:endParaRPr>
            </a:p>
          </p:txBody>
        </p:sp>
        <p:sp>
          <p:nvSpPr>
            <p:cNvPr id="24" name="Rectangle 22"/>
            <p:cNvSpPr>
              <a:spLocks noChangeArrowheads="1"/>
            </p:cNvSpPr>
            <p:nvPr/>
          </p:nvSpPr>
          <p:spPr bwMode="auto">
            <a:xfrm>
              <a:off x="6444" y="1972"/>
              <a:ext cx="1004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(0.32, 1.23)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5" name="Line 23"/>
            <p:cNvSpPr>
              <a:spLocks noChangeShapeType="1"/>
            </p:cNvSpPr>
            <p:nvPr/>
          </p:nvSpPr>
          <p:spPr bwMode="auto">
            <a:xfrm>
              <a:off x="5212" y="2375"/>
              <a:ext cx="373" cy="0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Rectangle 24"/>
            <p:cNvSpPr>
              <a:spLocks noChangeArrowheads="1"/>
            </p:cNvSpPr>
            <p:nvPr/>
          </p:nvSpPr>
          <p:spPr bwMode="auto">
            <a:xfrm>
              <a:off x="5381" y="2351"/>
              <a:ext cx="36" cy="42"/>
            </a:xfrm>
            <a:prstGeom prst="rect">
              <a:avLst/>
            </a:prstGeom>
            <a:solidFill>
              <a:srgbClr val="000000"/>
            </a:solidFill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25"/>
            <p:cNvSpPr>
              <a:spLocks noChangeArrowheads="1"/>
            </p:cNvSpPr>
            <p:nvPr/>
          </p:nvSpPr>
          <p:spPr bwMode="auto">
            <a:xfrm>
              <a:off x="5892" y="2249"/>
              <a:ext cx="504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.20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8" name="Rectangle 26"/>
            <p:cNvSpPr>
              <a:spLocks noChangeArrowheads="1"/>
            </p:cNvSpPr>
            <p:nvPr/>
          </p:nvSpPr>
          <p:spPr bwMode="auto">
            <a:xfrm>
              <a:off x="6444" y="2249"/>
              <a:ext cx="1004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(0.81, 1.59)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9" name="Line 27"/>
            <p:cNvSpPr>
              <a:spLocks noChangeShapeType="1"/>
            </p:cNvSpPr>
            <p:nvPr/>
          </p:nvSpPr>
          <p:spPr bwMode="auto">
            <a:xfrm>
              <a:off x="5525" y="2645"/>
              <a:ext cx="258" cy="0"/>
            </a:xfrm>
            <a:prstGeom prst="line">
              <a:avLst/>
            </a:pr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auto">
            <a:xfrm>
              <a:off x="5687" y="2591"/>
              <a:ext cx="96" cy="108"/>
            </a:xfrm>
            <a:custGeom>
              <a:avLst/>
              <a:gdLst>
                <a:gd name="T0" fmla="*/ 0 w 96"/>
                <a:gd name="T1" fmla="*/ 108 h 108"/>
                <a:gd name="T2" fmla="*/ 96 w 96"/>
                <a:gd name="T3" fmla="*/ 54 h 108"/>
                <a:gd name="T4" fmla="*/ 0 w 96"/>
                <a:gd name="T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6" h="108">
                  <a:moveTo>
                    <a:pt x="0" y="108"/>
                  </a:moveTo>
                  <a:lnTo>
                    <a:pt x="96" y="54"/>
                  </a:lnTo>
                  <a:lnTo>
                    <a:pt x="0" y="0"/>
                  </a:lnTo>
                </a:path>
              </a:pathLst>
            </a:custGeom>
            <a:noFill/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Rectangle 29"/>
            <p:cNvSpPr>
              <a:spLocks noChangeArrowheads="1"/>
            </p:cNvSpPr>
            <p:nvPr/>
          </p:nvSpPr>
          <p:spPr bwMode="auto">
            <a:xfrm>
              <a:off x="5639" y="2621"/>
              <a:ext cx="54" cy="48"/>
            </a:xfrm>
            <a:prstGeom prst="rect">
              <a:avLst/>
            </a:prstGeom>
            <a:solidFill>
              <a:srgbClr val="000000"/>
            </a:solidFill>
            <a:ln w="28575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Rectangle 30"/>
            <p:cNvSpPr>
              <a:spLocks noChangeArrowheads="1"/>
            </p:cNvSpPr>
            <p:nvPr/>
          </p:nvSpPr>
          <p:spPr bwMode="auto">
            <a:xfrm>
              <a:off x="5892" y="2519"/>
              <a:ext cx="504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.76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3" name="Rectangle 31"/>
            <p:cNvSpPr>
              <a:spLocks noChangeArrowheads="1"/>
            </p:cNvSpPr>
            <p:nvPr/>
          </p:nvSpPr>
          <p:spPr bwMode="auto">
            <a:xfrm>
              <a:off x="6444" y="2519"/>
              <a:ext cx="1004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(1.46, 2.05)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auto">
            <a:xfrm>
              <a:off x="5381" y="2958"/>
              <a:ext cx="204" cy="168"/>
            </a:xfrm>
            <a:custGeom>
              <a:avLst/>
              <a:gdLst>
                <a:gd name="T0" fmla="*/ 0 w 204"/>
                <a:gd name="T1" fmla="*/ 84 h 168"/>
                <a:gd name="T2" fmla="*/ 102 w 204"/>
                <a:gd name="T3" fmla="*/ 168 h 168"/>
                <a:gd name="T4" fmla="*/ 204 w 204"/>
                <a:gd name="T5" fmla="*/ 84 h 168"/>
                <a:gd name="T6" fmla="*/ 102 w 204"/>
                <a:gd name="T7" fmla="*/ 0 h 168"/>
                <a:gd name="T8" fmla="*/ 0 w 204"/>
                <a:gd name="T9" fmla="*/ 8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" h="168">
                  <a:moveTo>
                    <a:pt x="0" y="84"/>
                  </a:moveTo>
                  <a:lnTo>
                    <a:pt x="102" y="168"/>
                  </a:lnTo>
                  <a:lnTo>
                    <a:pt x="204" y="84"/>
                  </a:lnTo>
                  <a:lnTo>
                    <a:pt x="102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FFFFFF"/>
            </a:solidFill>
            <a:ln w="28575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Rectangle 33"/>
            <p:cNvSpPr>
              <a:spLocks noChangeArrowheads="1"/>
            </p:cNvSpPr>
            <p:nvPr/>
          </p:nvSpPr>
          <p:spPr bwMode="auto">
            <a:xfrm>
              <a:off x="5898" y="2916"/>
              <a:ext cx="504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1.37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" name="Rectangle 34"/>
            <p:cNvSpPr>
              <a:spLocks noChangeArrowheads="1"/>
            </p:cNvSpPr>
            <p:nvPr/>
          </p:nvSpPr>
          <p:spPr bwMode="auto">
            <a:xfrm>
              <a:off x="6444" y="2916"/>
              <a:ext cx="1033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(1.16, 1.59)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" name="Rectangle 39"/>
            <p:cNvSpPr>
              <a:spLocks noChangeArrowheads="1"/>
            </p:cNvSpPr>
            <p:nvPr/>
          </p:nvSpPr>
          <p:spPr bwMode="auto">
            <a:xfrm>
              <a:off x="1822" y="1467"/>
              <a:ext cx="2265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r>
                <a:rPr kumimoji="0" lang="en-US" altLang="en-US" sz="2400" b="1" i="0" u="none" strike="noStrike" cap="none" normalizeH="0" baseline="0" dirty="0" err="1" smtClean="0">
                  <a:ln>
                    <a:noFill/>
                  </a:ln>
                  <a:solidFill>
                    <a:srgbClr val="D436B8"/>
                  </a:solidFill>
                  <a:effectLst/>
                  <a:latin typeface="Mulish" pitchFamily="2" charset="0"/>
                </a:rPr>
                <a:t>Empagliflozin</a:t>
              </a: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   Placebo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40"/>
            <p:cNvSpPr>
              <a:spLocks noChangeArrowheads="1"/>
            </p:cNvSpPr>
            <p:nvPr/>
          </p:nvSpPr>
          <p:spPr bwMode="auto">
            <a:xfrm>
              <a:off x="2945" y="1696"/>
              <a:ext cx="114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" name="Rectangle 41"/>
            <p:cNvSpPr>
              <a:spLocks noChangeArrowheads="1"/>
            </p:cNvSpPr>
            <p:nvPr/>
          </p:nvSpPr>
          <p:spPr bwMode="auto">
            <a:xfrm>
              <a:off x="498" y="1696"/>
              <a:ext cx="168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" name="Rectangle 42"/>
            <p:cNvSpPr>
              <a:spLocks noChangeArrowheads="1"/>
            </p:cNvSpPr>
            <p:nvPr/>
          </p:nvSpPr>
          <p:spPr bwMode="auto">
            <a:xfrm>
              <a:off x="594" y="1972"/>
              <a:ext cx="456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&lt;30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" name="Rectangle 43"/>
            <p:cNvSpPr>
              <a:spLocks noChangeArrowheads="1"/>
            </p:cNvSpPr>
            <p:nvPr/>
          </p:nvSpPr>
          <p:spPr bwMode="auto">
            <a:xfrm>
              <a:off x="594" y="2249"/>
              <a:ext cx="863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2400" dirty="0">
                  <a:solidFill>
                    <a:srgbClr val="000000"/>
                  </a:solidFill>
                  <a:latin typeface="Mulish" pitchFamily="2" charset="0"/>
                </a:rPr>
                <a:t>≥</a:t>
              </a:r>
              <a:r>
                <a:rPr kumimoji="0" lang="en-US" altLang="en-US" sz="2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 &lt;300</a:t>
              </a:r>
              <a:endPara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46" name="Rectangle 44"/>
            <p:cNvSpPr>
              <a:spLocks noChangeArrowheads="1"/>
            </p:cNvSpPr>
            <p:nvPr/>
          </p:nvSpPr>
          <p:spPr bwMode="auto">
            <a:xfrm>
              <a:off x="594" y="2519"/>
              <a:ext cx="464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0" defTabSz="914400"/>
              <a:r>
                <a:rPr lang="en-US" altLang="en-US" sz="2400" dirty="0" smtClean="0">
                  <a:solidFill>
                    <a:srgbClr val="000000"/>
                  </a:solidFill>
                  <a:latin typeface="Mulish" pitchFamily="2" charset="0"/>
                </a:rPr>
                <a:t>≥</a:t>
              </a:r>
              <a:r>
                <a:rPr kumimoji="0" lang="en-US" altLang="en-US" sz="2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300</a:t>
              </a:r>
              <a:endParaRPr kumimoji="0" lang="en-US" alt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47" name="Rectangle 45"/>
            <p:cNvSpPr>
              <a:spLocks noChangeArrowheads="1"/>
            </p:cNvSpPr>
            <p:nvPr/>
          </p:nvSpPr>
          <p:spPr bwMode="auto">
            <a:xfrm>
              <a:off x="594" y="2916"/>
              <a:ext cx="246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All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" name="Rectangle 46"/>
            <p:cNvSpPr>
              <a:spLocks noChangeArrowheads="1"/>
            </p:cNvSpPr>
            <p:nvPr/>
          </p:nvSpPr>
          <p:spPr bwMode="auto">
            <a:xfrm>
              <a:off x="2048" y="1972"/>
              <a:ext cx="1042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dirty="0" smtClean="0">
                  <a:ln>
                    <a:noFill/>
                  </a:ln>
                  <a:solidFill>
                    <a:srgbClr val="D436B8"/>
                  </a:solidFill>
                  <a:effectLst/>
                  <a:latin typeface="Mulish" pitchFamily="2" charset="0"/>
                </a:rPr>
                <a:t>-0.11 (0.17)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rgbClr val="D436B8"/>
                </a:solidFill>
                <a:effectLst/>
              </a:endParaRPr>
            </a:p>
          </p:txBody>
        </p:sp>
        <p:sp>
          <p:nvSpPr>
            <p:cNvPr id="49" name="Rectangle 47"/>
            <p:cNvSpPr>
              <a:spLocks noChangeArrowheads="1"/>
            </p:cNvSpPr>
            <p:nvPr/>
          </p:nvSpPr>
          <p:spPr bwMode="auto">
            <a:xfrm>
              <a:off x="2048" y="2249"/>
              <a:ext cx="1042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D436B8"/>
                  </a:solidFill>
                  <a:effectLst/>
                  <a:latin typeface="Mulish" pitchFamily="2" charset="0"/>
                </a:rPr>
                <a:t>-0.49 (0.14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rgbClr val="D436B8"/>
                </a:solidFill>
                <a:effectLst/>
              </a:endParaRPr>
            </a:p>
          </p:txBody>
        </p:sp>
        <p:sp>
          <p:nvSpPr>
            <p:cNvPr id="50" name="Rectangle 48"/>
            <p:cNvSpPr>
              <a:spLocks noChangeArrowheads="1"/>
            </p:cNvSpPr>
            <p:nvPr/>
          </p:nvSpPr>
          <p:spPr bwMode="auto">
            <a:xfrm>
              <a:off x="2048" y="2519"/>
              <a:ext cx="1042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D436B8"/>
                  </a:solidFill>
                  <a:effectLst/>
                  <a:latin typeface="Mulish" pitchFamily="2" charset="0"/>
                </a:rPr>
                <a:t>-2.35 (0.11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rgbClr val="D436B8"/>
                </a:solidFill>
                <a:effectLst/>
              </a:endParaRPr>
            </a:p>
          </p:txBody>
        </p:sp>
        <p:sp>
          <p:nvSpPr>
            <p:cNvPr id="51" name="Rectangle 49"/>
            <p:cNvSpPr>
              <a:spLocks noChangeArrowheads="1"/>
            </p:cNvSpPr>
            <p:nvPr/>
          </p:nvSpPr>
          <p:spPr bwMode="auto">
            <a:xfrm>
              <a:off x="2048" y="2916"/>
              <a:ext cx="1069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D436B8"/>
                  </a:solidFill>
                  <a:effectLst/>
                  <a:latin typeface="Mulish" pitchFamily="2" charset="0"/>
                </a:rPr>
                <a:t>-1.37 (0.08)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rgbClr val="D436B8"/>
                </a:solidFill>
                <a:effectLst/>
              </a:endParaRPr>
            </a:p>
          </p:txBody>
        </p:sp>
        <p:sp>
          <p:nvSpPr>
            <p:cNvPr id="52" name="Rectangle 50"/>
            <p:cNvSpPr>
              <a:spLocks noChangeArrowheads="1"/>
            </p:cNvSpPr>
            <p:nvPr/>
          </p:nvSpPr>
          <p:spPr bwMode="auto">
            <a:xfrm>
              <a:off x="3267" y="1972"/>
              <a:ext cx="1147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0.89 (0.16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3" name="Rectangle 51"/>
            <p:cNvSpPr>
              <a:spLocks noChangeArrowheads="1"/>
            </p:cNvSpPr>
            <p:nvPr/>
          </p:nvSpPr>
          <p:spPr bwMode="auto">
            <a:xfrm>
              <a:off x="3267" y="2249"/>
              <a:ext cx="1147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1.69 (0.14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" name="Rectangle 52"/>
            <p:cNvSpPr>
              <a:spLocks noChangeArrowheads="1"/>
            </p:cNvSpPr>
            <p:nvPr/>
          </p:nvSpPr>
          <p:spPr bwMode="auto">
            <a:xfrm>
              <a:off x="3267" y="2519"/>
              <a:ext cx="1147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4.11 (0.11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" name="Rectangle 53"/>
            <p:cNvSpPr>
              <a:spLocks noChangeArrowheads="1"/>
            </p:cNvSpPr>
            <p:nvPr/>
          </p:nvSpPr>
          <p:spPr bwMode="auto">
            <a:xfrm>
              <a:off x="3267" y="2916"/>
              <a:ext cx="1171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-2.75 (0.08)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8" name="Rectangle 56"/>
            <p:cNvSpPr>
              <a:spLocks noChangeArrowheads="1"/>
            </p:cNvSpPr>
            <p:nvPr/>
          </p:nvSpPr>
          <p:spPr bwMode="auto">
            <a:xfrm>
              <a:off x="2048" y="1010"/>
              <a:ext cx="168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9" name="Rectangle 57"/>
            <p:cNvSpPr>
              <a:spLocks noChangeArrowheads="1"/>
            </p:cNvSpPr>
            <p:nvPr/>
          </p:nvSpPr>
          <p:spPr bwMode="auto">
            <a:xfrm>
              <a:off x="3267" y="1010"/>
              <a:ext cx="168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0" name="Rectangle 58"/>
            <p:cNvSpPr>
              <a:spLocks noChangeArrowheads="1"/>
            </p:cNvSpPr>
            <p:nvPr/>
          </p:nvSpPr>
          <p:spPr bwMode="auto">
            <a:xfrm>
              <a:off x="7411" y="1010"/>
              <a:ext cx="168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Mulish" pitchFamily="2" charset="0"/>
                </a:rPr>
                <a:t> </a:t>
              </a:r>
              <a:endPara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62" name="Line 60"/>
          <p:cNvSpPr>
            <a:spLocks noChangeShapeType="1"/>
          </p:cNvSpPr>
          <p:nvPr/>
        </p:nvSpPr>
        <p:spPr bwMode="auto">
          <a:xfrm flipV="1">
            <a:off x="638175" y="2738778"/>
            <a:ext cx="11102975" cy="9526"/>
          </a:xfrm>
          <a:prstGeom prst="line">
            <a:avLst/>
          </a:prstGeom>
          <a:noFill/>
          <a:ln w="2540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00">
              <a:latin typeface="Mulish" pitchFamily="2" charset="0"/>
            </a:endParaRPr>
          </a:p>
        </p:txBody>
      </p:sp>
      <p:sp>
        <p:nvSpPr>
          <p:cNvPr id="64" name="Rectangle 53"/>
          <p:cNvSpPr>
            <a:spLocks noChangeArrowheads="1"/>
          </p:cNvSpPr>
          <p:nvPr/>
        </p:nvSpPr>
        <p:spPr bwMode="auto">
          <a:xfrm>
            <a:off x="592138" y="1962906"/>
            <a:ext cx="3184525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defTabSz="914400"/>
            <a:r>
              <a:rPr lang="en-US" altLang="en-US" b="1" dirty="0" err="1" smtClean="0">
                <a:solidFill>
                  <a:srgbClr val="000000"/>
                </a:solidFill>
                <a:latin typeface="Mulish" pitchFamily="2" charset="0"/>
              </a:rPr>
              <a:t>uACR</a:t>
            </a:r>
            <a:r>
              <a:rPr lang="en-US" altLang="en-US" b="1" dirty="0" smtClean="0">
                <a:solidFill>
                  <a:srgbClr val="000000"/>
                </a:solidFill>
                <a:latin typeface="Mulish" pitchFamily="2" charset="0"/>
              </a:rPr>
              <a:t> </a:t>
            </a:r>
          </a:p>
          <a:p>
            <a:pPr lvl="0" defTabSz="914400"/>
            <a:r>
              <a:rPr lang="en-US" altLang="en-US" sz="1800" b="1" dirty="0" smtClean="0">
                <a:solidFill>
                  <a:srgbClr val="000000"/>
                </a:solidFill>
                <a:latin typeface="Mulish" pitchFamily="2" charset="0"/>
              </a:rPr>
              <a:t>(mg/g)</a:t>
            </a:r>
            <a:endParaRPr lang="en-US" altLang="en-US" sz="1800" b="1" dirty="0">
              <a:solidFill>
                <a:srgbClr val="000000"/>
              </a:solidFill>
              <a:latin typeface="Mulish" pitchFamily="2" charset="0"/>
            </a:endParaRPr>
          </a:p>
          <a:p>
            <a:pPr lvl="0" defTabSz="914400"/>
            <a:endParaRPr lang="en-US" altLang="en-US" sz="1800" dirty="0"/>
          </a:p>
        </p:txBody>
      </p:sp>
      <p:sp>
        <p:nvSpPr>
          <p:cNvPr id="67" name="Rectangle 34"/>
          <p:cNvSpPr>
            <a:spLocks noChangeArrowheads="1"/>
          </p:cNvSpPr>
          <p:nvPr/>
        </p:nvSpPr>
        <p:spPr bwMode="auto">
          <a:xfrm>
            <a:off x="8718550" y="1958976"/>
            <a:ext cx="3022600" cy="496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Difference between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" name="Rectangle 35"/>
          <p:cNvSpPr>
            <a:spLocks noChangeArrowheads="1"/>
          </p:cNvSpPr>
          <p:nvPr/>
        </p:nvSpPr>
        <p:spPr bwMode="auto">
          <a:xfrm>
            <a:off x="8561388" y="2322514"/>
            <a:ext cx="3336925" cy="496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mean slopes (95% CI)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1" name="Rectangle 37"/>
          <p:cNvSpPr>
            <a:spLocks noChangeArrowheads="1"/>
          </p:cNvSpPr>
          <p:nvPr/>
        </p:nvSpPr>
        <p:spPr bwMode="auto">
          <a:xfrm>
            <a:off x="3608388" y="1603376"/>
            <a:ext cx="23574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Mean slope (SE)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3" name="Rectangle 38"/>
          <p:cNvSpPr>
            <a:spLocks noChangeArrowheads="1"/>
          </p:cNvSpPr>
          <p:nvPr/>
        </p:nvSpPr>
        <p:spPr bwMode="auto">
          <a:xfrm>
            <a:off x="3254375" y="1966914"/>
            <a:ext cx="30670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Mulish" pitchFamily="2" charset="0"/>
              </a:rPr>
              <a:t>mL/min/1.73m²/year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5" name="Rounded Rectangle 64"/>
          <p:cNvSpPr/>
          <p:nvPr/>
        </p:nvSpPr>
        <p:spPr>
          <a:xfrm>
            <a:off x="265937" y="5326064"/>
            <a:ext cx="4348927" cy="919401"/>
          </a:xfrm>
          <a:prstGeom prst="roundRect">
            <a:avLst/>
          </a:prstGeom>
          <a:ln w="28575">
            <a:solidFill>
              <a:schemeClr val="accent6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latin typeface="Mulish" pitchFamily="2" charset="0"/>
              </a:rPr>
              <a:t>Difference of at least </a:t>
            </a:r>
            <a:r>
              <a:rPr lang="en-GB" sz="2400" b="1" dirty="0">
                <a:latin typeface="Mulish" pitchFamily="2" charset="0"/>
              </a:rPr>
              <a:t>0.5 </a:t>
            </a:r>
            <a:r>
              <a:rPr lang="en-GB" sz="2400" dirty="0">
                <a:latin typeface="Mulish" pitchFamily="2" charset="0"/>
              </a:rPr>
              <a:t>is considered effective</a:t>
            </a:r>
          </a:p>
        </p:txBody>
      </p:sp>
    </p:spTree>
    <p:extLst>
      <p:ext uri="{BB962C8B-B14F-4D97-AF65-F5344CB8AC3E}">
        <p14:creationId xmlns:p14="http://schemas.microsoft.com/office/powerpoint/2010/main" val="1805081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8458" y="4509120"/>
            <a:ext cx="6821919" cy="1752600"/>
          </a:xfrm>
        </p:spPr>
        <p:txBody>
          <a:bodyPr>
            <a:normAutofit/>
          </a:bodyPr>
          <a:lstStyle/>
          <a:p>
            <a:r>
              <a:rPr lang="en-GB" sz="4000" b="1" dirty="0" smtClean="0">
                <a:solidFill>
                  <a:schemeClr val="tx1"/>
                </a:solidFill>
                <a:latin typeface="Mulish" pitchFamily="2" charset="0"/>
              </a:rPr>
              <a:t>Key secondary and other outcom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08"/>
          <a:stretch/>
        </p:blipFill>
        <p:spPr>
          <a:xfrm>
            <a:off x="-167772" y="548680"/>
            <a:ext cx="11952404" cy="371241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075374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Key secondary outcomes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0" cy="4525963"/>
          </a:xfrm>
        </p:spPr>
        <p:txBody>
          <a:bodyPr/>
          <a:lstStyle/>
          <a:p>
            <a:r>
              <a:rPr lang="en-GB" dirty="0" smtClean="0">
                <a:latin typeface="Mulish" pitchFamily="2" charset="0"/>
              </a:rPr>
              <a:t>Empagliflozin reduced the risk of hospital admission for any cause</a:t>
            </a:r>
          </a:p>
          <a:p>
            <a:r>
              <a:rPr lang="en-GB" dirty="0" smtClean="0">
                <a:latin typeface="Mulish" pitchFamily="2" charset="0"/>
              </a:rPr>
              <a:t>Placebo group: 29.2 hospital admissions per 100 people/year</a:t>
            </a:r>
          </a:p>
          <a:p>
            <a:r>
              <a:rPr lang="en-GB" b="1" dirty="0" smtClean="0">
                <a:latin typeface="Mulish" pitchFamily="2" charset="0"/>
              </a:rPr>
              <a:t>If 100 people were treated with empagliflozin for 1 year, there would be 4 fewer hospital admissions</a:t>
            </a:r>
          </a:p>
        </p:txBody>
      </p:sp>
      <p:pic>
        <p:nvPicPr>
          <p:cNvPr id="8194" name="Picture 2" descr="https://cdn-icons-png.flaticon.com/512/4320/432037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4825" y="4939065"/>
            <a:ext cx="1585732" cy="1585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6568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Key secondary outcomes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599" y="1600206"/>
            <a:ext cx="11254451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800" dirty="0" smtClean="0">
                <a:latin typeface="Mulish" pitchFamily="2" charset="0"/>
              </a:rPr>
              <a:t>Remember </a:t>
            </a:r>
            <a:r>
              <a:rPr lang="en-GB" sz="2800" b="1" dirty="0" smtClean="0">
                <a:solidFill>
                  <a:srgbClr val="CE08A8"/>
                </a:solidFill>
                <a:latin typeface="Mulish" pitchFamily="2" charset="0"/>
              </a:rPr>
              <a:t>death from heart (cardiovascular) disease</a:t>
            </a:r>
            <a:r>
              <a:rPr lang="en-GB" sz="2800" dirty="0" smtClean="0">
                <a:latin typeface="Mulish" pitchFamily="2" charset="0"/>
              </a:rPr>
              <a:t>…</a:t>
            </a:r>
          </a:p>
          <a:p>
            <a:pPr marL="0" indent="0">
              <a:buNone/>
            </a:pPr>
            <a:endParaRPr lang="en-GB" sz="1400" dirty="0" smtClean="0">
              <a:latin typeface="Mulish" pitchFamily="2" charset="0"/>
            </a:endParaRPr>
          </a:p>
          <a:p>
            <a:r>
              <a:rPr lang="en-GB" sz="2800" dirty="0" smtClean="0">
                <a:latin typeface="Mulish" pitchFamily="2" charset="0"/>
              </a:rPr>
              <a:t>When combined with </a:t>
            </a:r>
            <a:r>
              <a:rPr lang="en-GB" sz="2800" b="1" dirty="0" smtClean="0">
                <a:solidFill>
                  <a:srgbClr val="CE08A8"/>
                </a:solidFill>
                <a:latin typeface="Mulish" pitchFamily="2" charset="0"/>
              </a:rPr>
              <a:t>hospital admissions for heart failure </a:t>
            </a:r>
            <a:r>
              <a:rPr lang="en-GB" sz="2800" dirty="0" smtClean="0">
                <a:latin typeface="Mulish" pitchFamily="2" charset="0"/>
              </a:rPr>
              <a:t>in particular, there was </a:t>
            </a:r>
            <a:r>
              <a:rPr lang="en-GB" sz="2800" b="1" dirty="0" smtClean="0">
                <a:latin typeface="Mulish" pitchFamily="2" charset="0"/>
              </a:rPr>
              <a:t>no significant difference </a:t>
            </a:r>
            <a:r>
              <a:rPr lang="en-GB" sz="2800" dirty="0" smtClean="0">
                <a:latin typeface="Mulish" pitchFamily="2" charset="0"/>
              </a:rPr>
              <a:t>in those who received empagliflozin vs placebo</a:t>
            </a:r>
          </a:p>
          <a:p>
            <a:pPr lvl="1"/>
            <a:r>
              <a:rPr lang="en-GB" sz="2600" dirty="0">
                <a:latin typeface="Mulish" pitchFamily="2" charset="0"/>
              </a:rPr>
              <a:t>We think these drugs probably </a:t>
            </a:r>
            <a:r>
              <a:rPr lang="en-GB" sz="2600" b="1" dirty="0">
                <a:latin typeface="Mulish" pitchFamily="2" charset="0"/>
              </a:rPr>
              <a:t>DO reduce the risk of these events</a:t>
            </a:r>
            <a:r>
              <a:rPr lang="en-GB" sz="2600" dirty="0">
                <a:latin typeface="Mulish" pitchFamily="2" charset="0"/>
              </a:rPr>
              <a:t> but numbers were too small in EMPA-KIDNEY to detect </a:t>
            </a:r>
            <a:r>
              <a:rPr lang="en-GB" sz="2600" dirty="0" smtClean="0">
                <a:latin typeface="Mulish" pitchFamily="2" charset="0"/>
              </a:rPr>
              <a:t>this</a:t>
            </a:r>
          </a:p>
          <a:p>
            <a:pPr marL="457137" lvl="1" indent="0">
              <a:buNone/>
            </a:pPr>
            <a:endParaRPr lang="en-GB" sz="1400" dirty="0">
              <a:latin typeface="Mulish" pitchFamily="2" charset="0"/>
            </a:endParaRPr>
          </a:p>
          <a:p>
            <a:r>
              <a:rPr lang="en-GB" sz="2800" dirty="0" smtClean="0">
                <a:latin typeface="Mulish" pitchFamily="2" charset="0"/>
              </a:rPr>
              <a:t>When we consider </a:t>
            </a:r>
            <a:r>
              <a:rPr lang="en-GB" sz="2800" b="1" dirty="0" smtClean="0">
                <a:solidFill>
                  <a:srgbClr val="CE08A8"/>
                </a:solidFill>
                <a:latin typeface="Mulish" pitchFamily="2" charset="0"/>
              </a:rPr>
              <a:t>all deaths</a:t>
            </a:r>
            <a:r>
              <a:rPr lang="en-GB" sz="2800" dirty="0" smtClean="0">
                <a:latin typeface="Mulish" pitchFamily="2" charset="0"/>
              </a:rPr>
              <a:t>, regardless of cause, again there </a:t>
            </a:r>
            <a:r>
              <a:rPr lang="en-GB" sz="2800" dirty="0">
                <a:latin typeface="Mulish" pitchFamily="2" charset="0"/>
              </a:rPr>
              <a:t>is </a:t>
            </a:r>
            <a:r>
              <a:rPr lang="en-GB" sz="2800" b="1" dirty="0">
                <a:latin typeface="Mulish" pitchFamily="2" charset="0"/>
              </a:rPr>
              <a:t>no significant difference </a:t>
            </a:r>
            <a:endParaRPr lang="en-GB" sz="2800" b="1" dirty="0" smtClean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5758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8458" y="4509120"/>
            <a:ext cx="6821919" cy="1752600"/>
          </a:xfrm>
        </p:spPr>
        <p:txBody>
          <a:bodyPr>
            <a:normAutofit/>
          </a:bodyPr>
          <a:lstStyle/>
          <a:p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Safety outcom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08"/>
          <a:stretch/>
        </p:blipFill>
        <p:spPr>
          <a:xfrm>
            <a:off x="119798" y="548680"/>
            <a:ext cx="11952404" cy="371241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643964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Ketoacidosi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The bottom line: empagliflozin is safe</a:t>
            </a:r>
          </a:p>
          <a:p>
            <a:pPr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We knew previously that these drugs increase the risk of ketoacidosis</a:t>
            </a:r>
          </a:p>
          <a:p>
            <a:pPr>
              <a:lnSpc>
                <a:spcPct val="130000"/>
              </a:lnSpc>
            </a:pPr>
            <a:r>
              <a:rPr lang="en-GB" dirty="0" err="1" smtClean="0">
                <a:latin typeface="Mulish" pitchFamily="2" charset="0"/>
              </a:rPr>
              <a:t>Empagliflozin</a:t>
            </a:r>
            <a:r>
              <a:rPr lang="en-GB" dirty="0" smtClean="0">
                <a:latin typeface="Mulish" pitchFamily="2" charset="0"/>
              </a:rPr>
              <a:t> did increase the risk of </a:t>
            </a:r>
            <a:r>
              <a:rPr lang="en-GB" b="1" dirty="0" smtClean="0">
                <a:latin typeface="Mulish" pitchFamily="2" charset="0"/>
              </a:rPr>
              <a:t>ketoacidosis</a:t>
            </a:r>
            <a:r>
              <a:rPr lang="en-GB" dirty="0" smtClean="0">
                <a:latin typeface="Mulish" pitchFamily="2" charset="0"/>
              </a:rPr>
              <a:t> but this only occurred in 6 people taking </a:t>
            </a:r>
            <a:r>
              <a:rPr lang="en-GB" dirty="0" err="1" smtClean="0">
                <a:latin typeface="Mulish" pitchFamily="2" charset="0"/>
              </a:rPr>
              <a:t>empagliflozin</a:t>
            </a:r>
            <a:r>
              <a:rPr lang="en-GB" dirty="0" smtClean="0">
                <a:latin typeface="Mulish" pitchFamily="2" charset="0"/>
              </a:rPr>
              <a:t> versus 1 taking placebo – it’s rare!</a:t>
            </a:r>
          </a:p>
        </p:txBody>
      </p:sp>
    </p:spTree>
    <p:extLst>
      <p:ext uri="{BB962C8B-B14F-4D97-AF65-F5344CB8AC3E}">
        <p14:creationId xmlns:p14="http://schemas.microsoft.com/office/powerpoint/2010/main" val="1745880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re was no effect on…</a:t>
            </a:r>
            <a:endParaRPr lang="en-GB" dirty="0"/>
          </a:p>
        </p:txBody>
      </p:sp>
      <p:pic>
        <p:nvPicPr>
          <p:cNvPr id="5" name="Picture 2" descr="https://cdn-icons-png.flaticon.com/512/508/50879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8380" y="1794866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s://cdn-icons-png.flaticon.com/512/6236/623674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7752" y="1794866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https://cdn-icons-png.flaticon.com/512/954/954394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7124" y="1794866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s://cdn-icons-png.flaticon.com/512/831/831896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6496" y="1794866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https://cdn-icons-png.flaticon.com/512/2202/2202117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8378" y="4214736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s://cdn-icons-png.flaticon.com/512/8716/8716209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7750" y="4214736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ttps://cdn-icons-png.flaticon.com/512/3209/320911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7122" y="4214736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https://cdn-icons-png.flaticon.com/512/3728/3728480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6494" y="4214736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867721" y="3141814"/>
            <a:ext cx="21413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 smtClean="0">
                <a:latin typeface="Mulish" pitchFamily="2" charset="0"/>
              </a:rPr>
              <a:t>Liver injury</a:t>
            </a:r>
            <a:endParaRPr lang="en-GB" sz="2400" b="1" dirty="0">
              <a:latin typeface="Mulish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87179" y="5466715"/>
            <a:ext cx="31023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 smtClean="0">
                <a:latin typeface="Mulish" pitchFamily="2" charset="0"/>
              </a:rPr>
              <a:t>Urinary or genital infections</a:t>
            </a:r>
            <a:endParaRPr lang="en-GB" sz="2400" b="1" dirty="0">
              <a:latin typeface="Mulish" pitchFamily="2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186552" y="5466715"/>
            <a:ext cx="31023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 smtClean="0">
                <a:latin typeface="Mulish" pitchFamily="2" charset="0"/>
              </a:rPr>
              <a:t>Dehydration</a:t>
            </a:r>
            <a:endParaRPr lang="en-GB" sz="2400" b="1" dirty="0">
              <a:latin typeface="Mulish" pitchFamily="2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985924" y="5466715"/>
            <a:ext cx="31023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 smtClean="0">
                <a:latin typeface="Mulish" pitchFamily="2" charset="0"/>
              </a:rPr>
              <a:t>Low blood       sugar levels</a:t>
            </a:r>
            <a:endParaRPr lang="en-GB" sz="2400" b="1" dirty="0">
              <a:latin typeface="Mulish" pitchFamily="2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785296" y="5466715"/>
            <a:ext cx="310239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 smtClean="0">
                <a:latin typeface="Mulish" pitchFamily="2" charset="0"/>
              </a:rPr>
              <a:t>Bone            fractures</a:t>
            </a:r>
            <a:endParaRPr lang="en-GB" sz="2400" b="1" dirty="0">
              <a:latin typeface="Mulish" pitchFamily="2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667092" y="3141814"/>
            <a:ext cx="21413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 smtClean="0">
                <a:latin typeface="Mulish" pitchFamily="2" charset="0"/>
              </a:rPr>
              <a:t>Amputations</a:t>
            </a:r>
            <a:endParaRPr lang="en-GB" sz="2400" b="1" dirty="0">
              <a:latin typeface="Mulish" pitchFamily="2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466464" y="3153404"/>
            <a:ext cx="21413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 smtClean="0">
                <a:latin typeface="Mulish" pitchFamily="2" charset="0"/>
              </a:rPr>
              <a:t>Acute kidney injury</a:t>
            </a:r>
            <a:endParaRPr lang="en-GB" sz="2400" b="1" dirty="0">
              <a:latin typeface="Mulish" pitchFamily="2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936809" y="3153404"/>
            <a:ext cx="27993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 smtClean="0">
                <a:latin typeface="Mulish" pitchFamily="2" charset="0"/>
              </a:rPr>
              <a:t>High blood potassium levels</a:t>
            </a:r>
            <a:endParaRPr lang="en-GB" sz="2400" b="1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132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oal</a:t>
            </a:r>
            <a:endParaRPr lang="en-GB" dirty="0"/>
          </a:p>
        </p:txBody>
      </p:sp>
      <p:pic>
        <p:nvPicPr>
          <p:cNvPr id="5" name="Picture 2" descr="https://cdn-icons.flaticon.com/png/512/3974/premium/3974915.png?token=exp=1660217616~hmac=7f4cc16f5a1a7fb1cd2e97c4ec7650a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1075" y="1859343"/>
            <a:ext cx="810219" cy="810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Connector 5"/>
          <p:cNvCxnSpPr/>
          <p:nvPr/>
        </p:nvCxnSpPr>
        <p:spPr>
          <a:xfrm>
            <a:off x="3866688" y="2448482"/>
            <a:ext cx="7599598" cy="443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949648" y="1714408"/>
            <a:ext cx="115847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err="1" smtClean="0">
                <a:latin typeface="Mulish" pitchFamily="2" charset="0"/>
              </a:rPr>
              <a:t>eGFR</a:t>
            </a:r>
            <a:r>
              <a:rPr lang="en-GB" dirty="0" smtClean="0">
                <a:latin typeface="Mulish" pitchFamily="2" charset="0"/>
              </a:rPr>
              <a:t> 21</a:t>
            </a:r>
            <a:endParaRPr lang="en-GB" dirty="0">
              <a:latin typeface="Mulish" pitchFamily="2" charset="0"/>
            </a:endParaRPr>
          </a:p>
        </p:txBody>
      </p:sp>
      <p:pic>
        <p:nvPicPr>
          <p:cNvPr id="10" name="Picture 8" descr="https://cdn-icons.flaticon.com/png/512/2117/premium/2117067.png?token=exp=1660217672~hmac=6d9f90e6144bb500d5c8ad3b417b29c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1085" y="2083740"/>
            <a:ext cx="675603" cy="675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https://cdn-icons.flaticon.com/png/512/3974/premium/3974915.png?token=exp=1660217616~hmac=7f4cc16f5a1a7fb1cd2e97c4ec7650a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1325" y="3571376"/>
            <a:ext cx="810219" cy="810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2959198" y="3398577"/>
            <a:ext cx="115847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err="1" smtClean="0">
                <a:latin typeface="Mulish" pitchFamily="2" charset="0"/>
              </a:rPr>
              <a:t>eGFR</a:t>
            </a:r>
            <a:r>
              <a:rPr lang="en-GB" dirty="0" smtClean="0">
                <a:latin typeface="Mulish" pitchFamily="2" charset="0"/>
              </a:rPr>
              <a:t> 26</a:t>
            </a:r>
            <a:endParaRPr lang="en-GB" dirty="0">
              <a:latin typeface="Mulish" pitchFamily="2" charset="0"/>
            </a:endParaRPr>
          </a:p>
        </p:txBody>
      </p:sp>
      <p:pic>
        <p:nvPicPr>
          <p:cNvPr id="16" name="Picture 8" descr="https://cdn-icons.flaticon.com/png/512/2117/premium/2117067.png?token=exp=1660217672~hmac=6d9f90e6144bb500d5c8ad3b417b29c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635" y="3767909"/>
            <a:ext cx="675603" cy="675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https://cdn-icons.flaticon.com/png/512/3974/premium/3974915.png?token=exp=1660217616~hmac=7f4cc16f5a1a7fb1cd2e97c4ec7650a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19883" y="5172430"/>
            <a:ext cx="810219" cy="810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2959198" y="6228732"/>
            <a:ext cx="1087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2019</a:t>
            </a:r>
            <a:endParaRPr lang="en-GB" b="1" dirty="0">
              <a:latin typeface="Mulish" pitchFamily="2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49648" y="4998565"/>
            <a:ext cx="115847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err="1" smtClean="0">
                <a:latin typeface="Mulish" pitchFamily="2" charset="0"/>
              </a:rPr>
              <a:t>eGFR</a:t>
            </a:r>
            <a:r>
              <a:rPr lang="en-GB" dirty="0" smtClean="0">
                <a:latin typeface="Mulish" pitchFamily="2" charset="0"/>
              </a:rPr>
              <a:t> 35</a:t>
            </a:r>
            <a:endParaRPr lang="en-GB" dirty="0">
              <a:latin typeface="Mulish" pitchFamily="2" charset="0"/>
            </a:endParaRPr>
          </a:p>
        </p:txBody>
      </p:sp>
      <p:pic>
        <p:nvPicPr>
          <p:cNvPr id="22" name="Picture 8" descr="https://cdn-icons.flaticon.com/png/512/2117/premium/2117067.png?token=exp=1660217672~hmac=6d9f90e6144bb500d5c8ad3b417b29c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1085" y="5367897"/>
            <a:ext cx="675603" cy="675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Straight Connector 28"/>
          <p:cNvCxnSpPr/>
          <p:nvPr/>
        </p:nvCxnSpPr>
        <p:spPr>
          <a:xfrm>
            <a:off x="3982802" y="4139911"/>
            <a:ext cx="7599598" cy="443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108124" y="5740829"/>
            <a:ext cx="7599598" cy="443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 descr="https://cdn-icons-png.flaticon.com/512/3001/3001768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917" y="1859343"/>
            <a:ext cx="900000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4" descr="https://cdn-icons-png.flaticon.com/512/3001/3001797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917" y="3452679"/>
            <a:ext cx="900000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6" descr="https://cdn-icons-png.flaticon.com/512/3001/3001799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917" y="5194015"/>
            <a:ext cx="900000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1164578" y="1761552"/>
            <a:ext cx="185968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 smtClean="0">
                <a:latin typeface="Mulish" pitchFamily="2" charset="0"/>
              </a:rPr>
              <a:t>Age 52</a:t>
            </a:r>
          </a:p>
          <a:p>
            <a:pPr algn="ctr"/>
            <a:endParaRPr lang="en-GB" sz="800" dirty="0" smtClean="0">
              <a:latin typeface="Mulish" pitchFamily="2" charset="0"/>
            </a:endParaRPr>
          </a:p>
          <a:p>
            <a:pPr algn="ctr"/>
            <a:r>
              <a:rPr lang="en-GB" sz="1600" dirty="0" smtClean="0">
                <a:latin typeface="Mulish" pitchFamily="2" charset="0"/>
              </a:rPr>
              <a:t>Kidney disease </a:t>
            </a:r>
          </a:p>
          <a:p>
            <a:pPr algn="ctr"/>
            <a:r>
              <a:rPr lang="en-GB" sz="1600" dirty="0" smtClean="0">
                <a:latin typeface="Mulish" pitchFamily="2" charset="0"/>
              </a:rPr>
              <a:t>due to </a:t>
            </a:r>
            <a:r>
              <a:rPr lang="en-GB" sz="1600" b="1" dirty="0" smtClean="0">
                <a:latin typeface="Mulish" pitchFamily="2" charset="0"/>
              </a:rPr>
              <a:t>diabetes</a:t>
            </a:r>
          </a:p>
          <a:p>
            <a:pPr algn="ctr"/>
            <a:endParaRPr lang="en-GB" sz="1600" dirty="0">
              <a:latin typeface="Mulish" pitchFamily="2" charset="0"/>
            </a:endParaRPr>
          </a:p>
          <a:p>
            <a:pPr algn="ctr"/>
            <a:endParaRPr lang="en-GB" sz="1600" dirty="0">
              <a:latin typeface="Mulish" pitchFamily="2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164578" y="3253298"/>
            <a:ext cx="1859684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 smtClean="0">
                <a:latin typeface="Mulish" pitchFamily="2" charset="0"/>
              </a:rPr>
              <a:t>Age 65</a:t>
            </a:r>
          </a:p>
          <a:p>
            <a:pPr algn="ctr"/>
            <a:endParaRPr lang="en-GB" sz="800" dirty="0" smtClean="0">
              <a:latin typeface="Mulish" pitchFamily="2" charset="0"/>
            </a:endParaRPr>
          </a:p>
          <a:p>
            <a:pPr algn="ctr"/>
            <a:r>
              <a:rPr lang="en-GB" sz="1600" dirty="0" smtClean="0">
                <a:latin typeface="Mulish" pitchFamily="2" charset="0"/>
              </a:rPr>
              <a:t>Kidney disease </a:t>
            </a:r>
          </a:p>
          <a:p>
            <a:pPr algn="ctr"/>
            <a:r>
              <a:rPr lang="en-GB" sz="1600" dirty="0" smtClean="0">
                <a:latin typeface="Mulish" pitchFamily="2" charset="0"/>
              </a:rPr>
              <a:t>due to </a:t>
            </a:r>
            <a:r>
              <a:rPr lang="en-GB" sz="1600" b="1" dirty="0" smtClean="0">
                <a:latin typeface="Mulish" pitchFamily="2" charset="0"/>
              </a:rPr>
              <a:t>high  blood pressure</a:t>
            </a:r>
          </a:p>
          <a:p>
            <a:pPr algn="ctr"/>
            <a:endParaRPr lang="en-GB" sz="1600" dirty="0">
              <a:latin typeface="Mulish" pitchFamily="2" charset="0"/>
            </a:endParaRPr>
          </a:p>
          <a:p>
            <a:pPr algn="ctr"/>
            <a:endParaRPr lang="en-GB" sz="1600" dirty="0">
              <a:latin typeface="Mulish" pitchFamily="2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923143" y="4998565"/>
            <a:ext cx="2342553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 smtClean="0">
                <a:latin typeface="Mulish" pitchFamily="2" charset="0"/>
              </a:rPr>
              <a:t>Age 41</a:t>
            </a:r>
          </a:p>
          <a:p>
            <a:pPr algn="ctr"/>
            <a:endParaRPr lang="en-GB" sz="800" dirty="0" smtClean="0">
              <a:latin typeface="Mulish" pitchFamily="2" charset="0"/>
            </a:endParaRPr>
          </a:p>
          <a:p>
            <a:pPr algn="ctr"/>
            <a:r>
              <a:rPr lang="en-GB" sz="1600" dirty="0" smtClean="0">
                <a:latin typeface="Mulish" pitchFamily="2" charset="0"/>
              </a:rPr>
              <a:t>Kidney disease </a:t>
            </a:r>
          </a:p>
          <a:p>
            <a:pPr algn="ctr"/>
            <a:r>
              <a:rPr lang="en-GB" sz="1600" dirty="0" smtClean="0">
                <a:latin typeface="Mulish" pitchFamily="2" charset="0"/>
              </a:rPr>
              <a:t>due to </a:t>
            </a:r>
            <a:r>
              <a:rPr lang="en-GB" sz="1600" b="1" dirty="0" smtClean="0">
                <a:latin typeface="Mulish" pitchFamily="2" charset="0"/>
              </a:rPr>
              <a:t>glomerulonephritis</a:t>
            </a:r>
          </a:p>
          <a:p>
            <a:pPr algn="ctr"/>
            <a:endParaRPr lang="en-GB" sz="1600" dirty="0">
              <a:latin typeface="Mulish" pitchFamily="2" charset="0"/>
            </a:endParaRPr>
          </a:p>
          <a:p>
            <a:pPr algn="ctr"/>
            <a:endParaRPr lang="en-GB" sz="1600" dirty="0">
              <a:latin typeface="Mulish" pitchFamily="2" charset="0"/>
            </a:endParaRPr>
          </a:p>
        </p:txBody>
      </p:sp>
      <p:pic>
        <p:nvPicPr>
          <p:cNvPr id="39" name="Picture 2" descr="https://cdn-icons-png.flaticon.com/512/595/59561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1412" y="2035703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/>
          <p:cNvSpPr txBox="1"/>
          <p:nvPr/>
        </p:nvSpPr>
        <p:spPr>
          <a:xfrm>
            <a:off x="4358926" y="2076473"/>
            <a:ext cx="17265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>
                <a:latin typeface="Mulish" pitchFamily="2" charset="0"/>
              </a:rPr>
              <a:t>Empagliflozin</a:t>
            </a:r>
            <a:endParaRPr lang="en-GB" sz="1600" b="1" dirty="0">
              <a:latin typeface="Mulish" pitchFamily="2" charset="0"/>
            </a:endParaRPr>
          </a:p>
        </p:txBody>
      </p:sp>
      <p:pic>
        <p:nvPicPr>
          <p:cNvPr id="41" name="Picture 2" descr="https://cdn-icons-png.flaticon.com/512/595/59561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1412" y="3641597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/>
          <p:cNvSpPr txBox="1"/>
          <p:nvPr/>
        </p:nvSpPr>
        <p:spPr>
          <a:xfrm>
            <a:off x="4358926" y="3685796"/>
            <a:ext cx="17265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>
                <a:latin typeface="Mulish" pitchFamily="2" charset="0"/>
              </a:rPr>
              <a:t>Empagliflozin</a:t>
            </a:r>
            <a:endParaRPr lang="en-GB" sz="1600" b="1" dirty="0">
              <a:latin typeface="Mulish" pitchFamily="2" charset="0"/>
            </a:endParaRPr>
          </a:p>
        </p:txBody>
      </p:sp>
      <p:pic>
        <p:nvPicPr>
          <p:cNvPr id="43" name="Picture 2" descr="https://cdn-icons-png.flaticon.com/512/595/59561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1412" y="5332716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/>
          <p:cNvSpPr txBox="1"/>
          <p:nvPr/>
        </p:nvSpPr>
        <p:spPr>
          <a:xfrm>
            <a:off x="4364280" y="5332716"/>
            <a:ext cx="17265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>
                <a:latin typeface="Mulish" pitchFamily="2" charset="0"/>
              </a:rPr>
              <a:t>Empagliflozin</a:t>
            </a:r>
            <a:endParaRPr lang="en-GB" sz="1600" b="1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3618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8458" y="4509120"/>
            <a:ext cx="6821919" cy="1752600"/>
          </a:xfrm>
        </p:spPr>
        <p:txBody>
          <a:bodyPr>
            <a:normAutofit/>
          </a:bodyPr>
          <a:lstStyle/>
          <a:p>
            <a:r>
              <a:rPr lang="en-GB" sz="4000" b="1" dirty="0" smtClean="0">
                <a:solidFill>
                  <a:srgbClr val="10253F"/>
                </a:solidFill>
                <a:latin typeface="Mulish" pitchFamily="2" charset="0"/>
              </a:rPr>
              <a:t>Physical measurements and biochemical outcom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08"/>
          <a:stretch/>
        </p:blipFill>
        <p:spPr>
          <a:xfrm>
            <a:off x="119798" y="548680"/>
            <a:ext cx="11952404" cy="371241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89583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0253F"/>
                </a:solidFill>
              </a:rPr>
              <a:t>Physical measurements</a:t>
            </a:r>
            <a:endParaRPr lang="en-GB" dirty="0">
              <a:solidFill>
                <a:srgbClr val="10253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262148"/>
              </p:ext>
            </p:extLst>
          </p:nvPr>
        </p:nvGraphicFramePr>
        <p:xfrm>
          <a:off x="609600" y="1760685"/>
          <a:ext cx="10972800" cy="1280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709114">
                  <a:extLst>
                    <a:ext uri="{9D8B030D-6E8A-4147-A177-3AD203B41FA5}">
                      <a16:colId xmlns:a16="http://schemas.microsoft.com/office/drawing/2014/main" val="1391446165"/>
                    </a:ext>
                  </a:extLst>
                </a:gridCol>
                <a:gridCol w="2644048">
                  <a:extLst>
                    <a:ext uri="{9D8B030D-6E8A-4147-A177-3AD203B41FA5}">
                      <a16:colId xmlns:a16="http://schemas.microsoft.com/office/drawing/2014/main" val="454599435"/>
                    </a:ext>
                  </a:extLst>
                </a:gridCol>
                <a:gridCol w="2198410">
                  <a:extLst>
                    <a:ext uri="{9D8B030D-6E8A-4147-A177-3AD203B41FA5}">
                      <a16:colId xmlns:a16="http://schemas.microsoft.com/office/drawing/2014/main" val="2065818240"/>
                    </a:ext>
                  </a:extLst>
                </a:gridCol>
                <a:gridCol w="2421228">
                  <a:extLst>
                    <a:ext uri="{9D8B030D-6E8A-4147-A177-3AD203B41FA5}">
                      <a16:colId xmlns:a16="http://schemas.microsoft.com/office/drawing/2014/main" val="115456664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GB" sz="2400" dirty="0">
                        <a:solidFill>
                          <a:schemeClr val="bg1"/>
                        </a:solidFill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253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Empagliflozin</a:t>
                      </a:r>
                    </a:p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(n=3304)</a:t>
                      </a:r>
                      <a:endParaRPr lang="en-GB" sz="2400" b="1" dirty="0">
                        <a:solidFill>
                          <a:schemeClr val="bg1"/>
                        </a:solidFill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253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Placebo</a:t>
                      </a:r>
                    </a:p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(n=3305)</a:t>
                      </a:r>
                      <a:endParaRPr lang="en-GB" sz="2400" b="1" dirty="0">
                        <a:solidFill>
                          <a:schemeClr val="bg1"/>
                        </a:solidFill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253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Difference (SE)</a:t>
                      </a:r>
                      <a:endParaRPr lang="en-GB" sz="2400" b="1" dirty="0">
                        <a:solidFill>
                          <a:schemeClr val="bg1"/>
                        </a:solidFill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25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69740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400" b="0" dirty="0" smtClean="0">
                          <a:latin typeface="Mulish" pitchFamily="2" charset="0"/>
                        </a:rPr>
                        <a:t>Weight (kg)</a:t>
                      </a:r>
                      <a:endParaRPr lang="en-GB" sz="2400" b="0" dirty="0"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0" dirty="0" smtClean="0">
                          <a:solidFill>
                            <a:srgbClr val="D436B8"/>
                          </a:solidFill>
                          <a:latin typeface="Mulish" pitchFamily="2" charset="0"/>
                        </a:rPr>
                        <a:t>82.3</a:t>
                      </a:r>
                      <a:endParaRPr lang="en-GB" sz="2400" b="0" dirty="0">
                        <a:solidFill>
                          <a:srgbClr val="D436B8"/>
                        </a:solidFill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0" dirty="0" smtClean="0">
                          <a:latin typeface="Mulish" pitchFamily="2" charset="0"/>
                        </a:rPr>
                        <a:t>83.2</a:t>
                      </a:r>
                      <a:endParaRPr lang="en-GB" sz="2400" b="0" dirty="0"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0" dirty="0" smtClean="0">
                          <a:latin typeface="Mulish" pitchFamily="2" charset="0"/>
                        </a:rPr>
                        <a:t>-0.9</a:t>
                      </a:r>
                      <a:r>
                        <a:rPr lang="en-GB" sz="2400" b="0" baseline="0" dirty="0" smtClean="0">
                          <a:latin typeface="Mulish" pitchFamily="2" charset="0"/>
                        </a:rPr>
                        <a:t> (0.1)</a:t>
                      </a:r>
                      <a:endParaRPr lang="en-GB" sz="2400" b="0" dirty="0"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4324191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781050" y="3383891"/>
            <a:ext cx="106299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 smtClean="0">
                <a:solidFill>
                  <a:srgbClr val="CE08A8"/>
                </a:solidFill>
                <a:latin typeface="Mulish" pitchFamily="2" charset="0"/>
              </a:rPr>
              <a:t>Average </a:t>
            </a:r>
            <a:r>
              <a:rPr lang="en-GB" sz="2800" b="1" dirty="0" smtClean="0">
                <a:solidFill>
                  <a:srgbClr val="002060"/>
                </a:solidFill>
                <a:latin typeface="Mulish" pitchFamily="2" charset="0"/>
              </a:rPr>
              <a:t>body weight </a:t>
            </a:r>
            <a:r>
              <a:rPr lang="en-GB" sz="2800" b="1" dirty="0" smtClean="0">
                <a:solidFill>
                  <a:srgbClr val="CE08A8"/>
                </a:solidFill>
                <a:latin typeface="Mulish" pitchFamily="2" charset="0"/>
              </a:rPr>
              <a:t>was ~1kg lower in those taking empagliflozin vs placebo over the course of the trial</a:t>
            </a:r>
            <a:endParaRPr lang="en-GB" sz="2800" dirty="0">
              <a:solidFill>
                <a:srgbClr val="CE08A8"/>
              </a:solidFill>
              <a:latin typeface="Mulish" pitchFamily="2" charset="0"/>
            </a:endParaRPr>
          </a:p>
        </p:txBody>
      </p:sp>
      <p:pic>
        <p:nvPicPr>
          <p:cNvPr id="9220" name="Picture 4" descr="https://cdn-icons-png.flaticon.com/512/866/86671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6000" y="4570412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2229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0253F"/>
                </a:solidFill>
              </a:rPr>
              <a:t>Physical measurements</a:t>
            </a:r>
            <a:endParaRPr lang="en-GB" dirty="0">
              <a:solidFill>
                <a:srgbClr val="10253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0772805"/>
              </p:ext>
            </p:extLst>
          </p:nvPr>
        </p:nvGraphicFramePr>
        <p:xfrm>
          <a:off x="609600" y="1760685"/>
          <a:ext cx="10972800" cy="1737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709114">
                  <a:extLst>
                    <a:ext uri="{9D8B030D-6E8A-4147-A177-3AD203B41FA5}">
                      <a16:colId xmlns:a16="http://schemas.microsoft.com/office/drawing/2014/main" val="1391446165"/>
                    </a:ext>
                  </a:extLst>
                </a:gridCol>
                <a:gridCol w="2644048">
                  <a:extLst>
                    <a:ext uri="{9D8B030D-6E8A-4147-A177-3AD203B41FA5}">
                      <a16:colId xmlns:a16="http://schemas.microsoft.com/office/drawing/2014/main" val="454599435"/>
                    </a:ext>
                  </a:extLst>
                </a:gridCol>
                <a:gridCol w="2198410">
                  <a:extLst>
                    <a:ext uri="{9D8B030D-6E8A-4147-A177-3AD203B41FA5}">
                      <a16:colId xmlns:a16="http://schemas.microsoft.com/office/drawing/2014/main" val="2065818240"/>
                    </a:ext>
                  </a:extLst>
                </a:gridCol>
                <a:gridCol w="2421228">
                  <a:extLst>
                    <a:ext uri="{9D8B030D-6E8A-4147-A177-3AD203B41FA5}">
                      <a16:colId xmlns:a16="http://schemas.microsoft.com/office/drawing/2014/main" val="115456664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GB" sz="2400" dirty="0">
                        <a:solidFill>
                          <a:schemeClr val="bg1"/>
                        </a:solidFill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253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Empagliflozin</a:t>
                      </a:r>
                    </a:p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(n=3304)</a:t>
                      </a:r>
                      <a:endParaRPr lang="en-GB" sz="2400" b="1" dirty="0">
                        <a:solidFill>
                          <a:schemeClr val="bg1"/>
                        </a:solidFill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253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Placebo</a:t>
                      </a:r>
                    </a:p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(n=3305)</a:t>
                      </a:r>
                      <a:endParaRPr lang="en-GB" sz="2400" b="1" dirty="0">
                        <a:solidFill>
                          <a:schemeClr val="bg1"/>
                        </a:solidFill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253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Difference (SE)</a:t>
                      </a:r>
                      <a:endParaRPr lang="en-GB" sz="2400" b="1" dirty="0">
                        <a:solidFill>
                          <a:schemeClr val="bg1"/>
                        </a:solidFill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25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69740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400" b="0" dirty="0" smtClean="0">
                          <a:latin typeface="Mulish" pitchFamily="2" charset="0"/>
                        </a:rPr>
                        <a:t>Systolic</a:t>
                      </a:r>
                      <a:r>
                        <a:rPr lang="en-GB" sz="2400" b="0" baseline="0" dirty="0" smtClean="0">
                          <a:latin typeface="Mulish" pitchFamily="2" charset="0"/>
                        </a:rPr>
                        <a:t> BP (mmHg)</a:t>
                      </a:r>
                      <a:endParaRPr lang="en-GB" sz="2400" b="0" dirty="0"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0" dirty="0" smtClean="0">
                          <a:solidFill>
                            <a:srgbClr val="D436B8"/>
                          </a:solidFill>
                          <a:latin typeface="Mulish" pitchFamily="2" charset="0"/>
                        </a:rPr>
                        <a:t>132.8</a:t>
                      </a:r>
                      <a:endParaRPr lang="en-GB" sz="2400" b="0" dirty="0">
                        <a:solidFill>
                          <a:srgbClr val="D436B8"/>
                        </a:solidFill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0" dirty="0" smtClean="0">
                          <a:latin typeface="Mulish" pitchFamily="2" charset="0"/>
                        </a:rPr>
                        <a:t>135.3</a:t>
                      </a:r>
                      <a:endParaRPr lang="en-GB" sz="2400" b="0" dirty="0"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0" dirty="0" smtClean="0">
                          <a:latin typeface="Mulish" pitchFamily="2" charset="0"/>
                        </a:rPr>
                        <a:t>-2.6</a:t>
                      </a:r>
                      <a:r>
                        <a:rPr lang="en-GB" sz="2400" b="0" baseline="0" dirty="0" smtClean="0">
                          <a:latin typeface="Mulish" pitchFamily="2" charset="0"/>
                        </a:rPr>
                        <a:t> (0.3)</a:t>
                      </a:r>
                      <a:endParaRPr lang="en-GB" sz="2400" b="0" dirty="0"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59789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2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400" b="0" dirty="0" smtClean="0">
                          <a:latin typeface="Mulish" pitchFamily="2" charset="0"/>
                        </a:rPr>
                        <a:t>Diastolic BP (mmHg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0" dirty="0" smtClean="0">
                          <a:solidFill>
                            <a:srgbClr val="D436B8"/>
                          </a:solidFill>
                          <a:latin typeface="Mulish" pitchFamily="2" charset="0"/>
                        </a:rPr>
                        <a:t>76.3</a:t>
                      </a:r>
                      <a:endParaRPr lang="en-GB" sz="2400" b="0" dirty="0">
                        <a:solidFill>
                          <a:srgbClr val="D436B8"/>
                        </a:solidFill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0" dirty="0" smtClean="0">
                          <a:latin typeface="Mulish" pitchFamily="2" charset="0"/>
                        </a:rPr>
                        <a:t>76.8</a:t>
                      </a:r>
                      <a:endParaRPr lang="en-GB" sz="2400" b="0" dirty="0"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0" dirty="0" smtClean="0">
                          <a:latin typeface="Mulish" pitchFamily="2" charset="0"/>
                        </a:rPr>
                        <a:t>-0.5 (0.2)</a:t>
                      </a:r>
                      <a:endParaRPr lang="en-GB" sz="2400" b="0" dirty="0"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8534463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781050" y="3841091"/>
            <a:ext cx="106299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 smtClean="0">
                <a:solidFill>
                  <a:srgbClr val="CE08A8"/>
                </a:solidFill>
                <a:latin typeface="Mulish" pitchFamily="2" charset="0"/>
              </a:rPr>
              <a:t>Average </a:t>
            </a:r>
            <a:r>
              <a:rPr lang="en-GB" sz="2800" b="1" dirty="0" smtClean="0">
                <a:solidFill>
                  <a:srgbClr val="002060"/>
                </a:solidFill>
                <a:latin typeface="Mulish" pitchFamily="2" charset="0"/>
              </a:rPr>
              <a:t>blood pressure </a:t>
            </a:r>
            <a:r>
              <a:rPr lang="en-GB" sz="2800" b="1" dirty="0" smtClean="0">
                <a:solidFill>
                  <a:srgbClr val="CE08A8"/>
                </a:solidFill>
                <a:latin typeface="Mulish" pitchFamily="2" charset="0"/>
              </a:rPr>
              <a:t>was very slightly lower in those taking empagliflozin vs placebo over the course of the trial</a:t>
            </a:r>
            <a:endParaRPr lang="en-GB" sz="2800" dirty="0">
              <a:solidFill>
                <a:srgbClr val="CE08A8"/>
              </a:solidFill>
              <a:latin typeface="Mulish" pitchFamily="2" charset="0"/>
            </a:endParaRPr>
          </a:p>
        </p:txBody>
      </p:sp>
      <p:pic>
        <p:nvPicPr>
          <p:cNvPr id="10242" name="Picture 2" descr="https://cdn-icons-png.flaticon.com/512/3184/318405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6000" y="4922198"/>
            <a:ext cx="18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4367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0253F"/>
                </a:solidFill>
              </a:rPr>
              <a:t>Level of albumin (protein) in the urine</a:t>
            </a:r>
            <a:endParaRPr lang="en-GB" dirty="0">
              <a:solidFill>
                <a:srgbClr val="10253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836243"/>
              </p:ext>
            </p:extLst>
          </p:nvPr>
        </p:nvGraphicFramePr>
        <p:xfrm>
          <a:off x="609599" y="2205185"/>
          <a:ext cx="10972800" cy="20116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709113">
                  <a:extLst>
                    <a:ext uri="{9D8B030D-6E8A-4147-A177-3AD203B41FA5}">
                      <a16:colId xmlns:a16="http://schemas.microsoft.com/office/drawing/2014/main" val="1391446165"/>
                    </a:ext>
                  </a:extLst>
                </a:gridCol>
                <a:gridCol w="2325834">
                  <a:extLst>
                    <a:ext uri="{9D8B030D-6E8A-4147-A177-3AD203B41FA5}">
                      <a16:colId xmlns:a16="http://schemas.microsoft.com/office/drawing/2014/main" val="454599435"/>
                    </a:ext>
                  </a:extLst>
                </a:gridCol>
                <a:gridCol w="2325834">
                  <a:extLst>
                    <a:ext uri="{9D8B030D-6E8A-4147-A177-3AD203B41FA5}">
                      <a16:colId xmlns:a16="http://schemas.microsoft.com/office/drawing/2014/main" val="2065818240"/>
                    </a:ext>
                  </a:extLst>
                </a:gridCol>
                <a:gridCol w="2612019">
                  <a:extLst>
                    <a:ext uri="{9D8B030D-6E8A-4147-A177-3AD203B41FA5}">
                      <a16:colId xmlns:a16="http://schemas.microsoft.com/office/drawing/2014/main" val="115456664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GB" sz="2400" dirty="0">
                        <a:solidFill>
                          <a:schemeClr val="bg1"/>
                        </a:solidFill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253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Empagliflozin</a:t>
                      </a:r>
                    </a:p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(N=3304)</a:t>
                      </a:r>
                      <a:endParaRPr lang="en-GB" sz="2400" b="1" dirty="0">
                        <a:solidFill>
                          <a:schemeClr val="bg1"/>
                        </a:solidFill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253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Placebo</a:t>
                      </a:r>
                    </a:p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(N=3305)</a:t>
                      </a:r>
                      <a:endParaRPr lang="en-GB" sz="2400" b="1" dirty="0">
                        <a:solidFill>
                          <a:schemeClr val="bg1"/>
                        </a:solidFill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253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Proportional</a:t>
                      </a:r>
                      <a:r>
                        <a:rPr lang="en-GB" sz="2400" b="1" baseline="0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 d</a:t>
                      </a:r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ifference </a:t>
                      </a:r>
                    </a:p>
                    <a:p>
                      <a:pPr algn="ctr"/>
                      <a:r>
                        <a:rPr lang="en-GB" sz="2400" b="1" dirty="0" smtClean="0">
                          <a:solidFill>
                            <a:schemeClr val="bg1"/>
                          </a:solidFill>
                          <a:latin typeface="Mulish" pitchFamily="2" charset="0"/>
                        </a:rPr>
                        <a:t>(95% CI)</a:t>
                      </a:r>
                      <a:endParaRPr lang="en-GB" sz="2400" b="1" dirty="0">
                        <a:solidFill>
                          <a:schemeClr val="bg1"/>
                        </a:solidFill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025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69740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400" b="0" dirty="0" smtClean="0">
                          <a:latin typeface="Mulish" pitchFamily="2" charset="0"/>
                        </a:rPr>
                        <a:t>Geometric</a:t>
                      </a:r>
                      <a:r>
                        <a:rPr lang="en-GB" sz="2400" b="0" baseline="0" dirty="0" smtClean="0">
                          <a:latin typeface="Mulish" pitchFamily="2" charset="0"/>
                        </a:rPr>
                        <a:t> mean u</a:t>
                      </a:r>
                      <a:r>
                        <a:rPr lang="en-GB" sz="2400" b="0" dirty="0" smtClean="0">
                          <a:latin typeface="Mulish" pitchFamily="2" charset="0"/>
                        </a:rPr>
                        <a:t>rinary ACR (mg/g)</a:t>
                      </a:r>
                      <a:endParaRPr lang="en-GB" sz="2400" b="0" dirty="0">
                        <a:latin typeface="Mulish" pitchFamily="2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0" dirty="0" smtClean="0">
                          <a:solidFill>
                            <a:srgbClr val="D436B8"/>
                          </a:solidFill>
                          <a:latin typeface="Mulish" pitchFamily="2" charset="0"/>
                        </a:rPr>
                        <a:t>205</a:t>
                      </a:r>
                      <a:endParaRPr lang="en-GB" sz="2400" b="0" dirty="0">
                        <a:solidFill>
                          <a:srgbClr val="D436B8"/>
                        </a:solidFill>
                        <a:latin typeface="Mulish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0" dirty="0" smtClean="0">
                          <a:latin typeface="Mulish" pitchFamily="2" charset="0"/>
                        </a:rPr>
                        <a:t>261</a:t>
                      </a:r>
                      <a:endParaRPr lang="en-GB" sz="2400" b="0" dirty="0">
                        <a:latin typeface="Mulish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b="0" dirty="0" smtClean="0">
                          <a:latin typeface="Mulish" pitchFamily="2" charset="0"/>
                        </a:rPr>
                        <a:t>0.81 (0.77-0.86)</a:t>
                      </a:r>
                      <a:endParaRPr lang="en-GB" sz="2400" b="0" dirty="0">
                        <a:latin typeface="Mulish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4324191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81049" y="4527357"/>
            <a:ext cx="106299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 smtClean="0">
                <a:solidFill>
                  <a:srgbClr val="CE08A8"/>
                </a:solidFill>
                <a:latin typeface="Mulish" pitchFamily="2" charset="0"/>
              </a:rPr>
              <a:t>Average </a:t>
            </a:r>
            <a:r>
              <a:rPr lang="en-GB" sz="2800" b="1" dirty="0" smtClean="0">
                <a:solidFill>
                  <a:srgbClr val="002060"/>
                </a:solidFill>
                <a:latin typeface="Mulish" pitchFamily="2" charset="0"/>
              </a:rPr>
              <a:t>level of albumin (protein) in the urine </a:t>
            </a:r>
            <a:r>
              <a:rPr lang="en-GB" sz="2800" b="1" dirty="0" smtClean="0">
                <a:solidFill>
                  <a:srgbClr val="CE08A8"/>
                </a:solidFill>
                <a:latin typeface="Mulish" pitchFamily="2" charset="0"/>
              </a:rPr>
              <a:t>was lower in those taking empagliflozin vs placebo over the course of the trial</a:t>
            </a:r>
            <a:endParaRPr lang="en-GB" sz="2800" dirty="0">
              <a:solidFill>
                <a:srgbClr val="CE08A8"/>
              </a:solidFill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669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4" y="270197"/>
            <a:ext cx="11296650" cy="1143000"/>
          </a:xfrm>
        </p:spPr>
        <p:txBody>
          <a:bodyPr>
            <a:normAutofit/>
          </a:bodyPr>
          <a:lstStyle/>
          <a:p>
            <a:r>
              <a:rPr lang="en-GB" dirty="0" smtClean="0"/>
              <a:t>EMPA-KIDNEY Conclus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452439"/>
            <a:ext cx="12049246" cy="5040437"/>
          </a:xfrm>
        </p:spPr>
        <p:txBody>
          <a:bodyPr>
            <a:normAutofit lnSpcReduction="10000"/>
          </a:bodyPr>
          <a:lstStyle/>
          <a:p>
            <a:pPr algn="just"/>
            <a:r>
              <a:rPr lang="en-GB" sz="2800" dirty="0" smtClean="0">
                <a:latin typeface="Mulish" pitchFamily="2" charset="0"/>
              </a:rPr>
              <a:t>Randomised 6609 patients with CKD with a broad range of causes, and large numbers with low levels of kidney function &amp; albumin in the urine</a:t>
            </a:r>
            <a:endParaRPr lang="en-GB" sz="2400" dirty="0">
              <a:latin typeface="Mulish" pitchFamily="2" charset="0"/>
            </a:endParaRPr>
          </a:p>
          <a:p>
            <a:pPr algn="just"/>
            <a:endParaRPr lang="en-GB" sz="2800" dirty="0" smtClean="0">
              <a:latin typeface="Mulish" pitchFamily="2" charset="0"/>
            </a:endParaRPr>
          </a:p>
          <a:p>
            <a:pPr algn="just"/>
            <a:r>
              <a:rPr lang="en-GB" sz="2800" dirty="0" smtClean="0">
                <a:latin typeface="Mulish" pitchFamily="2" charset="0"/>
              </a:rPr>
              <a:t>Empagliflozin safely reduced </a:t>
            </a:r>
            <a:r>
              <a:rPr lang="en-GB" sz="2800" dirty="0">
                <a:latin typeface="Mulish" pitchFamily="2" charset="0"/>
              </a:rPr>
              <a:t>the </a:t>
            </a:r>
            <a:r>
              <a:rPr lang="en-GB" sz="2800" dirty="0" smtClean="0">
                <a:latin typeface="Mulish" pitchFamily="2" charset="0"/>
              </a:rPr>
              <a:t>composite primary outcome of kidney </a:t>
            </a:r>
            <a:r>
              <a:rPr lang="en-GB" sz="2800" dirty="0">
                <a:latin typeface="Mulish" pitchFamily="2" charset="0"/>
              </a:rPr>
              <a:t>disease progression or </a:t>
            </a:r>
            <a:r>
              <a:rPr lang="en-GB" sz="2800" dirty="0" smtClean="0">
                <a:latin typeface="Mulish" pitchFamily="2" charset="0"/>
              </a:rPr>
              <a:t>death from heart (cardiovascular) disease</a:t>
            </a:r>
            <a:endParaRPr lang="en-GB" sz="2800" b="1" dirty="0" smtClean="0">
              <a:latin typeface="Mulish" pitchFamily="2" charset="0"/>
            </a:endParaRPr>
          </a:p>
          <a:p>
            <a:pPr algn="just"/>
            <a:endParaRPr lang="en-GB" sz="2800" b="1" dirty="0">
              <a:latin typeface="Mulish" pitchFamily="2" charset="0"/>
            </a:endParaRPr>
          </a:p>
          <a:p>
            <a:pPr algn="just"/>
            <a:r>
              <a:rPr lang="en-GB" sz="2800" dirty="0">
                <a:latin typeface="Mulish" pitchFamily="2" charset="0"/>
              </a:rPr>
              <a:t>All the different types of people included in the trial </a:t>
            </a:r>
            <a:r>
              <a:rPr lang="en-GB" sz="2800" dirty="0" smtClean="0">
                <a:latin typeface="Mulish" pitchFamily="2" charset="0"/>
              </a:rPr>
              <a:t>                                        (</a:t>
            </a:r>
            <a:r>
              <a:rPr lang="en-GB" sz="2800" dirty="0" err="1">
                <a:latin typeface="Mulish" pitchFamily="2" charset="0"/>
              </a:rPr>
              <a:t>eg</a:t>
            </a:r>
            <a:r>
              <a:rPr lang="en-GB" sz="2800" dirty="0">
                <a:latin typeface="Mulish" pitchFamily="2" charset="0"/>
              </a:rPr>
              <a:t>, with or without diabetes, or stage of kidney disease) appeared to benefit</a:t>
            </a:r>
            <a:endParaRPr lang="en-GB" dirty="0">
              <a:solidFill>
                <a:srgbClr val="FF0000"/>
              </a:solidFill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7634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4" y="270197"/>
            <a:ext cx="11296650" cy="1143000"/>
          </a:xfrm>
        </p:spPr>
        <p:txBody>
          <a:bodyPr>
            <a:normAutofit/>
          </a:bodyPr>
          <a:lstStyle/>
          <a:p>
            <a:r>
              <a:rPr lang="en-GB" dirty="0" smtClean="0"/>
              <a:t>What does it mean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4" y="1556072"/>
            <a:ext cx="11744326" cy="530192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600" b="1" dirty="0" smtClean="0">
                <a:latin typeface="Mulish" pitchFamily="2" charset="0"/>
              </a:rPr>
              <a:t>EMPA-KIDNEY confirms findings from other trials that SGLT2 inhibitors like empagliflozin are safe and effective for the treatment of chronic kidney disease in MOST people </a:t>
            </a:r>
            <a:r>
              <a:rPr lang="en-GB" sz="2600" dirty="0" smtClean="0">
                <a:latin typeface="Mulish" pitchFamily="2" charset="0"/>
              </a:rPr>
              <a:t>(other drugs: </a:t>
            </a:r>
            <a:r>
              <a:rPr lang="en-GB" sz="2600" dirty="0" err="1" smtClean="0">
                <a:latin typeface="Mulish" pitchFamily="2" charset="0"/>
              </a:rPr>
              <a:t>dapagliflozin</a:t>
            </a:r>
            <a:r>
              <a:rPr lang="en-GB" sz="2600" dirty="0" smtClean="0">
                <a:latin typeface="Mulish" pitchFamily="2" charset="0"/>
              </a:rPr>
              <a:t>, </a:t>
            </a:r>
            <a:r>
              <a:rPr lang="en-GB" sz="2600" dirty="0" err="1" smtClean="0">
                <a:latin typeface="Mulish" pitchFamily="2" charset="0"/>
              </a:rPr>
              <a:t>canagliflozin</a:t>
            </a:r>
            <a:r>
              <a:rPr lang="en-GB" sz="2600" dirty="0" smtClean="0">
                <a:latin typeface="Mulish" pitchFamily="2" charset="0"/>
              </a:rPr>
              <a:t>…)</a:t>
            </a:r>
            <a:endParaRPr lang="en-GB" sz="2600" b="1" dirty="0" smtClean="0">
              <a:latin typeface="Mulish" pitchFamily="2" charset="0"/>
            </a:endParaRPr>
          </a:p>
          <a:p>
            <a:pPr marL="0" indent="0">
              <a:buNone/>
            </a:pPr>
            <a:endParaRPr lang="en-GB" sz="1800" b="1" dirty="0" smtClean="0">
              <a:latin typeface="Mulish" pitchFamily="2" charset="0"/>
            </a:endParaRPr>
          </a:p>
          <a:p>
            <a:pPr marL="0" indent="0">
              <a:buNone/>
            </a:pPr>
            <a:r>
              <a:rPr lang="en-GB" sz="2600" b="1" dirty="0" smtClean="0">
                <a:solidFill>
                  <a:srgbClr val="CE08A8"/>
                </a:solidFill>
                <a:latin typeface="Mulish" pitchFamily="2" charset="0"/>
              </a:rPr>
              <a:t>What’s new?</a:t>
            </a:r>
          </a:p>
          <a:p>
            <a:r>
              <a:rPr lang="en-GB" sz="2600" dirty="0" smtClean="0">
                <a:latin typeface="Mulish" pitchFamily="2" charset="0"/>
              </a:rPr>
              <a:t>The effects are observed even in people who </a:t>
            </a:r>
            <a:r>
              <a:rPr lang="en-GB" sz="2600" b="1" dirty="0" smtClean="0">
                <a:latin typeface="Mulish" pitchFamily="2" charset="0"/>
              </a:rPr>
              <a:t>don’t have diabetes</a:t>
            </a:r>
          </a:p>
          <a:p>
            <a:r>
              <a:rPr lang="en-GB" sz="2600" dirty="0" smtClean="0">
                <a:latin typeface="Mulish" pitchFamily="2" charset="0"/>
              </a:rPr>
              <a:t>The drug is safe and effective at </a:t>
            </a:r>
            <a:r>
              <a:rPr lang="en-GB" sz="2600" b="1" dirty="0" smtClean="0">
                <a:latin typeface="Mulish" pitchFamily="2" charset="0"/>
              </a:rPr>
              <a:t>lower levels of kidney function </a:t>
            </a:r>
            <a:r>
              <a:rPr lang="en-GB" sz="2600" dirty="0" smtClean="0">
                <a:latin typeface="Mulish" pitchFamily="2" charset="0"/>
              </a:rPr>
              <a:t>– </a:t>
            </a:r>
            <a:r>
              <a:rPr lang="en-GB" sz="2600" b="1" dirty="0" smtClean="0">
                <a:latin typeface="Mulish" pitchFamily="2" charset="0"/>
              </a:rPr>
              <a:t>empagliflozin should be made available to people who are not currently eligible</a:t>
            </a:r>
          </a:p>
          <a:p>
            <a:r>
              <a:rPr lang="en-GB" sz="2600" dirty="0" smtClean="0">
                <a:latin typeface="Mulish" pitchFamily="2" charset="0"/>
              </a:rPr>
              <a:t>There are benefits even in people with low levels of albumin          (protein) in the urine </a:t>
            </a:r>
            <a:endParaRPr lang="en-GB" sz="2600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2357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4" y="270197"/>
            <a:ext cx="11296650" cy="1143000"/>
          </a:xfrm>
        </p:spPr>
        <p:txBody>
          <a:bodyPr>
            <a:normAutofit/>
          </a:bodyPr>
          <a:lstStyle/>
          <a:p>
            <a:r>
              <a:rPr lang="en-GB" dirty="0" smtClean="0"/>
              <a:t>What does it mean for me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674" y="1556072"/>
            <a:ext cx="11744326" cy="5301929"/>
          </a:xfrm>
        </p:spPr>
        <p:txBody>
          <a:bodyPr>
            <a:normAutofit/>
          </a:bodyPr>
          <a:lstStyle/>
          <a:p>
            <a:pPr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Doctors can already prescribe SGLT-2 inhibitors (like </a:t>
            </a:r>
            <a:r>
              <a:rPr lang="en-GB" dirty="0" err="1" smtClean="0">
                <a:latin typeface="Mulish" pitchFamily="2" charset="0"/>
              </a:rPr>
              <a:t>empagliflozin</a:t>
            </a:r>
            <a:r>
              <a:rPr lang="en-GB" dirty="0" smtClean="0">
                <a:latin typeface="Mulish" pitchFamily="2" charset="0"/>
              </a:rPr>
              <a:t>) for some people with chronic kidney disease</a:t>
            </a:r>
          </a:p>
          <a:p>
            <a:pPr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We hope these results will expand access</a:t>
            </a:r>
          </a:p>
          <a:p>
            <a:pPr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But the results needs to be reviewed by the government and NHS first</a:t>
            </a:r>
          </a:p>
          <a:p>
            <a:pPr>
              <a:lnSpc>
                <a:spcPct val="130000"/>
              </a:lnSpc>
            </a:pPr>
            <a:r>
              <a:rPr lang="en-GB" b="1" dirty="0" smtClean="0">
                <a:latin typeface="Mulish" pitchFamily="2" charset="0"/>
              </a:rPr>
              <a:t>Please discuss with your kidney doctor when you        next see them</a:t>
            </a:r>
            <a:endParaRPr lang="en-GB" b="1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2425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8458" y="4509120"/>
            <a:ext cx="6821919" cy="1752600"/>
          </a:xfrm>
        </p:spPr>
        <p:txBody>
          <a:bodyPr>
            <a:normAutofit/>
          </a:bodyPr>
          <a:lstStyle/>
          <a:p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POST-TRIAL FOLLOW-UP</a:t>
            </a:r>
            <a:endParaRPr lang="en-GB" sz="4000" b="1" dirty="0" smtClean="0">
              <a:solidFill>
                <a:schemeClr val="tx2">
                  <a:lumMod val="60000"/>
                  <a:lumOff val="40000"/>
                </a:schemeClr>
              </a:solidFill>
              <a:latin typeface="Mulish" pitchFamily="2" charset="0"/>
            </a:endParaRPr>
          </a:p>
          <a:p>
            <a:endParaRPr lang="en-GB" sz="4000" b="1" dirty="0" smtClean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08"/>
          <a:stretch/>
        </p:blipFill>
        <p:spPr>
          <a:xfrm>
            <a:off x="119798" y="548680"/>
            <a:ext cx="11952404" cy="371241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094944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91344" y="188640"/>
            <a:ext cx="11737304" cy="1143000"/>
          </a:xfrm>
        </p:spPr>
        <p:txBody>
          <a:bodyPr>
            <a:noAutofit/>
          </a:bodyPr>
          <a:lstStyle/>
          <a:p>
            <a:pPr marL="399995" lvl="1" algn="ctr"/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  <a:cs typeface="Arial" panose="020B0604020202020204" pitchFamily="34" charset="0"/>
              </a:rPr>
              <a:t>Post-trial follow-up (PTFU): rationale</a:t>
            </a:r>
            <a:endParaRPr lang="en-GB" sz="4000" b="1" dirty="0">
              <a:solidFill>
                <a:schemeClr val="tx2">
                  <a:lumMod val="50000"/>
                </a:schemeClr>
              </a:solidFill>
              <a:latin typeface="Mulish" pitchFamily="2" charset="0"/>
              <a:cs typeface="Arial" panose="020B060402020202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68193" y="1450696"/>
            <a:ext cx="11172423" cy="4525963"/>
          </a:xfrm>
          <a:solidFill>
            <a:schemeClr val="bg1"/>
          </a:solidFill>
        </p:spPr>
        <p:txBody>
          <a:bodyPr>
            <a:noAutofit/>
          </a:bodyPr>
          <a:lstStyle/>
          <a:p>
            <a:r>
              <a:rPr lang="en-GB" altLang="en-US" sz="2800" dirty="0" smtClean="0">
                <a:latin typeface="Mulish" pitchFamily="2" charset="0"/>
                <a:ea typeface="Calibri" panose="020F0502020204030204" pitchFamily="34" charset="0"/>
              </a:rPr>
              <a:t>We know that empagliflozin slows CKD progression during treatment vs placebo</a:t>
            </a:r>
          </a:p>
          <a:p>
            <a:pPr marL="0" indent="0">
              <a:buNone/>
            </a:pPr>
            <a:endParaRPr lang="en-GB" altLang="en-US" sz="800" b="1" dirty="0" smtClean="0">
              <a:solidFill>
                <a:srgbClr val="D60093"/>
              </a:solidFill>
              <a:latin typeface="Mulish" pitchFamily="2" charset="0"/>
              <a:ea typeface="Calibri" panose="020F0502020204030204" pitchFamily="34" charset="0"/>
            </a:endParaRPr>
          </a:p>
          <a:p>
            <a:r>
              <a:rPr lang="en-GB" altLang="en-US" sz="2800" b="1" dirty="0" smtClean="0">
                <a:solidFill>
                  <a:srgbClr val="D60093"/>
                </a:solidFill>
                <a:latin typeface="Mulish" pitchFamily="2" charset="0"/>
                <a:ea typeface="Calibri" panose="020F0502020204030204" pitchFamily="34" charset="0"/>
              </a:rPr>
              <a:t>What happens beyond FFU/after stopping treatment? </a:t>
            </a:r>
            <a:endParaRPr lang="en-GB" altLang="en-US" sz="1800" dirty="0" smtClean="0">
              <a:latin typeface="Mulish" pitchFamily="2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359944" y="5696706"/>
            <a:ext cx="288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chemeClr val="accent6">
                    <a:lumMod val="75000"/>
                  </a:schemeClr>
                </a:solidFill>
                <a:latin typeface="Mulish" pitchFamily="2" charset="0"/>
              </a:rPr>
              <a:t>During treatment phase</a:t>
            </a:r>
            <a:endParaRPr lang="en-GB" b="1" dirty="0">
              <a:solidFill>
                <a:schemeClr val="accent6">
                  <a:lumMod val="75000"/>
                </a:schemeClr>
              </a:solidFill>
              <a:latin typeface="Mulish" pitchFamily="2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106624" y="5696706"/>
            <a:ext cx="288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chemeClr val="accent6">
                    <a:lumMod val="75000"/>
                  </a:schemeClr>
                </a:solidFill>
                <a:latin typeface="Mulish" pitchFamily="2" charset="0"/>
              </a:rPr>
              <a:t>Post-trial follow-up</a:t>
            </a:r>
            <a:endParaRPr lang="en-GB" b="1" dirty="0">
              <a:solidFill>
                <a:schemeClr val="accent6">
                  <a:lumMod val="75000"/>
                </a:schemeClr>
              </a:solidFill>
              <a:latin typeface="Mulish" pitchFamily="2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35360" y="3529011"/>
            <a:ext cx="1800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Participant A</a:t>
            </a:r>
          </a:p>
          <a:p>
            <a:pPr algn="ctr"/>
            <a:r>
              <a:rPr lang="en-GB" dirty="0" smtClean="0">
                <a:latin typeface="Mulish" pitchFamily="2" charset="0"/>
              </a:rPr>
              <a:t>Empagliflozin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35360" y="4523856"/>
            <a:ext cx="1800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Participant B</a:t>
            </a:r>
          </a:p>
          <a:p>
            <a:pPr algn="ctr"/>
            <a:r>
              <a:rPr lang="en-GB" dirty="0" smtClean="0">
                <a:latin typeface="Mulish" pitchFamily="2" charset="0"/>
              </a:rPr>
              <a:t>Placebo</a:t>
            </a:r>
            <a:endParaRPr lang="en-GB" dirty="0">
              <a:latin typeface="Mulish" pitchFamily="2" charset="0"/>
            </a:endParaRPr>
          </a:p>
        </p:txBody>
      </p:sp>
      <p:pic>
        <p:nvPicPr>
          <p:cNvPr id="9218" name="Picture 2" descr="https://cdn-icons.flaticon.com/png/512/3974/premium/3974915.png?token=exp=1660217616~hmac=7f4cc16f5a1a7fb1cd2e97c4ec7650a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3964" y="3375875"/>
            <a:ext cx="810219" cy="810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ttps://cdn-icons.flaticon.com/png/512/3974/premium/3974915.png?token=exp=1660217616~hmac=7f4cc16f5a1a7fb1cd2e97c4ec7650a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1772" y="4415033"/>
            <a:ext cx="810219" cy="810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Connector 9"/>
          <p:cNvCxnSpPr/>
          <p:nvPr/>
        </p:nvCxnSpPr>
        <p:spPr>
          <a:xfrm>
            <a:off x="3115105" y="3696803"/>
            <a:ext cx="7706162" cy="8418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287688" y="3529010"/>
            <a:ext cx="12961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eGFR 26</a:t>
            </a:r>
            <a:endParaRPr lang="en-GB" dirty="0">
              <a:latin typeface="Mulish" pitchFamily="2" charset="0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3287688" y="4741739"/>
            <a:ext cx="7706162" cy="8418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5995663" y="3529010"/>
            <a:ext cx="120457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eGFR 24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356522" y="4567695"/>
            <a:ext cx="115847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eGFR 26</a:t>
            </a:r>
            <a:endParaRPr lang="en-GB" dirty="0">
              <a:latin typeface="Mulish" pitchFamily="2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995663" y="4567695"/>
            <a:ext cx="115847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eGFR 21</a:t>
            </a:r>
            <a:endParaRPr lang="en-GB" dirty="0">
              <a:latin typeface="Mulish" pitchFamily="2" charset="0"/>
            </a:endParaRPr>
          </a:p>
        </p:txBody>
      </p:sp>
      <p:pic>
        <p:nvPicPr>
          <p:cNvPr id="15" name="Picture 8" descr="https://cdn-icons.flaticon.com/png/512/2117/premium/2117067.png?token=exp=1660217672~hmac=6d9f90e6144bb500d5c8ad3b417b29c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8109" y="3375875"/>
            <a:ext cx="675603" cy="675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 descr="https://cdn-icons.flaticon.com/png/512/2117/premium/2117067.png?token=exp=1660217672~hmac=6d9f90e6144bb500d5c8ad3b417b29c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8109" y="4429680"/>
            <a:ext cx="675603" cy="675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8" descr="https://cdn-icons.flaticon.com/png/512/2117/premium/2117067.png?token=exp=1660217672~hmac=6d9f90e6144bb500d5c8ad3b417b29c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0675" y="3375875"/>
            <a:ext cx="675603" cy="675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8" descr="https://cdn-icons.flaticon.com/png/512/2117/premium/2117067.png?token=exp=1660217672~hmac=6d9f90e6144bb500d5c8ad3b417b29c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0675" y="4415033"/>
            <a:ext cx="675603" cy="675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3115105" y="5204265"/>
            <a:ext cx="1087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2020</a:t>
            </a:r>
            <a:endParaRPr lang="en-GB" b="1" dirty="0">
              <a:latin typeface="Mulish" pitchFamily="2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677273" y="5204265"/>
            <a:ext cx="1087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2022</a:t>
            </a:r>
            <a:endParaRPr lang="en-GB" b="1" dirty="0">
              <a:latin typeface="Mulish" pitchFamily="2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883194" y="5196336"/>
            <a:ext cx="1087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2023</a:t>
            </a:r>
            <a:endParaRPr lang="en-GB" b="1" dirty="0">
              <a:latin typeface="Mulish" pitchFamily="2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277580" y="5204265"/>
            <a:ext cx="1087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latin typeface="Mulish" pitchFamily="2" charset="0"/>
              </a:rPr>
              <a:t>2025</a:t>
            </a:r>
            <a:endParaRPr lang="en-GB" b="1" dirty="0">
              <a:latin typeface="Mulish" pitchFamily="2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0675883" y="3696803"/>
            <a:ext cx="12099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Mulish" pitchFamily="2" charset="0"/>
              </a:rPr>
              <a:t>Dialysis delayed</a:t>
            </a:r>
            <a:endParaRPr lang="en-GB" dirty="0">
              <a:latin typeface="Mulish" pitchFamily="2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43593" y="3190234"/>
            <a:ext cx="648384" cy="590750"/>
          </a:xfrm>
          <a:prstGeom prst="rect">
            <a:avLst/>
          </a:prstGeom>
        </p:spPr>
      </p:pic>
      <p:pic>
        <p:nvPicPr>
          <p:cNvPr id="32" name="Picture 4" descr="https://cdn-icons.flaticon.com/png/512/2340/premium/2340272.png?token=exp=1660211950~hmac=052a04e12682725ad6c609fcc18cc87b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947" y="301442"/>
            <a:ext cx="993509" cy="993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8079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91344" y="188640"/>
            <a:ext cx="11737304" cy="1143000"/>
          </a:xfrm>
        </p:spPr>
        <p:txBody>
          <a:bodyPr>
            <a:noAutofit/>
          </a:bodyPr>
          <a:lstStyle/>
          <a:p>
            <a:pPr marL="399995" lvl="1" algn="ctr"/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  <a:cs typeface="Arial" panose="020B0604020202020204" pitchFamily="34" charset="0"/>
              </a:rPr>
              <a:t>Post-trial follow-up (PTFU)</a:t>
            </a:r>
            <a:endParaRPr lang="en-GB" sz="4000" b="1" dirty="0">
              <a:solidFill>
                <a:schemeClr val="tx2">
                  <a:lumMod val="50000"/>
                </a:schemeClr>
              </a:solidFill>
              <a:latin typeface="Mulish" pitchFamily="2" charset="0"/>
              <a:cs typeface="Arial" panose="020B060402020202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68193" y="1790700"/>
            <a:ext cx="11546329" cy="4185959"/>
          </a:xfrm>
          <a:solidFill>
            <a:schemeClr val="bg1"/>
          </a:solidFill>
        </p:spPr>
        <p:txBody>
          <a:bodyPr>
            <a:noAutofit/>
          </a:bodyPr>
          <a:lstStyle/>
          <a:p>
            <a:pPr>
              <a:lnSpc>
                <a:spcPct val="130000"/>
              </a:lnSpc>
            </a:pPr>
            <a:r>
              <a:rPr lang="en-GB" altLang="en-US" dirty="0" smtClean="0">
                <a:latin typeface="Mulish" pitchFamily="2" charset="0"/>
              </a:rPr>
              <a:t>Information will be collected from your kidney unit records if you have previously given consent for this</a:t>
            </a:r>
          </a:p>
          <a:p>
            <a:pPr>
              <a:lnSpc>
                <a:spcPct val="130000"/>
              </a:lnSpc>
            </a:pPr>
            <a:r>
              <a:rPr lang="en-GB" altLang="en-US" b="1" dirty="0" smtClean="0">
                <a:latin typeface="Mulish" pitchFamily="2" charset="0"/>
              </a:rPr>
              <a:t>No further appointments required</a:t>
            </a:r>
          </a:p>
          <a:p>
            <a:pPr>
              <a:lnSpc>
                <a:spcPct val="130000"/>
              </a:lnSpc>
            </a:pPr>
            <a:r>
              <a:rPr lang="en-GB" altLang="en-US" dirty="0" smtClean="0">
                <a:latin typeface="Mulish" pitchFamily="2" charset="0"/>
              </a:rPr>
              <a:t>Does not affect your routine medical treatment in any way</a:t>
            </a:r>
            <a:endParaRPr lang="en-GB" dirty="0" smtClean="0">
              <a:latin typeface="Mulish" pitchFamily="2" charset="0"/>
            </a:endParaRPr>
          </a:p>
          <a:p>
            <a:pPr>
              <a:lnSpc>
                <a:spcPct val="130000"/>
              </a:lnSpc>
            </a:pPr>
            <a:r>
              <a:rPr lang="en-GB" dirty="0" smtClean="0">
                <a:latin typeface="Mulish" pitchFamily="2" charset="0"/>
              </a:rPr>
              <a:t>Participants are free to join other trials and continue PTFU</a:t>
            </a:r>
            <a:endParaRPr lang="en-GB" dirty="0">
              <a:latin typeface="Mulish" pitchFamily="2" charset="0"/>
            </a:endParaRPr>
          </a:p>
        </p:txBody>
      </p:sp>
      <p:pic>
        <p:nvPicPr>
          <p:cNvPr id="1028" name="Picture 4" descr="https://cdn-icons.flaticon.com/png/512/2340/premium/2340272.png?token=exp=1660211950~hmac=052a04e12682725ad6c609fcc18cc87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947" y="301442"/>
            <a:ext cx="993509" cy="993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087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ationa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>
              <a:lnSpc>
                <a:spcPct val="150000"/>
              </a:lnSpc>
            </a:pPr>
            <a:r>
              <a:rPr lang="en-GB" b="1" dirty="0" smtClean="0">
                <a:latin typeface="Mulish" pitchFamily="2" charset="0"/>
              </a:rPr>
              <a:t>Empagliflozin</a:t>
            </a:r>
            <a:r>
              <a:rPr lang="en-GB" dirty="0" smtClean="0">
                <a:latin typeface="Mulish" pitchFamily="2" charset="0"/>
              </a:rPr>
              <a:t> is a drug used to treat type 2 diabetes</a:t>
            </a:r>
          </a:p>
          <a:p>
            <a:pPr>
              <a:lnSpc>
                <a:spcPct val="150000"/>
              </a:lnSpc>
            </a:pPr>
            <a:r>
              <a:rPr lang="en-GB" dirty="0" smtClean="0">
                <a:latin typeface="Mulish" pitchFamily="2" charset="0"/>
              </a:rPr>
              <a:t>Diabetes trials found that it has other benefits and may slow progression of kidney disease</a:t>
            </a:r>
          </a:p>
          <a:p>
            <a:pPr>
              <a:lnSpc>
                <a:spcPct val="150000"/>
              </a:lnSpc>
            </a:pPr>
            <a:r>
              <a:rPr lang="en-GB" dirty="0" smtClean="0">
                <a:latin typeface="Mulish" pitchFamily="2" charset="0"/>
              </a:rPr>
              <a:t>Works by causing loss of sugar and salt in urine</a:t>
            </a:r>
          </a:p>
          <a:p>
            <a:pPr>
              <a:lnSpc>
                <a:spcPct val="150000"/>
              </a:lnSpc>
            </a:pPr>
            <a:r>
              <a:rPr lang="en-GB" dirty="0" smtClean="0">
                <a:latin typeface="Mulish" pitchFamily="2" charset="0"/>
              </a:rPr>
              <a:t>This protects the heart and kidneys</a:t>
            </a:r>
          </a:p>
          <a:p>
            <a:pPr>
              <a:lnSpc>
                <a:spcPct val="150000"/>
              </a:lnSpc>
            </a:pPr>
            <a:r>
              <a:rPr lang="en-GB" dirty="0" smtClean="0">
                <a:latin typeface="Mulish" pitchFamily="2" charset="0"/>
              </a:rPr>
              <a:t>(Though we don’t yet understand exactly how)</a:t>
            </a:r>
            <a:endParaRPr lang="en-GB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4454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8458" y="4509120"/>
            <a:ext cx="6821919" cy="1752600"/>
          </a:xfrm>
        </p:spPr>
        <p:txBody>
          <a:bodyPr>
            <a:normAutofit/>
          </a:bodyPr>
          <a:lstStyle/>
          <a:p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FUTURE PLANS</a:t>
            </a:r>
            <a:endParaRPr lang="en-GB" sz="4000" b="1" dirty="0" smtClean="0">
              <a:solidFill>
                <a:schemeClr val="tx2">
                  <a:lumMod val="60000"/>
                  <a:lumOff val="40000"/>
                </a:schemeClr>
              </a:solidFill>
              <a:latin typeface="Mulish" pitchFamily="2" charset="0"/>
            </a:endParaRPr>
          </a:p>
          <a:p>
            <a:endParaRPr lang="en-GB" sz="4000" b="1" dirty="0" smtClean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08"/>
          <a:stretch/>
        </p:blipFill>
        <p:spPr>
          <a:xfrm>
            <a:off x="119798" y="548680"/>
            <a:ext cx="11952404" cy="371241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77604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tx1"/>
                </a:solidFill>
              </a:rPr>
              <a:t>What’s next?</a:t>
            </a: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2167" y="1528903"/>
            <a:ext cx="1657532" cy="1624239"/>
          </a:xfrm>
          <a:prstGeom prst="rect">
            <a:avLst/>
          </a:prstGeom>
        </p:spPr>
      </p:pic>
      <p:pic>
        <p:nvPicPr>
          <p:cNvPr id="3080" name="Picture 8" descr="https://cdn-icons-png.flaticon.com/512/3214/3214075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1997" y="3770013"/>
            <a:ext cx="1657532" cy="165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7629368" y="3050458"/>
            <a:ext cx="417124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200" b="1" dirty="0" smtClean="0">
                <a:latin typeface="Mulish" pitchFamily="2" charset="0"/>
              </a:rPr>
              <a:t>Bioimpedance </a:t>
            </a:r>
            <a:r>
              <a:rPr lang="en-GB" sz="2200" b="1" dirty="0" err="1" smtClean="0">
                <a:latin typeface="Mulish" pitchFamily="2" charset="0"/>
              </a:rPr>
              <a:t>substudy</a:t>
            </a:r>
            <a:endParaRPr lang="en-GB" sz="2200" b="1" dirty="0" smtClean="0">
              <a:latin typeface="Mulish" pitchFamily="2" charset="0"/>
            </a:endParaRPr>
          </a:p>
          <a:p>
            <a:pPr algn="ctr"/>
            <a:r>
              <a:rPr lang="en-GB" sz="2200" dirty="0" smtClean="0">
                <a:latin typeface="Mulish" pitchFamily="2" charset="0"/>
              </a:rPr>
              <a:t>analysis &amp; results</a:t>
            </a:r>
            <a:endParaRPr lang="en-GB" sz="2200" dirty="0">
              <a:latin typeface="Mulish" pitchFamily="2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-384243" y="3153143"/>
            <a:ext cx="55345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200" b="1" dirty="0" smtClean="0">
                <a:latin typeface="Mulish" pitchFamily="2" charset="0"/>
              </a:rPr>
              <a:t>Regulatory submissions</a:t>
            </a:r>
            <a:endParaRPr lang="en-GB" sz="2200" b="1" dirty="0">
              <a:latin typeface="Mulish" pitchFamily="2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37887" y="5333373"/>
            <a:ext cx="308575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200" b="1" dirty="0" smtClean="0">
                <a:latin typeface="Mulish" pitchFamily="2" charset="0"/>
              </a:rPr>
              <a:t>Additional biomarker studies</a:t>
            </a:r>
            <a:endParaRPr lang="en-GB" sz="2200" dirty="0">
              <a:latin typeface="Mulish" pitchFamily="2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843680" y="5350345"/>
            <a:ext cx="395693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200" dirty="0">
                <a:latin typeface="Mulish" pitchFamily="2" charset="0"/>
              </a:rPr>
              <a:t>**</a:t>
            </a:r>
            <a:r>
              <a:rPr lang="en-GB" sz="2200" b="1" dirty="0">
                <a:latin typeface="Mulish" pitchFamily="2" charset="0"/>
              </a:rPr>
              <a:t>Future trials</a:t>
            </a:r>
            <a:r>
              <a:rPr lang="en-GB" sz="2200" dirty="0">
                <a:latin typeface="Mulish" pitchFamily="2" charset="0"/>
              </a:rPr>
              <a:t>**</a:t>
            </a:r>
          </a:p>
        </p:txBody>
      </p:sp>
      <p:pic>
        <p:nvPicPr>
          <p:cNvPr id="1026" name="Picture 2" descr="https://cdn-icons-png.flaticon.com/512/5442/544202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2540" y="1663119"/>
            <a:ext cx="1326026" cy="1326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cdn-icons-png.flaticon.com/512/427/427735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0096" y="4043176"/>
            <a:ext cx="1164102" cy="1164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0" descr="https://cdn-icons-png.flaticon.com/512/3270/327075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5881" y="4177618"/>
            <a:ext cx="1120235" cy="1120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3514279" y="5327059"/>
            <a:ext cx="516344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200" b="1" dirty="0" smtClean="0">
                <a:latin typeface="Mulish" pitchFamily="2" charset="0"/>
              </a:rPr>
              <a:t>Subsidiary analyses</a:t>
            </a:r>
          </a:p>
        </p:txBody>
      </p:sp>
      <p:pic>
        <p:nvPicPr>
          <p:cNvPr id="21" name="Picture 2" descr="https://cdn-icons-png.flaticon.com/512/504/50419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5186" y="1417639"/>
            <a:ext cx="1657532" cy="165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4063730" y="3040417"/>
            <a:ext cx="387208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200" b="1" dirty="0" smtClean="0">
                <a:latin typeface="Mulish" pitchFamily="2" charset="0"/>
              </a:rPr>
              <a:t>MRI </a:t>
            </a:r>
            <a:r>
              <a:rPr lang="en-GB" sz="2200" b="1" dirty="0" err="1" smtClean="0">
                <a:latin typeface="Mulish" pitchFamily="2" charset="0"/>
              </a:rPr>
              <a:t>substudy</a:t>
            </a:r>
            <a:endParaRPr lang="en-GB" sz="2200" b="1" dirty="0" smtClean="0">
              <a:latin typeface="Mulish" pitchFamily="2" charset="0"/>
            </a:endParaRPr>
          </a:p>
          <a:p>
            <a:pPr algn="ctr"/>
            <a:r>
              <a:rPr lang="en-GB" sz="2200" dirty="0">
                <a:latin typeface="Mulish" pitchFamily="2" charset="0"/>
              </a:rPr>
              <a:t>analysis &amp; results</a:t>
            </a:r>
          </a:p>
          <a:p>
            <a:pPr algn="ctr"/>
            <a:endParaRPr lang="en-GB" sz="2200" b="1" dirty="0">
              <a:latin typeface="Mulish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1934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cknowledgemen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en-GB" dirty="0" smtClean="0">
                <a:latin typeface="Mulish" pitchFamily="2" charset="0"/>
              </a:rPr>
              <a:t>We thank the 6609 participants, members of the committees, and coordinating and local site staff who make up the EMPA-KIDNEY Collaborative Group</a:t>
            </a:r>
            <a:endParaRPr lang="en-GB" dirty="0">
              <a:latin typeface="Mulish" pitchFamily="2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43543" t="-2015" b="1"/>
          <a:stretch/>
        </p:blipFill>
        <p:spPr>
          <a:xfrm>
            <a:off x="3933377" y="5301191"/>
            <a:ext cx="6252400" cy="102780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4856" y="4313579"/>
            <a:ext cx="2845755" cy="92148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525150" y="3577429"/>
            <a:ext cx="714169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Mulish" pitchFamily="2" charset="0"/>
              </a:rPr>
              <a:t>https://www.empakidney.org/our-collaborators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612" y="5481252"/>
            <a:ext cx="581252" cy="80555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2403" y="5386499"/>
            <a:ext cx="692207" cy="93794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16800" y="4477329"/>
            <a:ext cx="4165600" cy="59398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2906" y="4261530"/>
            <a:ext cx="3250471" cy="1006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507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95087" y="4497545"/>
            <a:ext cx="8001826" cy="1752600"/>
          </a:xfrm>
        </p:spPr>
        <p:txBody>
          <a:bodyPr>
            <a:normAutofit/>
          </a:bodyPr>
          <a:lstStyle/>
          <a:p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… and thank you very much for attending this evening</a:t>
            </a:r>
            <a:endParaRPr lang="en-GB" sz="4000" b="1" dirty="0" smtClean="0">
              <a:solidFill>
                <a:schemeClr val="tx2">
                  <a:lumMod val="60000"/>
                  <a:lumOff val="40000"/>
                </a:schemeClr>
              </a:solidFill>
              <a:latin typeface="Mulish" pitchFamily="2" charset="0"/>
            </a:endParaRPr>
          </a:p>
          <a:p>
            <a:endParaRPr lang="en-GB" sz="4000" b="1" dirty="0" smtClean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08"/>
          <a:stretch/>
        </p:blipFill>
        <p:spPr>
          <a:xfrm>
            <a:off x="119798" y="548680"/>
            <a:ext cx="11952404" cy="371241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097837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sz="4000" b="1" dirty="0" smtClean="0">
                <a:solidFill>
                  <a:schemeClr val="tx2">
                    <a:lumMod val="50000"/>
                  </a:schemeClr>
                </a:solidFill>
                <a:latin typeface="Mulish" pitchFamily="2" charset="0"/>
              </a:rPr>
              <a:t>QUESTIONS &amp; DISCUSSION</a:t>
            </a:r>
            <a:endParaRPr lang="en-GB" sz="4000" b="1" dirty="0">
              <a:solidFill>
                <a:schemeClr val="tx2">
                  <a:lumMod val="50000"/>
                </a:schemeClr>
              </a:solidFill>
              <a:latin typeface="Mulish" pitchFamily="2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26" name="Picture 2" descr="How to Deal with People Who Ask Lots of Question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1912" y="1342880"/>
            <a:ext cx="1895475" cy="2409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1458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Unanswered questions prior to EMPA-KIDNE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49642" y="1973185"/>
            <a:ext cx="9196137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>
                <a:latin typeface="Mulish" pitchFamily="2" charset="0"/>
              </a:rPr>
              <a:t>Does it work if you </a:t>
            </a:r>
            <a:r>
              <a:rPr lang="en-GB" b="1" dirty="0">
                <a:latin typeface="Mulish" pitchFamily="2" charset="0"/>
              </a:rPr>
              <a:t>don’t</a:t>
            </a:r>
            <a:r>
              <a:rPr lang="en-GB" dirty="0">
                <a:latin typeface="Mulish" pitchFamily="2" charset="0"/>
              </a:rPr>
              <a:t> have diabetes?</a:t>
            </a:r>
          </a:p>
          <a:p>
            <a:pPr marL="0" indent="0">
              <a:buNone/>
            </a:pPr>
            <a:endParaRPr lang="en-GB" dirty="0">
              <a:latin typeface="Mulish" pitchFamily="2" charset="0"/>
            </a:endParaRPr>
          </a:p>
          <a:p>
            <a:pPr marL="0" indent="0">
              <a:buNone/>
            </a:pPr>
            <a:r>
              <a:rPr lang="en-GB" dirty="0">
                <a:latin typeface="Mulish" pitchFamily="2" charset="0"/>
              </a:rPr>
              <a:t>Does it work in </a:t>
            </a:r>
            <a:r>
              <a:rPr lang="en-GB" b="1" dirty="0">
                <a:latin typeface="Mulish" pitchFamily="2" charset="0"/>
              </a:rPr>
              <a:t>later stages </a:t>
            </a:r>
            <a:r>
              <a:rPr lang="en-GB" dirty="0">
                <a:latin typeface="Mulish" pitchFamily="2" charset="0"/>
              </a:rPr>
              <a:t>of kidney disease?</a:t>
            </a:r>
          </a:p>
          <a:p>
            <a:pPr marL="0" indent="0">
              <a:buNone/>
            </a:pPr>
            <a:endParaRPr lang="en-GB" dirty="0">
              <a:latin typeface="Mulish" pitchFamily="2" charset="0"/>
            </a:endParaRPr>
          </a:p>
          <a:p>
            <a:pPr marL="0" indent="0">
              <a:buNone/>
            </a:pPr>
            <a:r>
              <a:rPr lang="en-GB" dirty="0">
                <a:latin typeface="Mulish" pitchFamily="2" charset="0"/>
              </a:rPr>
              <a:t>Does it work if you </a:t>
            </a:r>
            <a:r>
              <a:rPr lang="en-GB" b="1" dirty="0">
                <a:latin typeface="Mulish" pitchFamily="2" charset="0"/>
              </a:rPr>
              <a:t>don’t</a:t>
            </a:r>
            <a:r>
              <a:rPr lang="en-GB" dirty="0">
                <a:latin typeface="Mulish" pitchFamily="2" charset="0"/>
              </a:rPr>
              <a:t> have </a:t>
            </a:r>
            <a:r>
              <a:rPr lang="en-GB" dirty="0" smtClean="0">
                <a:latin typeface="Mulish" pitchFamily="2" charset="0"/>
              </a:rPr>
              <a:t>albumin (protein) </a:t>
            </a:r>
            <a:r>
              <a:rPr lang="en-GB" dirty="0">
                <a:latin typeface="Mulish" pitchFamily="2" charset="0"/>
              </a:rPr>
              <a:t>in the urine?</a:t>
            </a:r>
          </a:p>
        </p:txBody>
      </p:sp>
      <p:pic>
        <p:nvPicPr>
          <p:cNvPr id="1026" name="Picture 2" descr="https://cdn-icons-png.flaticon.com/512/7574/757443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48" y="1884696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s://cdn-icons-png.flaticon.com/512/7574/757443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48" y="3176056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s://cdn-icons-png.flaticon.com/512/7574/757443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48" y="4467416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5382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228600" y="1600206"/>
            <a:ext cx="11742821" cy="2165678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im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2704" y="1600206"/>
            <a:ext cx="10018295" cy="4525963"/>
          </a:xfrm>
        </p:spPr>
        <p:txBody>
          <a:bodyPr/>
          <a:lstStyle/>
          <a:p>
            <a:pPr marL="0" indent="0">
              <a:buNone/>
            </a:pPr>
            <a:r>
              <a:rPr lang="en-GB" dirty="0" smtClean="0">
                <a:latin typeface="Mulish" pitchFamily="2" charset="0"/>
              </a:rPr>
              <a:t>To test whether empagliflozin reduces the risk of </a:t>
            </a:r>
            <a:r>
              <a:rPr lang="en-GB" b="1" dirty="0" smtClean="0">
                <a:latin typeface="Mulish" pitchFamily="2" charset="0"/>
              </a:rPr>
              <a:t>kidney disease progression</a:t>
            </a:r>
            <a:r>
              <a:rPr lang="en-GB" dirty="0" smtClean="0">
                <a:latin typeface="Mulish" pitchFamily="2" charset="0"/>
              </a:rPr>
              <a:t> or </a:t>
            </a:r>
            <a:r>
              <a:rPr lang="en-GB" b="1" dirty="0" smtClean="0">
                <a:latin typeface="Mulish" pitchFamily="2" charset="0"/>
              </a:rPr>
              <a:t>dying from heart (cardiovascular) disease</a:t>
            </a:r>
            <a:r>
              <a:rPr lang="en-GB" dirty="0" smtClean="0">
                <a:latin typeface="Mulish" pitchFamily="2" charset="0"/>
              </a:rPr>
              <a:t> in a wide-range of people with kidney disease</a:t>
            </a:r>
          </a:p>
          <a:p>
            <a:pPr marL="0" indent="0">
              <a:buNone/>
            </a:pPr>
            <a:endParaRPr lang="en-GB" dirty="0" smtClean="0">
              <a:latin typeface="Mulish" pitchFamily="2" charset="0"/>
            </a:endParaRPr>
          </a:p>
          <a:p>
            <a:pPr marL="0" indent="0">
              <a:buNone/>
            </a:pPr>
            <a:r>
              <a:rPr lang="en-GB" b="1" dirty="0" smtClean="0">
                <a:latin typeface="Mulish" pitchFamily="2" charset="0"/>
              </a:rPr>
              <a:t>Why heart (cardiovascular) disease too?</a:t>
            </a:r>
          </a:p>
          <a:p>
            <a:pPr marL="0" indent="0">
              <a:buNone/>
            </a:pPr>
            <a:r>
              <a:rPr lang="en-GB" dirty="0" smtClean="0">
                <a:latin typeface="Mulish" pitchFamily="2" charset="0"/>
              </a:rPr>
              <a:t>Heart disease is the commonest cause of death in people with kidney disease</a:t>
            </a:r>
          </a:p>
          <a:p>
            <a:endParaRPr lang="en-GB" dirty="0">
              <a:latin typeface="Mulish" pitchFamily="2" charset="0"/>
            </a:endParaRPr>
          </a:p>
        </p:txBody>
      </p:sp>
      <p:pic>
        <p:nvPicPr>
          <p:cNvPr id="2050" name="Picture 2" descr="https://cdn-icons-png.flaticon.com/512/4126/4126353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104" y="1980949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ttps://cdn-icons-png.flaticon.com/512/2645/2645998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104" y="4278981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5737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GUID" val="35c75916-3a85-4ec6-9447-ab8d3bf6570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Font and logo master">
  <a:themeElements>
    <a:clrScheme name="MRC Theme">
      <a:dk1>
        <a:srgbClr val="2E2C61"/>
      </a:dk1>
      <a:lt1>
        <a:srgbClr val="FFFFFF"/>
      </a:lt1>
      <a:dk2>
        <a:srgbClr val="2E2C61"/>
      </a:dk2>
      <a:lt2>
        <a:srgbClr val="FFFFFF"/>
      </a:lt2>
      <a:accent1>
        <a:srgbClr val="00BED5"/>
      </a:accent1>
      <a:accent2>
        <a:srgbClr val="008AAD"/>
      </a:accent2>
      <a:accent3>
        <a:srgbClr val="E94D36"/>
      </a:accent3>
      <a:accent4>
        <a:srgbClr val="616161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RC_PHRU_Oxford_powerpoint_basic" id="{525BB3C0-5ECC-EA41-93F7-A2FA00FD5DDD}" vid="{60592653-5396-8A45-99FF-E8B30F545915}"/>
    </a:ext>
  </a:extLst>
</a:theme>
</file>

<file path=ppt/theme/theme4.xml><?xml version="1.0" encoding="utf-8"?>
<a:theme xmlns:a="http://schemas.openxmlformats.org/drawingml/2006/main" name="Font and logo master">
  <a:themeElements>
    <a:clrScheme name="MRC Theme">
      <a:dk1>
        <a:srgbClr val="2E2C61"/>
      </a:dk1>
      <a:lt1>
        <a:srgbClr val="FFFFFF"/>
      </a:lt1>
      <a:dk2>
        <a:srgbClr val="2E2C61"/>
      </a:dk2>
      <a:lt2>
        <a:srgbClr val="FFFFFF"/>
      </a:lt2>
      <a:accent1>
        <a:srgbClr val="00BED5"/>
      </a:accent1>
      <a:accent2>
        <a:srgbClr val="008AAD"/>
      </a:accent2>
      <a:accent3>
        <a:srgbClr val="E94D36"/>
      </a:accent3>
      <a:accent4>
        <a:srgbClr val="616161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RC_PHRU_Oxford_powerpoint_basic" id="{525BB3C0-5ECC-EA41-93F7-A2FA00FD5DDD}" vid="{26ED796D-DA31-524E-A07D-4C4D5B04AE4E}"/>
    </a:ext>
  </a:extLst>
</a:theme>
</file>

<file path=ppt/theme/theme5.xml><?xml version="1.0" encoding="utf-8"?>
<a:theme xmlns:a="http://schemas.openxmlformats.org/drawingml/2006/main" name="2_Font and logo master">
  <a:themeElements>
    <a:clrScheme name="MRC Theme">
      <a:dk1>
        <a:srgbClr val="2E2C61"/>
      </a:dk1>
      <a:lt1>
        <a:srgbClr val="FFFFFF"/>
      </a:lt1>
      <a:dk2>
        <a:srgbClr val="2E2C61"/>
      </a:dk2>
      <a:lt2>
        <a:srgbClr val="FFFFFF"/>
      </a:lt2>
      <a:accent1>
        <a:srgbClr val="00BED5"/>
      </a:accent1>
      <a:accent2>
        <a:srgbClr val="008AAD"/>
      </a:accent2>
      <a:accent3>
        <a:srgbClr val="E94D36"/>
      </a:accent3>
      <a:accent4>
        <a:srgbClr val="616161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RC_PHRU_Oxford_powerpoint_basic" id="{525BB3C0-5ECC-EA41-93F7-A2FA00FD5DDD}" vid="{26ED796D-DA31-524E-A07D-4C4D5B04AE4E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643</TotalTime>
  <Words>3226</Words>
  <Application>Microsoft Office PowerPoint</Application>
  <PresentationFormat>Widescreen</PresentationFormat>
  <Paragraphs>854</Paragraphs>
  <Slides>74</Slides>
  <Notes>31</Notes>
  <HiddenSlides>6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74</vt:i4>
      </vt:variant>
    </vt:vector>
  </HeadingPairs>
  <TitlesOfParts>
    <vt:vector size="88" baseType="lpstr">
      <vt:lpstr>ＭＳ Ｐゴシック</vt:lpstr>
      <vt:lpstr>Arial</vt:lpstr>
      <vt:lpstr>Calibri</vt:lpstr>
      <vt:lpstr>Calibri Light</vt:lpstr>
      <vt:lpstr>Mulish</vt:lpstr>
      <vt:lpstr>Mulish ExtraBold</vt:lpstr>
      <vt:lpstr>Mulish Light</vt:lpstr>
      <vt:lpstr>Times New Roman</vt:lpstr>
      <vt:lpstr>Wingdings</vt:lpstr>
      <vt:lpstr>1_Office Theme</vt:lpstr>
      <vt:lpstr>2_Office Theme</vt:lpstr>
      <vt:lpstr>1_Font and logo master</vt:lpstr>
      <vt:lpstr>Font and logo master</vt:lpstr>
      <vt:lpstr>2_Font and logo master</vt:lpstr>
      <vt:lpstr>PowerPoint Presentation</vt:lpstr>
      <vt:lpstr>PowerPoint Presentation</vt:lpstr>
      <vt:lpstr>Rationale</vt:lpstr>
      <vt:lpstr>How can we slow the rate of decline?</vt:lpstr>
      <vt:lpstr>Goal</vt:lpstr>
      <vt:lpstr>Goal</vt:lpstr>
      <vt:lpstr>Rationale</vt:lpstr>
      <vt:lpstr>Unanswered questions prior to EMPA-KIDNEY</vt:lpstr>
      <vt:lpstr>Aim</vt:lpstr>
      <vt:lpstr>How do we do that?</vt:lpstr>
      <vt:lpstr>How do we do that?</vt:lpstr>
      <vt:lpstr>How do we measure the effects?</vt:lpstr>
      <vt:lpstr>Who was eligible for the trial?</vt:lpstr>
      <vt:lpstr>Follow-up</vt:lpstr>
      <vt:lpstr>EMPA-KIDNEY timeline</vt:lpstr>
      <vt:lpstr>PowerPoint Presentation</vt:lpstr>
      <vt:lpstr>Impact of COVID-19</vt:lpstr>
      <vt:lpstr>Global totals</vt:lpstr>
      <vt:lpstr>Diabetes status</vt:lpstr>
      <vt:lpstr>Starting kidney function (eGFR)</vt:lpstr>
      <vt:lpstr>Starting level of albumin in the urine (uACR)</vt:lpstr>
      <vt:lpstr>Age, sex and race</vt:lpstr>
      <vt:lpstr>Causes of kidney disease</vt:lpstr>
      <vt:lpstr>PowerPoint Presentation</vt:lpstr>
      <vt:lpstr>Follow-up &amp; adherence</vt:lpstr>
      <vt:lpstr>PowerPoint Presentation</vt:lpstr>
      <vt:lpstr>Main result: kidney disease progression or cardiovascular death</vt:lpstr>
      <vt:lpstr>Main result: kidney disease progression or cardiovascular death</vt:lpstr>
      <vt:lpstr>Main result: kidney disease progression or cardiovascular death</vt:lpstr>
      <vt:lpstr>Kidney disease progression or  death from heart (cardiovascular) disease</vt:lpstr>
      <vt:lpstr>Kidney disease progression or  death from heart (cardiovascular) disease</vt:lpstr>
      <vt:lpstr>Both components examined separately</vt:lpstr>
      <vt:lpstr>Both components examined separately</vt:lpstr>
      <vt:lpstr>Both components examined separately</vt:lpstr>
      <vt:lpstr>PowerPoint Presentation</vt:lpstr>
      <vt:lpstr>Unanswered questions prior to EMPA-KIDNEY</vt:lpstr>
      <vt:lpstr>Effect of diabetes on kidney disease progression/cardiovascular death</vt:lpstr>
      <vt:lpstr>Effect of kidney function (eGFR) on kidney disease progression/cardiovascular death</vt:lpstr>
      <vt:lpstr>Effect of level of albumin (protein) in the urine on kidney disease progression/cardiovascular death</vt:lpstr>
      <vt:lpstr>Other subgroups</vt:lpstr>
      <vt:lpstr>However…</vt:lpstr>
      <vt:lpstr>PowerPoint Presentation</vt:lpstr>
      <vt:lpstr>eGFR (kidney function) slope analyses</vt:lpstr>
      <vt:lpstr>Annual rate of change of eGFR</vt:lpstr>
      <vt:lpstr>Annual rate of change of eGFR</vt:lpstr>
      <vt:lpstr>Annual rate of change of eGFR</vt:lpstr>
      <vt:lpstr>Annual rate of change of eGFR</vt:lpstr>
      <vt:lpstr>What does it mean?</vt:lpstr>
      <vt:lpstr>PowerPoint Presentation</vt:lpstr>
      <vt:lpstr>Chronic eGFR slopes by albuminuria</vt:lpstr>
      <vt:lpstr>Chronic eGFR slopes by albuminuria</vt:lpstr>
      <vt:lpstr>Chronic eGFR slopes by albuminuria</vt:lpstr>
      <vt:lpstr>Chronic eGFR slopes by albuminuria</vt:lpstr>
      <vt:lpstr>PowerPoint Presentation</vt:lpstr>
      <vt:lpstr>Key secondary outcomes</vt:lpstr>
      <vt:lpstr>Key secondary outcomes</vt:lpstr>
      <vt:lpstr>PowerPoint Presentation</vt:lpstr>
      <vt:lpstr>Ketoacidosis</vt:lpstr>
      <vt:lpstr>There was no effect on…</vt:lpstr>
      <vt:lpstr>PowerPoint Presentation</vt:lpstr>
      <vt:lpstr>Physical measurements</vt:lpstr>
      <vt:lpstr>Physical measurements</vt:lpstr>
      <vt:lpstr>Level of albumin (protein) in the urine</vt:lpstr>
      <vt:lpstr>EMPA-KIDNEY Conclusions</vt:lpstr>
      <vt:lpstr>What does it mean?</vt:lpstr>
      <vt:lpstr>What does it mean for me?</vt:lpstr>
      <vt:lpstr>PowerPoint Presentation</vt:lpstr>
      <vt:lpstr>Post-trial follow-up (PTFU): rationale</vt:lpstr>
      <vt:lpstr>Post-trial follow-up (PTFU)</vt:lpstr>
      <vt:lpstr>PowerPoint Presentation</vt:lpstr>
      <vt:lpstr>What’s next?</vt:lpstr>
      <vt:lpstr>Acknowledgements</vt:lpstr>
      <vt:lpstr>PowerPoint Presentation</vt:lpstr>
      <vt:lpstr>QUESTIONS &amp; DISCUS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ll Herrington</dc:creator>
  <cp:lastModifiedBy>Will Herrington</cp:lastModifiedBy>
  <cp:revision>396</cp:revision>
  <dcterms:created xsi:type="dcterms:W3CDTF">2022-05-16T06:56:00Z</dcterms:created>
  <dcterms:modified xsi:type="dcterms:W3CDTF">2023-01-27T18:31:38Z</dcterms:modified>
</cp:coreProperties>
</file>